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av" ContentType="audio/x-wav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4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5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7.xml" ContentType="application/vnd.openxmlformats-officedocument.theme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theme/theme8.xml" ContentType="application/vnd.openxmlformats-officedocument.theme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theme/theme9.xml" ContentType="application/vnd.openxmlformats-officedocument.theme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theme/theme10.xml" ContentType="application/vnd.openxmlformats-officedocument.theme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1.xml" ContentType="application/vnd.openxmlformats-officedocument.themeOverr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2.xml" ContentType="application/vnd.openxmlformats-officedocument.themeOverrid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3.xml" ContentType="application/vnd.openxmlformats-officedocument.themeOverrid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5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16.xml" ContentType="application/vnd.openxmlformats-officedocument.drawingml.chart+xml"/>
  <Override PartName="/ppt/theme/themeOverride4.xml" ContentType="application/vnd.openxmlformats-officedocument.themeOverride+xml"/>
  <Override PartName="/ppt/charts/chart17.xml" ContentType="application/vnd.openxmlformats-officedocument.drawingml.chart+xml"/>
  <Override PartName="/ppt/theme/themeOverride5.xml" ContentType="application/vnd.openxmlformats-officedocument.themeOverride+xml"/>
  <Override PartName="/ppt/charts/chart18.xml" ContentType="application/vnd.openxmlformats-officedocument.drawingml.chart+xml"/>
  <Override PartName="/ppt/theme/themeOverride6.xml" ContentType="application/vnd.openxmlformats-officedocument.themeOverride+xml"/>
  <Override PartName="/ppt/charts/chart19.xml" ContentType="application/vnd.openxmlformats-officedocument.drawingml.chart+xml"/>
  <Override PartName="/ppt/theme/themeOverride7.xml" ContentType="application/vnd.openxmlformats-officedocument.themeOverride+xml"/>
  <Override PartName="/ppt/charts/chart20.xml" ContentType="application/vnd.openxmlformats-officedocument.drawingml.chart+xml"/>
  <Override PartName="/ppt/theme/themeOverride8.xml" ContentType="application/vnd.openxmlformats-officedocument.themeOverride+xml"/>
  <Override PartName="/ppt/charts/chart21.xml" ContentType="application/vnd.openxmlformats-officedocument.drawingml.chart+xml"/>
  <Override PartName="/ppt/theme/themeOverride9.xml" ContentType="application/vnd.openxmlformats-officedocument.themeOverride+xml"/>
  <Override PartName="/ppt/charts/chart22.xml" ContentType="application/vnd.openxmlformats-officedocument.drawingml.chart+xml"/>
  <Override PartName="/ppt/theme/themeOverride10.xml" ContentType="application/vnd.openxmlformats-officedocument.themeOverride+xml"/>
  <Override PartName="/ppt/charts/chart23.xml" ContentType="application/vnd.openxmlformats-officedocument.drawingml.chart+xml"/>
  <Override PartName="/ppt/theme/themeOverride11.xml" ContentType="application/vnd.openxmlformats-officedocument.themeOverride+xml"/>
  <Override PartName="/ppt/charts/chart24.xml" ContentType="application/vnd.openxmlformats-officedocument.drawingml.chart+xml"/>
  <Override PartName="/ppt/theme/themeOverride12.xml" ContentType="application/vnd.openxmlformats-officedocument.themeOverride+xml"/>
  <Override PartName="/ppt/charts/chart25.xml" ContentType="application/vnd.openxmlformats-officedocument.drawingml.chart+xml"/>
  <Override PartName="/ppt/theme/themeOverride13.xml" ContentType="application/vnd.openxmlformats-officedocument.themeOverride+xml"/>
  <Override PartName="/ppt/charts/chart26.xml" ContentType="application/vnd.openxmlformats-officedocument.drawingml.chart+xml"/>
  <Override PartName="/ppt/theme/themeOverride14.xml" ContentType="application/vnd.openxmlformats-officedocument.themeOverride+xml"/>
  <Override PartName="/ppt/charts/chart27.xml" ContentType="application/vnd.openxmlformats-officedocument.drawingml.chart+xml"/>
  <Override PartName="/ppt/theme/themeOverride15.xml" ContentType="application/vnd.openxmlformats-officedocument.themeOverr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28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16.xml" ContentType="application/vnd.openxmlformats-officedocument.themeOverr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36" r:id="rId4"/>
    <p:sldMasterId id="2147483678" r:id="rId5"/>
    <p:sldMasterId id="2147483695" r:id="rId6"/>
    <p:sldMasterId id="2147483710" r:id="rId7"/>
    <p:sldMasterId id="2147483777" r:id="rId8"/>
    <p:sldMasterId id="2147483834" r:id="rId9"/>
    <p:sldMasterId id="2147483854" r:id="rId10"/>
    <p:sldMasterId id="2147483911" r:id="rId11"/>
    <p:sldMasterId id="2147483969" r:id="rId12"/>
    <p:sldMasterId id="2147483655" r:id="rId13"/>
    <p:sldMasterId id="2147484047" r:id="rId14"/>
  </p:sldMasterIdLst>
  <p:notesMasterIdLst>
    <p:notesMasterId r:id="rId72"/>
  </p:notesMasterIdLst>
  <p:sldIdLst>
    <p:sldId id="2147477596" r:id="rId15"/>
    <p:sldId id="260" r:id="rId16"/>
    <p:sldId id="2147477599" r:id="rId17"/>
    <p:sldId id="2147477628" r:id="rId18"/>
    <p:sldId id="2147472575" r:id="rId19"/>
    <p:sldId id="2147375774" r:id="rId20"/>
    <p:sldId id="2147477632" r:id="rId21"/>
    <p:sldId id="2147477629" r:id="rId22"/>
    <p:sldId id="2147477610" r:id="rId23"/>
    <p:sldId id="397" r:id="rId24"/>
    <p:sldId id="2147472580" r:id="rId25"/>
    <p:sldId id="2147375456" r:id="rId26"/>
    <p:sldId id="2147477621" r:id="rId27"/>
    <p:sldId id="2147472587" r:id="rId28"/>
    <p:sldId id="2147472585" r:id="rId29"/>
    <p:sldId id="2147375793" r:id="rId30"/>
    <p:sldId id="392" r:id="rId31"/>
    <p:sldId id="2147477611" r:id="rId32"/>
    <p:sldId id="2147477608" r:id="rId33"/>
    <p:sldId id="2147477630" r:id="rId34"/>
    <p:sldId id="2147472578" r:id="rId35"/>
    <p:sldId id="2147477617" r:id="rId36"/>
    <p:sldId id="2147375779" r:id="rId37"/>
    <p:sldId id="2147477612" r:id="rId38"/>
    <p:sldId id="2147477645" r:id="rId39"/>
    <p:sldId id="2147477646" r:id="rId40"/>
    <p:sldId id="2147472590" r:id="rId41"/>
    <p:sldId id="2147477625" r:id="rId42"/>
    <p:sldId id="2147477633" r:id="rId43"/>
    <p:sldId id="2147472595" r:id="rId44"/>
    <p:sldId id="2147477615" r:id="rId45"/>
    <p:sldId id="2147472589" r:id="rId46"/>
    <p:sldId id="270" r:id="rId47"/>
    <p:sldId id="2147472598" r:id="rId48"/>
    <p:sldId id="2147472597" r:id="rId49"/>
    <p:sldId id="2147375783" r:id="rId50"/>
    <p:sldId id="2147477637" r:id="rId51"/>
    <p:sldId id="2147477634" r:id="rId52"/>
    <p:sldId id="2147477635" r:id="rId53"/>
    <p:sldId id="2147375763" r:id="rId54"/>
    <p:sldId id="2147477636" r:id="rId55"/>
    <p:sldId id="2147477638" r:id="rId56"/>
    <p:sldId id="2147477577" r:id="rId57"/>
    <p:sldId id="2147477627" r:id="rId58"/>
    <p:sldId id="2147477647" r:id="rId59"/>
    <p:sldId id="2147477639" r:id="rId60"/>
    <p:sldId id="2147477640" r:id="rId61"/>
    <p:sldId id="2147477641" r:id="rId62"/>
    <p:sldId id="2147477642" r:id="rId63"/>
    <p:sldId id="2147477643" r:id="rId64"/>
    <p:sldId id="2147477644" r:id="rId65"/>
    <p:sldId id="2147477613" r:id="rId66"/>
    <p:sldId id="2147477626" r:id="rId67"/>
    <p:sldId id="2147472592" r:id="rId68"/>
    <p:sldId id="2147472593" r:id="rId69"/>
    <p:sldId id="2147477631" r:id="rId70"/>
    <p:sldId id="348" r:id="rId71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F5DC88A-F4F1-83A8-AAC8-9E711694AAD7}" name="David Beale" initials="DB" userId="S::david.beale@essencemediacom.com::c94275c9-8e1c-4b9f-badb-02844e3182b1" providerId="AD"/>
  <p188:author id="{60B746AC-F4F6-A0A8-B6A3-6EABD4A72205}" name="Issaree Veerakanit" initials="IV" userId="S::issaree.veerakanit1@essencemediacom.com::882c589f-0b79-4b77-b121-23040f57b8c0" providerId="AD"/>
  <p188:author id="{2051EAD5-68F8-F7DB-DB7F-B973296B82BB}" name="Thomas Katryniak" initials="" userId="S::thomas.katryniak@essencemediacom.com::78a08f01-4d7d-40e6-9c7c-04f7a586f9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79E1E"/>
    <a:srgbClr val="FFC000"/>
    <a:srgbClr val="009569"/>
    <a:srgbClr val="404E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5B4F3D-54F6-4864-9C85-8F50682478BB}" v="932" dt="2024-08-20T21:38:23.80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95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2.xml"/><Relationship Id="rId21" Type="http://schemas.openxmlformats.org/officeDocument/2006/relationships/slide" Target="slides/slide7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63" Type="http://schemas.openxmlformats.org/officeDocument/2006/relationships/slide" Target="slides/slide49.xml"/><Relationship Id="rId68" Type="http://schemas.openxmlformats.org/officeDocument/2006/relationships/slide" Target="slides/slide54.xml"/><Relationship Id="rId16" Type="http://schemas.openxmlformats.org/officeDocument/2006/relationships/slide" Target="slides/slide2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53" Type="http://schemas.openxmlformats.org/officeDocument/2006/relationships/slide" Target="slides/slide39.xml"/><Relationship Id="rId58" Type="http://schemas.openxmlformats.org/officeDocument/2006/relationships/slide" Target="slides/slide44.xml"/><Relationship Id="rId66" Type="http://schemas.openxmlformats.org/officeDocument/2006/relationships/slide" Target="slides/slide52.xml"/><Relationship Id="rId7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47.xml"/><Relationship Id="rId19" Type="http://schemas.openxmlformats.org/officeDocument/2006/relationships/slide" Target="slides/slide5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56" Type="http://schemas.openxmlformats.org/officeDocument/2006/relationships/slide" Target="slides/slide42.xml"/><Relationship Id="rId64" Type="http://schemas.openxmlformats.org/officeDocument/2006/relationships/slide" Target="slides/slide50.xml"/><Relationship Id="rId69" Type="http://schemas.openxmlformats.org/officeDocument/2006/relationships/slide" Target="slides/slide55.xml"/><Relationship Id="rId77" Type="http://schemas.microsoft.com/office/2015/10/relationships/revisionInfo" Target="revisionInfo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7.xml"/><Relationship Id="rId72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59" Type="http://schemas.openxmlformats.org/officeDocument/2006/relationships/slide" Target="slides/slide45.xml"/><Relationship Id="rId67" Type="http://schemas.openxmlformats.org/officeDocument/2006/relationships/slide" Target="slides/slide53.xml"/><Relationship Id="rId20" Type="http://schemas.openxmlformats.org/officeDocument/2006/relationships/slide" Target="slides/slide6.xml"/><Relationship Id="rId41" Type="http://schemas.openxmlformats.org/officeDocument/2006/relationships/slide" Target="slides/slide27.xml"/><Relationship Id="rId54" Type="http://schemas.openxmlformats.org/officeDocument/2006/relationships/slide" Target="slides/slide40.xml"/><Relationship Id="rId62" Type="http://schemas.openxmlformats.org/officeDocument/2006/relationships/slide" Target="slides/slide48.xml"/><Relationship Id="rId70" Type="http://schemas.openxmlformats.org/officeDocument/2006/relationships/slide" Target="slides/slide56.xml"/><Relationship Id="rId75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Relationship Id="rId57" Type="http://schemas.openxmlformats.org/officeDocument/2006/relationships/slide" Target="slides/slide43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slide" Target="slides/slide38.xml"/><Relationship Id="rId60" Type="http://schemas.openxmlformats.org/officeDocument/2006/relationships/slide" Target="slides/slide46.xml"/><Relationship Id="rId65" Type="http://schemas.openxmlformats.org/officeDocument/2006/relationships/slide" Target="slides/slide51.xml"/><Relationship Id="rId73" Type="http://schemas.openxmlformats.org/officeDocument/2006/relationships/presProps" Target="presProps.xml"/><Relationship Id="rId78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39" Type="http://schemas.openxmlformats.org/officeDocument/2006/relationships/slide" Target="slides/slide25.xml"/><Relationship Id="rId34" Type="http://schemas.openxmlformats.org/officeDocument/2006/relationships/slide" Target="slides/slide20.xml"/><Relationship Id="rId50" Type="http://schemas.openxmlformats.org/officeDocument/2006/relationships/slide" Target="slides/slide36.xml"/><Relationship Id="rId55" Type="http://schemas.openxmlformats.org/officeDocument/2006/relationships/slide" Target="slides/slide41.xml"/><Relationship Id="rId76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57.xml"/><Relationship Id="rId2" Type="http://schemas.openxmlformats.org/officeDocument/2006/relationships/customXml" Target="../customXml/item2.xml"/><Relationship Id="rId29" Type="http://schemas.openxmlformats.org/officeDocument/2006/relationships/slide" Target="slides/slide1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4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5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6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8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9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10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11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12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13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14.xm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15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6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oleObject" Target="../embeddings/oleObject1.bin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44-4CAC-B6B0-3A569DD4A051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344-4CAC-B6B0-3A569DD4A051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344-4CAC-B6B0-3A569DD4A051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344-4CAC-B6B0-3A569DD4A051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344-4CAC-B6B0-3A569DD4A051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344-4CAC-B6B0-3A569DD4A051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344-4CAC-B6B0-3A569DD4A051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344-4CAC-B6B0-3A569DD4A051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344-4CAC-B6B0-3A569DD4A051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Print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 algn="l"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6344-4CAC-B6B0-3A569DD4A0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l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7671107301671158"/>
          <c:y val="3.953880265071303E-2"/>
          <c:w val="0.22784976194942883"/>
          <c:h val="0.9209223946985739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baseline="0">
                    <a:solidFill>
                      <a:schemeClr val="tx1"/>
                    </a:solidFill>
                    <a:latin typeface="Poppins" pitchFamily="2" charset="77"/>
                    <a:ea typeface="+mn-ea"/>
                    <a:cs typeface="Poppins" pitchFamily="2" charset="77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>
                      <a:noFill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OOH</c:v>
                </c:pt>
                <c:pt idx="1">
                  <c:v>Gaming</c:v>
                </c:pt>
                <c:pt idx="2">
                  <c:v>OLV</c:v>
                </c:pt>
                <c:pt idx="3">
                  <c:v>Social Media</c:v>
                </c:pt>
                <c:pt idx="4">
                  <c:v>TV (BC and ST)</c:v>
                </c:pt>
              </c:strCache>
            </c:strRef>
          </c:cat>
          <c:val>
            <c:numRef>
              <c:f>Sheet1!$B$2:$B$6</c:f>
              <c:numCache>
                <c:formatCode>0</c:formatCode>
                <c:ptCount val="5"/>
                <c:pt idx="0">
                  <c:v>85</c:v>
                </c:pt>
                <c:pt idx="1">
                  <c:v>96</c:v>
                </c:pt>
                <c:pt idx="2">
                  <c:v>105</c:v>
                </c:pt>
                <c:pt idx="3">
                  <c:v>129</c:v>
                </c:pt>
                <c:pt idx="4">
                  <c:v>1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7F-4146-B231-E6A53AEFE1A7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</c:dLbls>
        <c:gapWidth val="30"/>
        <c:overlap val="100"/>
        <c:axId val="1305246048"/>
        <c:axId val="1305247696"/>
      </c:barChart>
      <c:catAx>
        <c:axId val="1305246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05247696"/>
        <c:crossesAt val="0"/>
        <c:auto val="1"/>
        <c:lblAlgn val="ctr"/>
        <c:lblOffset val="100"/>
        <c:noMultiLvlLbl val="0"/>
      </c:catAx>
      <c:valAx>
        <c:axId val="130524769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305246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920878519020909"/>
          <c:y val="3.953880265071303E-2"/>
          <c:w val="0.466238843585558"/>
          <c:h val="0.9209223946985739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Index 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9D32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8DF-0F4B-9B27-2DBD1D8F88CE}"/>
              </c:ext>
            </c:extLst>
          </c:dPt>
          <c:dPt>
            <c:idx val="1"/>
            <c:invertIfNegative val="0"/>
            <c:bubble3D val="0"/>
            <c:spPr>
              <a:solidFill>
                <a:srgbClr val="00BC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8DF-0F4B-9B27-2DBD1D8F88CE}"/>
              </c:ext>
            </c:extLst>
          </c:dPt>
          <c:dPt>
            <c:idx val="2"/>
            <c:invertIfNegative val="0"/>
            <c:bubble3D val="0"/>
            <c:spPr>
              <a:solidFill>
                <a:srgbClr val="89D32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8DF-0F4B-9B27-2DBD1D8F88CE}"/>
              </c:ext>
            </c:extLst>
          </c:dPt>
          <c:dPt>
            <c:idx val="3"/>
            <c:invertIfNegative val="0"/>
            <c:bubble3D val="0"/>
            <c:spPr>
              <a:solidFill>
                <a:srgbClr val="00BC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8DF-0F4B-9B27-2DBD1D8F88CE}"/>
              </c:ext>
            </c:extLst>
          </c:dPt>
          <c:dPt>
            <c:idx val="4"/>
            <c:invertIfNegative val="0"/>
            <c:bubble3D val="0"/>
            <c:spPr>
              <a:solidFill>
                <a:srgbClr val="00BC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8DF-0F4B-9B27-2DBD1D8F88C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>
                      <a:noFill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OLV</c:v>
                </c:pt>
                <c:pt idx="1">
                  <c:v>Radio</c:v>
                </c:pt>
                <c:pt idx="2">
                  <c:v>SM</c:v>
                </c:pt>
                <c:pt idx="3">
                  <c:v>TV</c:v>
                </c:pt>
                <c:pt idx="4">
                  <c:v>OOH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30</c:v>
                </c:pt>
                <c:pt idx="1">
                  <c:v>87</c:v>
                </c:pt>
                <c:pt idx="2">
                  <c:v>110</c:v>
                </c:pt>
                <c:pt idx="3">
                  <c:v>102</c:v>
                </c:pt>
                <c:pt idx="4">
                  <c:v>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8DF-0F4B-9B27-2DBD1D8F88CE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</c:dLbls>
        <c:gapWidth val="30"/>
        <c:overlap val="100"/>
        <c:axId val="1305246048"/>
        <c:axId val="1305247696"/>
      </c:barChart>
      <c:catAx>
        <c:axId val="13052460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305247696"/>
        <c:crossesAt val="100"/>
        <c:auto val="1"/>
        <c:lblAlgn val="ctr"/>
        <c:lblOffset val="100"/>
        <c:noMultiLvlLbl val="0"/>
      </c:catAx>
      <c:valAx>
        <c:axId val="1305247696"/>
        <c:scaling>
          <c:orientation val="minMax"/>
          <c:min val="40"/>
        </c:scaling>
        <c:delete val="1"/>
        <c:axPos val="b"/>
        <c:numFmt formatCode="General" sourceLinked="0"/>
        <c:majorTickMark val="out"/>
        <c:minorTickMark val="none"/>
        <c:tickLblPos val="nextTo"/>
        <c:crossAx val="1305246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Netflix</c:v>
                </c:pt>
                <c:pt idx="1">
                  <c:v>YouTube</c:v>
                </c:pt>
                <c:pt idx="2">
                  <c:v>Amazon Prime</c:v>
                </c:pt>
                <c:pt idx="3">
                  <c:v>Disney+</c:v>
                </c:pt>
                <c:pt idx="4">
                  <c:v>Hulu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86</c:v>
                </c:pt>
                <c:pt idx="1">
                  <c:v>76</c:v>
                </c:pt>
                <c:pt idx="2">
                  <c:v>69</c:v>
                </c:pt>
                <c:pt idx="3">
                  <c:v>68</c:v>
                </c:pt>
                <c:pt idx="4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6A-8C41-A48A-85430A6BD3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6"/>
        <c:overlap val="-27"/>
        <c:axId val="567768592"/>
        <c:axId val="567913968"/>
      </c:barChart>
      <c:catAx>
        <c:axId val="567768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7913968"/>
        <c:crosses val="autoZero"/>
        <c:auto val="1"/>
        <c:lblAlgn val="ctr"/>
        <c:lblOffset val="100"/>
        <c:noMultiLvlLbl val="0"/>
      </c:catAx>
      <c:valAx>
        <c:axId val="5679139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7768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423-46C8-8671-B8FD9A58631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423-46C8-8671-B8FD9A586316}"/>
              </c:ext>
            </c:extLst>
          </c:dPt>
          <c:cat>
            <c:strRef>
              <c:f>Sheet1!$A$2:$A$3</c:f>
              <c:strCache>
                <c:ptCount val="2"/>
                <c:pt idx="0">
                  <c:v>Live</c:v>
                </c:pt>
                <c:pt idx="1">
                  <c:v>OnDeman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9</c:v>
                </c:pt>
                <c:pt idx="1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3F-A34F-A372-A93A286D88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2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uchpoints noticed</c:v>
                </c:pt>
              </c:strCache>
            </c:strRef>
          </c:tx>
          <c:spPr>
            <a:ln w="158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50800">
                <a:solidFill>
                  <a:schemeClr val="tx2">
                    <a:alpha val="98000"/>
                  </a:schemeClr>
                </a:solidFill>
              </a:ln>
              <a:effectLst/>
            </c:spPr>
          </c:marker>
          <c:dPt>
            <c:idx val="3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1B5F-8949-926D-318AF68CA0AF}"/>
              </c:ext>
            </c:extLst>
          </c:dPt>
          <c:dPt>
            <c:idx val="10"/>
            <c:marker>
              <c:symbol val="none"/>
            </c:marker>
            <c:bubble3D val="0"/>
            <c:spPr>
              <a:ln w="15875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1B5F-8949-926D-318AF68CA0AF}"/>
              </c:ext>
            </c:extLst>
          </c:dPt>
          <c:dPt>
            <c:idx val="12"/>
            <c:marker>
              <c:symbol val="none"/>
            </c:marker>
            <c:bubble3D val="0"/>
            <c:spPr>
              <a:ln w="15875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4-1B5F-8949-926D-318AF68CA0AF}"/>
              </c:ext>
            </c:extLst>
          </c:dPt>
          <c:dPt>
            <c:idx val="13"/>
            <c:marker>
              <c:symbol val="none"/>
            </c:marker>
            <c:bubble3D val="0"/>
            <c:spPr>
              <a:ln w="15875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6-1B5F-8949-926D-318AF68CA0AF}"/>
              </c:ext>
            </c:extLst>
          </c:dPt>
          <c:dPt>
            <c:idx val="14"/>
            <c:marker>
              <c:symbol val="none"/>
            </c:marker>
            <c:bubble3D val="0"/>
            <c:spPr>
              <a:ln w="15875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8-1B5F-8949-926D-318AF68CA0AF}"/>
              </c:ext>
            </c:extLst>
          </c:dPt>
          <c:cat>
            <c:strRef>
              <c:f>Sheet1!$A$2:$A$6</c:f>
              <c:strCache>
                <c:ptCount val="5"/>
                <c:pt idx="0">
                  <c:v>Social Media</c:v>
                </c:pt>
                <c:pt idx="1">
                  <c:v>TV</c:v>
                </c:pt>
                <c:pt idx="2">
                  <c:v>Online reviews</c:v>
                </c:pt>
                <c:pt idx="3">
                  <c:v>OLV</c:v>
                </c:pt>
                <c:pt idx="4">
                  <c:v>inStore</c:v>
                </c:pt>
              </c:strCache>
            </c:strRef>
          </c:cat>
          <c:val>
            <c:numRef>
              <c:f>Sheet1!$B$2:$B$6</c:f>
              <c:numCache>
                <c:formatCode>#,##0</c:formatCode>
                <c:ptCount val="5"/>
                <c:pt idx="0">
                  <c:v>32</c:v>
                </c:pt>
                <c:pt idx="1">
                  <c:v>29</c:v>
                </c:pt>
                <c:pt idx="2">
                  <c:v>25</c:v>
                </c:pt>
                <c:pt idx="3">
                  <c:v>19</c:v>
                </c:pt>
                <c:pt idx="4">
                  <c:v>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1B5F-8949-926D-318AF68CA0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39769744"/>
        <c:axId val="1334702384"/>
      </c:lineChart>
      <c:catAx>
        <c:axId val="1339769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4702384"/>
        <c:crosses val="autoZero"/>
        <c:auto val="1"/>
        <c:lblAlgn val="ctr"/>
        <c:lblOffset val="100"/>
        <c:noMultiLvlLbl val="0"/>
      </c:catAx>
      <c:valAx>
        <c:axId val="1334702384"/>
        <c:scaling>
          <c:orientation val="minMax"/>
          <c:max val="40"/>
          <c:min val="0"/>
        </c:scaling>
        <c:delete val="0"/>
        <c:axPos val="l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9769744"/>
        <c:crosses val="autoZero"/>
        <c:crossBetween val="between"/>
        <c:majorUnit val="2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MX"/>
              <a:t>Google </a:t>
            </a:r>
            <a:r>
              <a:rPr lang="es-MX" err="1"/>
              <a:t>Search</a:t>
            </a:r>
            <a:r>
              <a:rPr lang="es-MX"/>
              <a:t> </a:t>
            </a:r>
            <a:r>
              <a:rPr lang="es-MX" err="1"/>
              <a:t>Trends</a:t>
            </a:r>
            <a:r>
              <a:rPr lang="es-MX"/>
              <a:t>: [</a:t>
            </a:r>
            <a:r>
              <a:rPr lang="es-MX" err="1"/>
              <a:t>Category</a:t>
            </a:r>
            <a:r>
              <a:rPr lang="es-MX"/>
              <a:t>]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Hoja1!$C$1</c:f>
              <c:strCache>
                <c:ptCount val="1"/>
                <c:pt idx="0">
                  <c:v>2023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Hoja1!$A$2:$A$53</c:f>
              <c:strCache>
                <c:ptCount val="48"/>
                <c:pt idx="0">
                  <c:v>Jan</c:v>
                </c:pt>
                <c:pt idx="4">
                  <c:v>Feb</c:v>
                </c:pt>
                <c:pt idx="8">
                  <c:v>Mar</c:v>
                </c:pt>
                <c:pt idx="12">
                  <c:v>Apr</c:v>
                </c:pt>
                <c:pt idx="17">
                  <c:v>May</c:v>
                </c:pt>
                <c:pt idx="21">
                  <c:v>Jun</c:v>
                </c:pt>
                <c:pt idx="25">
                  <c:v>Jul</c:v>
                </c:pt>
                <c:pt idx="30">
                  <c:v>Aug</c:v>
                </c:pt>
                <c:pt idx="34">
                  <c:v>Sep</c:v>
                </c:pt>
                <c:pt idx="38">
                  <c:v>Oct</c:v>
                </c:pt>
                <c:pt idx="43">
                  <c:v>Nov</c:v>
                </c:pt>
                <c:pt idx="47">
                  <c:v>Dec</c:v>
                </c:pt>
              </c:strCache>
            </c:strRef>
          </c:cat>
          <c:val>
            <c:numRef>
              <c:f>Hoja1!$C$2:$C$53</c:f>
              <c:numCache>
                <c:formatCode>General</c:formatCode>
                <c:ptCount val="52"/>
                <c:pt idx="0">
                  <c:v>59</c:v>
                </c:pt>
                <c:pt idx="1">
                  <c:v>68</c:v>
                </c:pt>
                <c:pt idx="2">
                  <c:v>68</c:v>
                </c:pt>
                <c:pt idx="3">
                  <c:v>62</c:v>
                </c:pt>
                <c:pt idx="4">
                  <c:v>73</c:v>
                </c:pt>
                <c:pt idx="5">
                  <c:v>70</c:v>
                </c:pt>
                <c:pt idx="6">
                  <c:v>74</c:v>
                </c:pt>
                <c:pt idx="7">
                  <c:v>81</c:v>
                </c:pt>
                <c:pt idx="8">
                  <c:v>86</c:v>
                </c:pt>
                <c:pt idx="9">
                  <c:v>86</c:v>
                </c:pt>
                <c:pt idx="10">
                  <c:v>91</c:v>
                </c:pt>
                <c:pt idx="11">
                  <c:v>84</c:v>
                </c:pt>
                <c:pt idx="12">
                  <c:v>89</c:v>
                </c:pt>
                <c:pt idx="13">
                  <c:v>76</c:v>
                </c:pt>
                <c:pt idx="14">
                  <c:v>77</c:v>
                </c:pt>
                <c:pt idx="15">
                  <c:v>90</c:v>
                </c:pt>
                <c:pt idx="16">
                  <c:v>95</c:v>
                </c:pt>
                <c:pt idx="17">
                  <c:v>80</c:v>
                </c:pt>
                <c:pt idx="18">
                  <c:v>74</c:v>
                </c:pt>
                <c:pt idx="19">
                  <c:v>74</c:v>
                </c:pt>
                <c:pt idx="20">
                  <c:v>76</c:v>
                </c:pt>
                <c:pt idx="21">
                  <c:v>79</c:v>
                </c:pt>
                <c:pt idx="22">
                  <c:v>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901-4FC7-A092-33C8E5066864}"/>
            </c:ext>
          </c:extLst>
        </c:ser>
        <c:ser>
          <c:idx val="1"/>
          <c:order val="1"/>
          <c:tx>
            <c:strRef>
              <c:f>Hoja1!$D$1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Hoja1!$A$2:$A$53</c:f>
              <c:strCache>
                <c:ptCount val="48"/>
                <c:pt idx="0">
                  <c:v>Jan</c:v>
                </c:pt>
                <c:pt idx="4">
                  <c:v>Feb</c:v>
                </c:pt>
                <c:pt idx="8">
                  <c:v>Mar</c:v>
                </c:pt>
                <c:pt idx="12">
                  <c:v>Apr</c:v>
                </c:pt>
                <c:pt idx="17">
                  <c:v>May</c:v>
                </c:pt>
                <c:pt idx="21">
                  <c:v>Jun</c:v>
                </c:pt>
                <c:pt idx="25">
                  <c:v>Jul</c:v>
                </c:pt>
                <c:pt idx="30">
                  <c:v>Aug</c:v>
                </c:pt>
                <c:pt idx="34">
                  <c:v>Sep</c:v>
                </c:pt>
                <c:pt idx="38">
                  <c:v>Oct</c:v>
                </c:pt>
                <c:pt idx="43">
                  <c:v>Nov</c:v>
                </c:pt>
                <c:pt idx="47">
                  <c:v>Dec</c:v>
                </c:pt>
              </c:strCache>
            </c:strRef>
          </c:cat>
          <c:val>
            <c:numRef>
              <c:f>Hoja1!$D$2:$D$53</c:f>
              <c:numCache>
                <c:formatCode>General</c:formatCode>
                <c:ptCount val="52"/>
                <c:pt idx="0">
                  <c:v>63</c:v>
                </c:pt>
                <c:pt idx="1">
                  <c:v>79</c:v>
                </c:pt>
                <c:pt idx="2">
                  <c:v>64</c:v>
                </c:pt>
                <c:pt idx="3">
                  <c:v>75</c:v>
                </c:pt>
                <c:pt idx="4">
                  <c:v>65</c:v>
                </c:pt>
                <c:pt idx="5">
                  <c:v>72</c:v>
                </c:pt>
                <c:pt idx="6">
                  <c:v>77</c:v>
                </c:pt>
                <c:pt idx="7">
                  <c:v>85</c:v>
                </c:pt>
                <c:pt idx="8">
                  <c:v>75</c:v>
                </c:pt>
                <c:pt idx="9">
                  <c:v>83</c:v>
                </c:pt>
                <c:pt idx="10">
                  <c:v>97</c:v>
                </c:pt>
                <c:pt idx="11">
                  <c:v>87</c:v>
                </c:pt>
                <c:pt idx="12">
                  <c:v>100</c:v>
                </c:pt>
                <c:pt idx="13">
                  <c:v>84</c:v>
                </c:pt>
                <c:pt idx="14">
                  <c:v>67</c:v>
                </c:pt>
                <c:pt idx="15">
                  <c:v>75</c:v>
                </c:pt>
                <c:pt idx="16">
                  <c:v>83</c:v>
                </c:pt>
                <c:pt idx="17">
                  <c:v>77</c:v>
                </c:pt>
                <c:pt idx="18">
                  <c:v>69</c:v>
                </c:pt>
                <c:pt idx="19">
                  <c:v>72</c:v>
                </c:pt>
                <c:pt idx="20">
                  <c:v>67</c:v>
                </c:pt>
                <c:pt idx="21">
                  <c:v>67</c:v>
                </c:pt>
                <c:pt idx="22">
                  <c:v>62</c:v>
                </c:pt>
                <c:pt idx="23">
                  <c:v>68</c:v>
                </c:pt>
                <c:pt idx="24">
                  <c:v>72</c:v>
                </c:pt>
                <c:pt idx="25">
                  <c:v>74</c:v>
                </c:pt>
                <c:pt idx="26">
                  <c:v>84</c:v>
                </c:pt>
                <c:pt idx="27">
                  <c:v>67</c:v>
                </c:pt>
                <c:pt idx="28">
                  <c:v>85</c:v>
                </c:pt>
                <c:pt idx="29">
                  <c:v>72</c:v>
                </c:pt>
                <c:pt idx="30">
                  <c:v>67</c:v>
                </c:pt>
                <c:pt idx="31">
                  <c:v>70</c:v>
                </c:pt>
                <c:pt idx="32">
                  <c:v>66</c:v>
                </c:pt>
                <c:pt idx="33">
                  <c:v>67</c:v>
                </c:pt>
                <c:pt idx="34">
                  <c:v>71</c:v>
                </c:pt>
                <c:pt idx="35">
                  <c:v>77</c:v>
                </c:pt>
                <c:pt idx="36">
                  <c:v>67</c:v>
                </c:pt>
                <c:pt idx="37">
                  <c:v>68</c:v>
                </c:pt>
                <c:pt idx="38">
                  <c:v>79</c:v>
                </c:pt>
                <c:pt idx="39">
                  <c:v>86</c:v>
                </c:pt>
                <c:pt idx="40">
                  <c:v>80</c:v>
                </c:pt>
                <c:pt idx="41">
                  <c:v>72</c:v>
                </c:pt>
                <c:pt idx="42">
                  <c:v>69</c:v>
                </c:pt>
                <c:pt idx="43">
                  <c:v>65</c:v>
                </c:pt>
                <c:pt idx="44">
                  <c:v>75</c:v>
                </c:pt>
                <c:pt idx="45">
                  <c:v>80</c:v>
                </c:pt>
                <c:pt idx="46">
                  <c:v>73</c:v>
                </c:pt>
                <c:pt idx="47">
                  <c:v>74</c:v>
                </c:pt>
                <c:pt idx="48">
                  <c:v>70</c:v>
                </c:pt>
                <c:pt idx="49">
                  <c:v>66</c:v>
                </c:pt>
                <c:pt idx="50">
                  <c:v>60</c:v>
                </c:pt>
                <c:pt idx="51">
                  <c:v>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901-4FC7-A092-33C8E5066864}"/>
            </c:ext>
          </c:extLst>
        </c:ser>
        <c:ser>
          <c:idx val="2"/>
          <c:order val="2"/>
          <c:tx>
            <c:strRef>
              <c:f>Hoja1!$E$1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Hoja1!$A$2:$A$53</c:f>
              <c:strCache>
                <c:ptCount val="48"/>
                <c:pt idx="0">
                  <c:v>Jan</c:v>
                </c:pt>
                <c:pt idx="4">
                  <c:v>Feb</c:v>
                </c:pt>
                <c:pt idx="8">
                  <c:v>Mar</c:v>
                </c:pt>
                <c:pt idx="12">
                  <c:v>Apr</c:v>
                </c:pt>
                <c:pt idx="17">
                  <c:v>May</c:v>
                </c:pt>
                <c:pt idx="21">
                  <c:v>Jun</c:v>
                </c:pt>
                <c:pt idx="25">
                  <c:v>Jul</c:v>
                </c:pt>
                <c:pt idx="30">
                  <c:v>Aug</c:v>
                </c:pt>
                <c:pt idx="34">
                  <c:v>Sep</c:v>
                </c:pt>
                <c:pt idx="38">
                  <c:v>Oct</c:v>
                </c:pt>
                <c:pt idx="43">
                  <c:v>Nov</c:v>
                </c:pt>
                <c:pt idx="47">
                  <c:v>Dec</c:v>
                </c:pt>
              </c:strCache>
            </c:strRef>
          </c:cat>
          <c:val>
            <c:numRef>
              <c:f>Hoja1!$E$2:$E$53</c:f>
              <c:numCache>
                <c:formatCode>General</c:formatCode>
                <c:ptCount val="52"/>
                <c:pt idx="0">
                  <c:v>60</c:v>
                </c:pt>
                <c:pt idx="1">
                  <c:v>55</c:v>
                </c:pt>
                <c:pt idx="2">
                  <c:v>54</c:v>
                </c:pt>
                <c:pt idx="3">
                  <c:v>66</c:v>
                </c:pt>
                <c:pt idx="4">
                  <c:v>54</c:v>
                </c:pt>
                <c:pt idx="5">
                  <c:v>57</c:v>
                </c:pt>
                <c:pt idx="6">
                  <c:v>57</c:v>
                </c:pt>
                <c:pt idx="7">
                  <c:v>61</c:v>
                </c:pt>
                <c:pt idx="8">
                  <c:v>70</c:v>
                </c:pt>
                <c:pt idx="9">
                  <c:v>72</c:v>
                </c:pt>
                <c:pt idx="10">
                  <c:v>65</c:v>
                </c:pt>
                <c:pt idx="11">
                  <c:v>71</c:v>
                </c:pt>
                <c:pt idx="12">
                  <c:v>57</c:v>
                </c:pt>
                <c:pt idx="13">
                  <c:v>64</c:v>
                </c:pt>
                <c:pt idx="14">
                  <c:v>70</c:v>
                </c:pt>
                <c:pt idx="15">
                  <c:v>64</c:v>
                </c:pt>
                <c:pt idx="16">
                  <c:v>80</c:v>
                </c:pt>
                <c:pt idx="17">
                  <c:v>71</c:v>
                </c:pt>
                <c:pt idx="18">
                  <c:v>63</c:v>
                </c:pt>
                <c:pt idx="19">
                  <c:v>74</c:v>
                </c:pt>
                <c:pt idx="20">
                  <c:v>71</c:v>
                </c:pt>
                <c:pt idx="21">
                  <c:v>52</c:v>
                </c:pt>
                <c:pt idx="22">
                  <c:v>68</c:v>
                </c:pt>
                <c:pt idx="23">
                  <c:v>60</c:v>
                </c:pt>
                <c:pt idx="24">
                  <c:v>61</c:v>
                </c:pt>
                <c:pt idx="25">
                  <c:v>66</c:v>
                </c:pt>
                <c:pt idx="26">
                  <c:v>76</c:v>
                </c:pt>
                <c:pt idx="27">
                  <c:v>65</c:v>
                </c:pt>
                <c:pt idx="28">
                  <c:v>63</c:v>
                </c:pt>
                <c:pt idx="29">
                  <c:v>74</c:v>
                </c:pt>
                <c:pt idx="30">
                  <c:v>73</c:v>
                </c:pt>
                <c:pt idx="31">
                  <c:v>72</c:v>
                </c:pt>
                <c:pt idx="32">
                  <c:v>81</c:v>
                </c:pt>
                <c:pt idx="33">
                  <c:v>65</c:v>
                </c:pt>
                <c:pt idx="34">
                  <c:v>66</c:v>
                </c:pt>
                <c:pt idx="35">
                  <c:v>56</c:v>
                </c:pt>
                <c:pt idx="36">
                  <c:v>69</c:v>
                </c:pt>
                <c:pt idx="37">
                  <c:v>55</c:v>
                </c:pt>
                <c:pt idx="38">
                  <c:v>67</c:v>
                </c:pt>
                <c:pt idx="39">
                  <c:v>64</c:v>
                </c:pt>
                <c:pt idx="40">
                  <c:v>59</c:v>
                </c:pt>
                <c:pt idx="41">
                  <c:v>66</c:v>
                </c:pt>
                <c:pt idx="42">
                  <c:v>62</c:v>
                </c:pt>
                <c:pt idx="43">
                  <c:v>67</c:v>
                </c:pt>
                <c:pt idx="44">
                  <c:v>63</c:v>
                </c:pt>
                <c:pt idx="45">
                  <c:v>65</c:v>
                </c:pt>
                <c:pt idx="46">
                  <c:v>61</c:v>
                </c:pt>
                <c:pt idx="47">
                  <c:v>46</c:v>
                </c:pt>
                <c:pt idx="48">
                  <c:v>41</c:v>
                </c:pt>
                <c:pt idx="49">
                  <c:v>58</c:v>
                </c:pt>
                <c:pt idx="50">
                  <c:v>54</c:v>
                </c:pt>
                <c:pt idx="51">
                  <c:v>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901-4FC7-A092-33C8E50668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28352671"/>
        <c:axId val="928355551"/>
      </c:lineChart>
      <c:catAx>
        <c:axId val="9283526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28355551"/>
        <c:crosses val="autoZero"/>
        <c:auto val="1"/>
        <c:lblAlgn val="ctr"/>
        <c:lblOffset val="100"/>
        <c:noMultiLvlLbl val="0"/>
      </c:catAx>
      <c:valAx>
        <c:axId val="92835555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283526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86C-4A45-870D-2373E816FEF6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86C-4A45-870D-2373E816FEF6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86C-4A45-870D-2373E816FEF6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86C-4A45-870D-2373E816FEF6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86C-4A45-870D-2373E816FEF6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86C-4A45-870D-2373E816FEF6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  <c:pt idx="0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86C-4A45-870D-2373E816FEF6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86C-4A45-870D-2373E816FEF6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886C-4A45-870D-2373E816FEF6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86C-4A45-870D-2373E816FE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n-US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3D-49A0-87EB-8004071B75B1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3D-49A0-87EB-8004071B75B1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63D-49A0-87EB-8004071B75B1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63D-49A0-87EB-8004071B75B1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63D-49A0-87EB-8004071B75B1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63D-49A0-87EB-8004071B75B1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  <c:pt idx="0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63D-49A0-87EB-8004071B75B1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63D-49A0-87EB-8004071B75B1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63D-49A0-87EB-8004071B75B1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63D-49A0-87EB-8004071B75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n-US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6F-4A7F-84FA-EF5B0FF31164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26F-4A7F-84FA-EF5B0FF31164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26F-4A7F-84FA-EF5B0FF31164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26F-4A7F-84FA-EF5B0FF31164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26F-4A7F-84FA-EF5B0FF31164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26F-4A7F-84FA-EF5B0FF311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26F-4A7F-84FA-EF5B0FF31164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26F-4A7F-84FA-EF5B0FF311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  <c:pt idx="0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26F-4A7F-84FA-EF5B0FF31164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26F-4A7F-84FA-EF5B0FF3116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26F-4A7F-84FA-EF5B0FF31164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26F-4A7F-84FA-EF5B0FF31164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26F-4A7F-84FA-EF5B0FF311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n-US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55A-4CDF-9ED4-5387862E640C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55A-4CDF-9ED4-5387862E640C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5A-4CDF-9ED4-5387862E640C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55A-4CDF-9ED4-5387862E640C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55A-4CDF-9ED4-5387862E640C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55A-4CDF-9ED4-5387862E64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55A-4CDF-9ED4-5387862E640C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55A-4CDF-9ED4-5387862E64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  <c:pt idx="0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55A-4CDF-9ED4-5387862E640C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55A-4CDF-9ED4-5387862E640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55A-4CDF-9ED4-5387862E640C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55A-4CDF-9ED4-5387862E640C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55A-4CDF-9ED4-5387862E64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824226071612338E-2"/>
          <c:y val="0.16385747411808013"/>
          <c:w val="0.92035154785677531"/>
          <c:h val="0.5216388626272792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G$1</c:f>
              <c:strCache>
                <c:ptCount val="6"/>
                <c:pt idx="0">
                  <c:v>Category Total</c:v>
                </c:pt>
                <c:pt idx="1">
                  <c:v>[Brand]</c:v>
                </c:pt>
                <c:pt idx="2">
                  <c:v>[Competitor 1]</c:v>
                </c:pt>
                <c:pt idx="3">
                  <c:v>[Competitor 2]</c:v>
                </c:pt>
                <c:pt idx="4">
                  <c:v>[Competitor 3]</c:v>
                </c:pt>
                <c:pt idx="5">
                  <c:v>[Others]</c:v>
                </c:pt>
              </c:strCache>
            </c:strRef>
          </c:cat>
          <c:val>
            <c:numRef>
              <c:f>Hoja1!$B$2:$G$2</c:f>
              <c:numCache>
                <c:formatCode>0%</c:formatCode>
                <c:ptCount val="6"/>
                <c:pt idx="0">
                  <c:v>0.5</c:v>
                </c:pt>
                <c:pt idx="1">
                  <c:v>0.55000000000000004</c:v>
                </c:pt>
                <c:pt idx="2">
                  <c:v>0.6</c:v>
                </c:pt>
                <c:pt idx="3">
                  <c:v>0.55000000000000004</c:v>
                </c:pt>
                <c:pt idx="4">
                  <c:v>0.5</c:v>
                </c:pt>
                <c:pt idx="5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7E-459F-B1B5-488521A8D116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G$1</c:f>
              <c:strCache>
                <c:ptCount val="6"/>
                <c:pt idx="0">
                  <c:v>Category Total</c:v>
                </c:pt>
                <c:pt idx="1">
                  <c:v>[Brand]</c:v>
                </c:pt>
                <c:pt idx="2">
                  <c:v>[Competitor 1]</c:v>
                </c:pt>
                <c:pt idx="3">
                  <c:v>[Competitor 2]</c:v>
                </c:pt>
                <c:pt idx="4">
                  <c:v>[Competitor 3]</c:v>
                </c:pt>
                <c:pt idx="5">
                  <c:v>[Others]</c:v>
                </c:pt>
              </c:strCache>
            </c:strRef>
          </c:cat>
          <c:val>
            <c:numRef>
              <c:f>Hoja1!$B$3:$G$3</c:f>
              <c:numCache>
                <c:formatCode>0%</c:formatCode>
                <c:ptCount val="6"/>
                <c:pt idx="0">
                  <c:v>0.2</c:v>
                </c:pt>
                <c:pt idx="1">
                  <c:v>0.1</c:v>
                </c:pt>
                <c:pt idx="2">
                  <c:v>0.1</c:v>
                </c:pt>
                <c:pt idx="3">
                  <c:v>0.1</c:v>
                </c:pt>
                <c:pt idx="4">
                  <c:v>0.2</c:v>
                </c:pt>
                <c:pt idx="5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07E-459F-B1B5-488521A8D116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G$1</c:f>
              <c:strCache>
                <c:ptCount val="6"/>
                <c:pt idx="0">
                  <c:v>Category Total</c:v>
                </c:pt>
                <c:pt idx="1">
                  <c:v>[Brand]</c:v>
                </c:pt>
                <c:pt idx="2">
                  <c:v>[Competitor 1]</c:v>
                </c:pt>
                <c:pt idx="3">
                  <c:v>[Competitor 2]</c:v>
                </c:pt>
                <c:pt idx="4">
                  <c:v>[Competitor 3]</c:v>
                </c:pt>
                <c:pt idx="5">
                  <c:v>[Others]</c:v>
                </c:pt>
              </c:strCache>
            </c:strRef>
          </c:cat>
          <c:val>
            <c:numRef>
              <c:f>Hoja1!$B$4:$G$4</c:f>
              <c:numCache>
                <c:formatCode>0%</c:formatCode>
                <c:ptCount val="6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07E-459F-B1B5-488521A8D116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Newspapers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G$1</c:f>
              <c:strCache>
                <c:ptCount val="6"/>
                <c:pt idx="0">
                  <c:v>Category Total</c:v>
                </c:pt>
                <c:pt idx="1">
                  <c:v>[Brand]</c:v>
                </c:pt>
                <c:pt idx="2">
                  <c:v>[Competitor 1]</c:v>
                </c:pt>
                <c:pt idx="3">
                  <c:v>[Competitor 2]</c:v>
                </c:pt>
                <c:pt idx="4">
                  <c:v>[Competitor 3]</c:v>
                </c:pt>
                <c:pt idx="5">
                  <c:v>[Others]</c:v>
                </c:pt>
              </c:strCache>
            </c:strRef>
          </c:cat>
          <c:val>
            <c:numRef>
              <c:f>Hoja1!$B$5:$G$5</c:f>
              <c:numCache>
                <c:formatCode>0%</c:formatCode>
                <c:ptCount val="6"/>
                <c:pt idx="0">
                  <c:v>0.1</c:v>
                </c:pt>
                <c:pt idx="1">
                  <c:v>0.2</c:v>
                </c:pt>
                <c:pt idx="2">
                  <c:v>0.1</c:v>
                </c:pt>
                <c:pt idx="3">
                  <c:v>0.2</c:v>
                </c:pt>
                <c:pt idx="4">
                  <c:v>0.1</c:v>
                </c:pt>
                <c:pt idx="5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07E-459F-B1B5-488521A8D116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Magazin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G$1</c:f>
              <c:strCache>
                <c:ptCount val="6"/>
                <c:pt idx="0">
                  <c:v>Category Total</c:v>
                </c:pt>
                <c:pt idx="1">
                  <c:v>[Brand]</c:v>
                </c:pt>
                <c:pt idx="2">
                  <c:v>[Competitor 1]</c:v>
                </c:pt>
                <c:pt idx="3">
                  <c:v>[Competitor 2]</c:v>
                </c:pt>
                <c:pt idx="4">
                  <c:v>[Competitor 3]</c:v>
                </c:pt>
                <c:pt idx="5">
                  <c:v>[Others]</c:v>
                </c:pt>
              </c:strCache>
            </c:strRef>
          </c:cat>
          <c:val>
            <c:numRef>
              <c:f>Hoja1!$B$6:$G$6</c:f>
              <c:numCache>
                <c:formatCode>0%</c:formatCode>
                <c:ptCount val="6"/>
                <c:pt idx="0">
                  <c:v>0.1</c:v>
                </c:pt>
                <c:pt idx="1">
                  <c:v>0.1</c:v>
                </c:pt>
                <c:pt idx="2">
                  <c:v>0.2</c:v>
                </c:pt>
                <c:pt idx="3">
                  <c:v>0.1</c:v>
                </c:pt>
                <c:pt idx="4">
                  <c:v>0.1</c:v>
                </c:pt>
                <c:pt idx="5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07E-459F-B1B5-488521A8D1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06507232"/>
        <c:axId val="506515136"/>
      </c:barChart>
      <c:catAx>
        <c:axId val="506507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6515136"/>
        <c:crosses val="autoZero"/>
        <c:auto val="1"/>
        <c:lblAlgn val="ctr"/>
        <c:lblOffset val="100"/>
        <c:noMultiLvlLbl val="0"/>
      </c:catAx>
      <c:valAx>
        <c:axId val="50651513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06507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A7-4980-8FF0-14C2B3DF1380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A7-4980-8FF0-14C2B3DF1380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9A7-4980-8FF0-14C2B3DF1380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A7-4980-8FF0-14C2B3DF1380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9A7-4980-8FF0-14C2B3DF1380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9A7-4980-8FF0-14C2B3DF1380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  <c:pt idx="0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9A7-4980-8FF0-14C2B3DF1380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9A7-4980-8FF0-14C2B3DF1380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9A7-4980-8FF0-14C2B3DF1380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9A7-4980-8FF0-14C2B3DF1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n-US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D4-4579-B360-95CFFA9BF68E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D4-4579-B360-95CFFA9BF68E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D4-4579-B360-95CFFA9BF68E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BD4-4579-B360-95CFFA9BF68E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BD4-4579-B360-95CFFA9BF68E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BD4-4579-B360-95CFFA9BF6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BD4-4579-B360-95CFFA9BF68E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BD4-4579-B360-95CFFA9BF6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  <c:pt idx="0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BD4-4579-B360-95CFFA9BF68E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BD4-4579-B360-95CFFA9BF6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BD4-4579-B360-95CFFA9BF68E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1BD4-4579-B360-95CFFA9BF68E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BD4-4579-B360-95CFFA9BF6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n-US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C0-4D5C-A95E-7254FEFE7ED7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DC0-4D5C-A95E-7254FEFE7ED7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DC0-4D5C-A95E-7254FEFE7ED7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DC0-4D5C-A95E-7254FEFE7ED7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DC0-4D5C-A95E-7254FEFE7ED7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DC0-4D5C-A95E-7254FEFE7E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DC0-4D5C-A95E-7254FEFE7ED7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DC0-4D5C-A95E-7254FEFE7E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  <c:pt idx="0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DC0-4D5C-A95E-7254FEFE7ED7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DC0-4D5C-A95E-7254FEFE7ED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DC0-4D5C-A95E-7254FEFE7ED7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DC0-4D5C-A95E-7254FEFE7ED7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DC0-4D5C-A95E-7254FEFE7E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n-US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5C-45A6-8D5F-B6441C2E5AC3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5C-45A6-8D5F-B6441C2E5AC3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45C-45A6-8D5F-B6441C2E5AC3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45C-45A6-8D5F-B6441C2E5AC3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45C-45A6-8D5F-B6441C2E5AC3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45C-45A6-8D5F-B6441C2E5AC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45C-45A6-8D5F-B6441C2E5AC3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45C-45A6-8D5F-B6441C2E5AC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  <c:pt idx="0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45C-45A6-8D5F-B6441C2E5AC3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45C-45A6-8D5F-B6441C2E5AC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45C-45A6-8D5F-B6441C2E5AC3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45C-45A6-8D5F-B6441C2E5AC3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45C-45A6-8D5F-B6441C2E5A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n-US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83-45E6-84B0-7A19C98A0DAE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83-45E6-84B0-7A19C98A0DAE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83-45E6-84B0-7A19C98A0DAE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283-45E6-84B0-7A19C98A0DAE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283-45E6-84B0-7A19C98A0DAE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283-45E6-84B0-7A19C98A0D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283-45E6-84B0-7A19C98A0DAE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283-45E6-84B0-7A19C98A0D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  <c:pt idx="0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283-45E6-84B0-7A19C98A0DAE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283-45E6-84B0-7A19C98A0DA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283-45E6-84B0-7A19C98A0DAE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283-45E6-84B0-7A19C98A0DAE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283-45E6-84B0-7A19C98A0D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n-US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A7-40FF-9213-8C9B81F57500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AA7-40FF-9213-8C9B81F57500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AA7-40FF-9213-8C9B81F57500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AA7-40FF-9213-8C9B81F57500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AA7-40FF-9213-8C9B81F57500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AA7-40FF-9213-8C9B81F575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AA7-40FF-9213-8C9B81F57500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AA7-40FF-9213-8C9B81F575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  <c:pt idx="0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AA7-40FF-9213-8C9B81F57500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AA7-40FF-9213-8C9B81F5750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AA7-40FF-9213-8C9B81F57500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AA7-40FF-9213-8C9B81F57500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AA7-40FF-9213-8C9B81F575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n-US"/>
    </a:p>
  </c:txPr>
  <c:externalData r:id="rId2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28-417B-8115-66126DE5D83B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F28-417B-8115-66126DE5D83B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F28-417B-8115-66126DE5D83B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F28-417B-8115-66126DE5D83B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F28-417B-8115-66126DE5D83B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F28-417B-8115-66126DE5D83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F28-417B-8115-66126DE5D83B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F28-417B-8115-66126DE5D83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  <c:pt idx="0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F28-417B-8115-66126DE5D83B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F28-417B-8115-66126DE5D83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F28-417B-8115-66126DE5D83B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F28-417B-8115-66126DE5D83B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F28-417B-8115-66126DE5D8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n-US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70-46BA-9176-9CB2FADADD02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70-46BA-9176-9CB2FADADD02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670-46BA-9176-9CB2FADADD02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670-46BA-9176-9CB2FADADD02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670-46BA-9176-9CB2FADADD02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670-46BA-9176-9CB2FADADD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670-46BA-9176-9CB2FADADD02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670-46BA-9176-9CB2FADADD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  <c:pt idx="0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670-46BA-9176-9CB2FADADD02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670-46BA-9176-9CB2FADADD0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670-46BA-9176-9CB2FADADD02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670-46BA-9176-9CB2FADADD02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670-46BA-9176-9CB2FADADD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n-US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1"/>
          <c:order val="0"/>
          <c:tx>
            <c:strRef>
              <c:f>'[PLAN TV ABIERTA + CABLE1]CURVA'!$B$1</c:f>
              <c:strCache>
                <c:ptCount val="1"/>
                <c:pt idx="0">
                  <c:v>1+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[PLAN TV ABIERTA + CABLE1]CURVA'!$A$2:$A$355</c:f>
              <c:numCache>
                <c:formatCode>#,##0.0</c:formatCode>
                <c:ptCount val="354"/>
                <c:pt idx="0">
                  <c:v>0.2</c:v>
                </c:pt>
                <c:pt idx="1">
                  <c:v>0.4</c:v>
                </c:pt>
                <c:pt idx="2">
                  <c:v>0.7</c:v>
                </c:pt>
                <c:pt idx="3">
                  <c:v>1.5</c:v>
                </c:pt>
                <c:pt idx="4">
                  <c:v>1.7</c:v>
                </c:pt>
                <c:pt idx="5">
                  <c:v>1.9</c:v>
                </c:pt>
                <c:pt idx="6">
                  <c:v>2.1</c:v>
                </c:pt>
                <c:pt idx="7">
                  <c:v>2.4</c:v>
                </c:pt>
                <c:pt idx="8">
                  <c:v>3.5</c:v>
                </c:pt>
                <c:pt idx="9">
                  <c:v>4.7</c:v>
                </c:pt>
                <c:pt idx="10">
                  <c:v>5.2</c:v>
                </c:pt>
                <c:pt idx="11">
                  <c:v>6.5</c:v>
                </c:pt>
                <c:pt idx="12">
                  <c:v>6.7</c:v>
                </c:pt>
                <c:pt idx="13">
                  <c:v>7.8</c:v>
                </c:pt>
                <c:pt idx="14">
                  <c:v>8</c:v>
                </c:pt>
                <c:pt idx="15">
                  <c:v>8.1999999999999993</c:v>
                </c:pt>
                <c:pt idx="16">
                  <c:v>8.5</c:v>
                </c:pt>
                <c:pt idx="17">
                  <c:v>8.8000000000000007</c:v>
                </c:pt>
                <c:pt idx="18">
                  <c:v>9.1</c:v>
                </c:pt>
                <c:pt idx="19">
                  <c:v>9.4</c:v>
                </c:pt>
                <c:pt idx="20">
                  <c:v>9.6</c:v>
                </c:pt>
                <c:pt idx="21">
                  <c:v>11.4</c:v>
                </c:pt>
                <c:pt idx="22">
                  <c:v>11.6</c:v>
                </c:pt>
                <c:pt idx="23">
                  <c:v>11.8</c:v>
                </c:pt>
                <c:pt idx="24">
                  <c:v>12.3</c:v>
                </c:pt>
                <c:pt idx="25">
                  <c:v>12.6</c:v>
                </c:pt>
                <c:pt idx="26">
                  <c:v>12.7</c:v>
                </c:pt>
                <c:pt idx="27">
                  <c:v>13.2</c:v>
                </c:pt>
                <c:pt idx="28">
                  <c:v>14.4</c:v>
                </c:pt>
                <c:pt idx="29">
                  <c:v>15.4</c:v>
                </c:pt>
                <c:pt idx="30">
                  <c:v>16.399999999999999</c:v>
                </c:pt>
                <c:pt idx="31">
                  <c:v>17.399999999999999</c:v>
                </c:pt>
                <c:pt idx="32">
                  <c:v>17.7</c:v>
                </c:pt>
                <c:pt idx="33">
                  <c:v>18</c:v>
                </c:pt>
                <c:pt idx="34">
                  <c:v>18.3</c:v>
                </c:pt>
                <c:pt idx="35">
                  <c:v>18.600000000000001</c:v>
                </c:pt>
                <c:pt idx="36">
                  <c:v>18.899999999999999</c:v>
                </c:pt>
                <c:pt idx="37">
                  <c:v>19.2</c:v>
                </c:pt>
                <c:pt idx="38">
                  <c:v>19.3</c:v>
                </c:pt>
                <c:pt idx="39">
                  <c:v>19.399999999999999</c:v>
                </c:pt>
                <c:pt idx="40">
                  <c:v>19.5</c:v>
                </c:pt>
                <c:pt idx="41">
                  <c:v>19.600000000000001</c:v>
                </c:pt>
                <c:pt idx="42">
                  <c:v>19.7</c:v>
                </c:pt>
                <c:pt idx="43">
                  <c:v>19.8</c:v>
                </c:pt>
                <c:pt idx="44">
                  <c:v>20</c:v>
                </c:pt>
                <c:pt idx="45">
                  <c:v>20.2</c:v>
                </c:pt>
                <c:pt idx="46">
                  <c:v>20.399999999999999</c:v>
                </c:pt>
                <c:pt idx="47">
                  <c:v>20.7</c:v>
                </c:pt>
                <c:pt idx="48">
                  <c:v>21.7</c:v>
                </c:pt>
                <c:pt idx="49">
                  <c:v>22.7</c:v>
                </c:pt>
                <c:pt idx="50">
                  <c:v>23.7</c:v>
                </c:pt>
                <c:pt idx="51">
                  <c:v>24</c:v>
                </c:pt>
                <c:pt idx="52">
                  <c:v>24.3</c:v>
                </c:pt>
                <c:pt idx="53">
                  <c:v>24.6</c:v>
                </c:pt>
                <c:pt idx="54">
                  <c:v>24.9</c:v>
                </c:pt>
                <c:pt idx="55">
                  <c:v>25.2</c:v>
                </c:pt>
                <c:pt idx="56">
                  <c:v>25.5</c:v>
                </c:pt>
                <c:pt idx="57">
                  <c:v>25.6</c:v>
                </c:pt>
                <c:pt idx="58">
                  <c:v>25.7</c:v>
                </c:pt>
                <c:pt idx="59">
                  <c:v>25.8</c:v>
                </c:pt>
                <c:pt idx="60">
                  <c:v>25.9</c:v>
                </c:pt>
                <c:pt idx="61">
                  <c:v>26</c:v>
                </c:pt>
                <c:pt idx="62">
                  <c:v>26.1</c:v>
                </c:pt>
                <c:pt idx="63">
                  <c:v>26.3</c:v>
                </c:pt>
                <c:pt idx="64">
                  <c:v>26.6</c:v>
                </c:pt>
                <c:pt idx="65">
                  <c:v>26.8</c:v>
                </c:pt>
                <c:pt idx="66">
                  <c:v>27</c:v>
                </c:pt>
                <c:pt idx="67">
                  <c:v>27.3</c:v>
                </c:pt>
                <c:pt idx="68">
                  <c:v>27.4</c:v>
                </c:pt>
                <c:pt idx="69">
                  <c:v>28.4</c:v>
                </c:pt>
                <c:pt idx="70">
                  <c:v>29.4</c:v>
                </c:pt>
                <c:pt idx="71">
                  <c:v>29.7</c:v>
                </c:pt>
                <c:pt idx="72">
                  <c:v>30</c:v>
                </c:pt>
                <c:pt idx="73">
                  <c:v>30.1</c:v>
                </c:pt>
                <c:pt idx="74">
                  <c:v>30.2</c:v>
                </c:pt>
                <c:pt idx="75">
                  <c:v>30.3</c:v>
                </c:pt>
                <c:pt idx="76">
                  <c:v>30.4</c:v>
                </c:pt>
                <c:pt idx="77">
                  <c:v>30.5</c:v>
                </c:pt>
                <c:pt idx="78">
                  <c:v>30.6</c:v>
                </c:pt>
                <c:pt idx="79">
                  <c:v>30.7</c:v>
                </c:pt>
                <c:pt idx="80">
                  <c:v>30.9</c:v>
                </c:pt>
                <c:pt idx="81">
                  <c:v>31.1</c:v>
                </c:pt>
                <c:pt idx="82">
                  <c:v>31.4</c:v>
                </c:pt>
                <c:pt idx="83">
                  <c:v>31.5</c:v>
                </c:pt>
                <c:pt idx="84">
                  <c:v>32.6</c:v>
                </c:pt>
                <c:pt idx="85">
                  <c:v>32.799999999999997</c:v>
                </c:pt>
                <c:pt idx="86">
                  <c:v>33</c:v>
                </c:pt>
                <c:pt idx="87">
                  <c:v>33.299999999999997</c:v>
                </c:pt>
                <c:pt idx="88">
                  <c:v>34.4</c:v>
                </c:pt>
                <c:pt idx="89">
                  <c:v>35.4</c:v>
                </c:pt>
                <c:pt idx="90">
                  <c:v>36.200000000000003</c:v>
                </c:pt>
                <c:pt idx="91">
                  <c:v>37.200000000000003</c:v>
                </c:pt>
                <c:pt idx="92">
                  <c:v>37.700000000000003</c:v>
                </c:pt>
                <c:pt idx="93">
                  <c:v>39</c:v>
                </c:pt>
                <c:pt idx="94">
                  <c:v>39.200000000000003</c:v>
                </c:pt>
                <c:pt idx="95">
                  <c:v>39.4</c:v>
                </c:pt>
                <c:pt idx="96">
                  <c:v>39.6</c:v>
                </c:pt>
                <c:pt idx="97">
                  <c:v>39.9</c:v>
                </c:pt>
                <c:pt idx="98">
                  <c:v>40.1</c:v>
                </c:pt>
                <c:pt idx="99">
                  <c:v>40.299999999999997</c:v>
                </c:pt>
                <c:pt idx="100">
                  <c:v>40.5</c:v>
                </c:pt>
                <c:pt idx="101">
                  <c:v>40.799999999999997</c:v>
                </c:pt>
                <c:pt idx="102">
                  <c:v>41.5</c:v>
                </c:pt>
                <c:pt idx="103">
                  <c:v>41.8</c:v>
                </c:pt>
                <c:pt idx="104">
                  <c:v>42.1</c:v>
                </c:pt>
                <c:pt idx="105">
                  <c:v>42.4</c:v>
                </c:pt>
                <c:pt idx="106">
                  <c:v>43.4</c:v>
                </c:pt>
                <c:pt idx="107">
                  <c:v>43.9</c:v>
                </c:pt>
                <c:pt idx="108">
                  <c:v>45.2</c:v>
                </c:pt>
                <c:pt idx="109">
                  <c:v>45.4</c:v>
                </c:pt>
                <c:pt idx="110">
                  <c:v>47.2</c:v>
                </c:pt>
                <c:pt idx="111">
                  <c:v>47.4</c:v>
                </c:pt>
                <c:pt idx="112">
                  <c:v>47.6</c:v>
                </c:pt>
                <c:pt idx="113">
                  <c:v>47.9</c:v>
                </c:pt>
                <c:pt idx="114">
                  <c:v>48</c:v>
                </c:pt>
                <c:pt idx="115">
                  <c:v>49.2</c:v>
                </c:pt>
                <c:pt idx="116">
                  <c:v>49.7</c:v>
                </c:pt>
                <c:pt idx="117">
                  <c:v>50.7</c:v>
                </c:pt>
                <c:pt idx="118">
                  <c:v>51.7</c:v>
                </c:pt>
                <c:pt idx="119">
                  <c:v>52.7</c:v>
                </c:pt>
                <c:pt idx="120">
                  <c:v>53</c:v>
                </c:pt>
                <c:pt idx="121">
                  <c:v>53.3</c:v>
                </c:pt>
                <c:pt idx="122">
                  <c:v>53.6</c:v>
                </c:pt>
                <c:pt idx="123">
                  <c:v>53.9</c:v>
                </c:pt>
                <c:pt idx="124">
                  <c:v>54.2</c:v>
                </c:pt>
                <c:pt idx="125">
                  <c:v>54.5</c:v>
                </c:pt>
                <c:pt idx="126">
                  <c:v>54.6</c:v>
                </c:pt>
                <c:pt idx="127">
                  <c:v>54.7</c:v>
                </c:pt>
                <c:pt idx="128">
                  <c:v>54.8</c:v>
                </c:pt>
                <c:pt idx="129">
                  <c:v>54.9</c:v>
                </c:pt>
                <c:pt idx="130">
                  <c:v>55</c:v>
                </c:pt>
                <c:pt idx="131">
                  <c:v>55.1</c:v>
                </c:pt>
                <c:pt idx="132">
                  <c:v>55.3</c:v>
                </c:pt>
                <c:pt idx="133">
                  <c:v>55.5</c:v>
                </c:pt>
                <c:pt idx="134">
                  <c:v>55.7</c:v>
                </c:pt>
                <c:pt idx="135">
                  <c:v>56</c:v>
                </c:pt>
                <c:pt idx="136">
                  <c:v>57</c:v>
                </c:pt>
                <c:pt idx="137">
                  <c:v>58</c:v>
                </c:pt>
                <c:pt idx="138">
                  <c:v>59</c:v>
                </c:pt>
                <c:pt idx="139">
                  <c:v>59.3</c:v>
                </c:pt>
                <c:pt idx="140">
                  <c:v>59.6</c:v>
                </c:pt>
                <c:pt idx="141">
                  <c:v>59.9</c:v>
                </c:pt>
                <c:pt idx="142">
                  <c:v>60.2</c:v>
                </c:pt>
                <c:pt idx="143">
                  <c:v>60.5</c:v>
                </c:pt>
                <c:pt idx="144">
                  <c:v>60.8</c:v>
                </c:pt>
                <c:pt idx="145">
                  <c:v>60.9</c:v>
                </c:pt>
                <c:pt idx="146">
                  <c:v>61</c:v>
                </c:pt>
                <c:pt idx="147">
                  <c:v>61.1</c:v>
                </c:pt>
                <c:pt idx="148">
                  <c:v>61.2</c:v>
                </c:pt>
                <c:pt idx="149">
                  <c:v>61.3</c:v>
                </c:pt>
                <c:pt idx="150">
                  <c:v>61.4</c:v>
                </c:pt>
                <c:pt idx="151">
                  <c:v>61.5</c:v>
                </c:pt>
                <c:pt idx="152">
                  <c:v>61.7</c:v>
                </c:pt>
                <c:pt idx="153">
                  <c:v>62</c:v>
                </c:pt>
                <c:pt idx="154">
                  <c:v>62.2</c:v>
                </c:pt>
                <c:pt idx="155">
                  <c:v>62.4</c:v>
                </c:pt>
                <c:pt idx="156">
                  <c:v>62.7</c:v>
                </c:pt>
                <c:pt idx="157">
                  <c:v>62.8</c:v>
                </c:pt>
                <c:pt idx="158">
                  <c:v>63.8</c:v>
                </c:pt>
                <c:pt idx="159">
                  <c:v>64.8</c:v>
                </c:pt>
                <c:pt idx="160">
                  <c:v>65.099999999999994</c:v>
                </c:pt>
                <c:pt idx="161">
                  <c:v>65.400000000000006</c:v>
                </c:pt>
                <c:pt idx="162">
                  <c:v>65.7</c:v>
                </c:pt>
                <c:pt idx="163">
                  <c:v>65.8</c:v>
                </c:pt>
                <c:pt idx="164">
                  <c:v>65.900000000000006</c:v>
                </c:pt>
                <c:pt idx="165">
                  <c:v>66</c:v>
                </c:pt>
                <c:pt idx="166">
                  <c:v>66.099999999999994</c:v>
                </c:pt>
                <c:pt idx="167">
                  <c:v>66.2</c:v>
                </c:pt>
                <c:pt idx="168">
                  <c:v>66.3</c:v>
                </c:pt>
                <c:pt idx="169">
                  <c:v>66.400000000000006</c:v>
                </c:pt>
                <c:pt idx="170">
                  <c:v>66.5</c:v>
                </c:pt>
                <c:pt idx="171">
                  <c:v>66.7</c:v>
                </c:pt>
                <c:pt idx="172">
                  <c:v>66.900000000000006</c:v>
                </c:pt>
                <c:pt idx="173">
                  <c:v>67.2</c:v>
                </c:pt>
                <c:pt idx="174">
                  <c:v>67.3</c:v>
                </c:pt>
                <c:pt idx="175">
                  <c:v>68.400000000000006</c:v>
                </c:pt>
                <c:pt idx="176">
                  <c:v>68.599999999999994</c:v>
                </c:pt>
                <c:pt idx="177">
                  <c:v>68.8</c:v>
                </c:pt>
                <c:pt idx="178">
                  <c:v>69.099999999999994</c:v>
                </c:pt>
                <c:pt idx="179">
                  <c:v>69.900000000000006</c:v>
                </c:pt>
                <c:pt idx="180">
                  <c:v>70.400000000000006</c:v>
                </c:pt>
                <c:pt idx="181">
                  <c:v>71.7</c:v>
                </c:pt>
                <c:pt idx="182">
                  <c:v>71.900000000000006</c:v>
                </c:pt>
                <c:pt idx="183">
                  <c:v>73.7</c:v>
                </c:pt>
                <c:pt idx="184">
                  <c:v>73.900000000000006</c:v>
                </c:pt>
                <c:pt idx="185">
                  <c:v>74.099999999999994</c:v>
                </c:pt>
                <c:pt idx="186">
                  <c:v>74.400000000000006</c:v>
                </c:pt>
                <c:pt idx="187">
                  <c:v>75.5</c:v>
                </c:pt>
                <c:pt idx="188">
                  <c:v>76.5</c:v>
                </c:pt>
                <c:pt idx="189">
                  <c:v>78.2</c:v>
                </c:pt>
                <c:pt idx="190">
                  <c:v>78.400000000000006</c:v>
                </c:pt>
                <c:pt idx="191">
                  <c:v>78.599999999999994</c:v>
                </c:pt>
                <c:pt idx="192">
                  <c:v>78.8</c:v>
                </c:pt>
                <c:pt idx="193">
                  <c:v>79.099999999999994</c:v>
                </c:pt>
                <c:pt idx="194">
                  <c:v>79.400000000000006</c:v>
                </c:pt>
                <c:pt idx="195">
                  <c:v>79.7</c:v>
                </c:pt>
                <c:pt idx="196">
                  <c:v>80</c:v>
                </c:pt>
                <c:pt idx="197">
                  <c:v>81</c:v>
                </c:pt>
                <c:pt idx="198">
                  <c:v>81.2</c:v>
                </c:pt>
                <c:pt idx="199">
                  <c:v>81.400000000000006</c:v>
                </c:pt>
                <c:pt idx="200">
                  <c:v>81.599999999999994</c:v>
                </c:pt>
                <c:pt idx="201">
                  <c:v>82.1</c:v>
                </c:pt>
                <c:pt idx="202">
                  <c:v>82.4</c:v>
                </c:pt>
                <c:pt idx="203">
                  <c:v>82.5</c:v>
                </c:pt>
                <c:pt idx="204">
                  <c:v>83</c:v>
                </c:pt>
                <c:pt idx="205">
                  <c:v>83.7</c:v>
                </c:pt>
                <c:pt idx="206">
                  <c:v>84.9</c:v>
                </c:pt>
                <c:pt idx="207">
                  <c:v>85.9</c:v>
                </c:pt>
                <c:pt idx="208">
                  <c:v>86.9</c:v>
                </c:pt>
                <c:pt idx="209">
                  <c:v>87.9</c:v>
                </c:pt>
                <c:pt idx="210">
                  <c:v>88.2</c:v>
                </c:pt>
                <c:pt idx="211">
                  <c:v>88.5</c:v>
                </c:pt>
                <c:pt idx="212">
                  <c:v>88.8</c:v>
                </c:pt>
                <c:pt idx="213">
                  <c:v>89.1</c:v>
                </c:pt>
                <c:pt idx="214">
                  <c:v>89.4</c:v>
                </c:pt>
                <c:pt idx="215">
                  <c:v>89.7</c:v>
                </c:pt>
                <c:pt idx="216">
                  <c:v>89.8</c:v>
                </c:pt>
                <c:pt idx="217">
                  <c:v>89.9</c:v>
                </c:pt>
                <c:pt idx="218">
                  <c:v>90</c:v>
                </c:pt>
                <c:pt idx="219">
                  <c:v>90.1</c:v>
                </c:pt>
                <c:pt idx="220">
                  <c:v>90.2</c:v>
                </c:pt>
                <c:pt idx="221">
                  <c:v>90.3</c:v>
                </c:pt>
                <c:pt idx="222">
                  <c:v>92</c:v>
                </c:pt>
                <c:pt idx="223">
                  <c:v>92.2</c:v>
                </c:pt>
                <c:pt idx="224">
                  <c:v>92.4</c:v>
                </c:pt>
                <c:pt idx="225">
                  <c:v>92.6</c:v>
                </c:pt>
                <c:pt idx="226">
                  <c:v>92.9</c:v>
                </c:pt>
                <c:pt idx="227">
                  <c:v>93.9</c:v>
                </c:pt>
                <c:pt idx="228">
                  <c:v>94.9</c:v>
                </c:pt>
                <c:pt idx="229">
                  <c:v>95.9</c:v>
                </c:pt>
                <c:pt idx="230">
                  <c:v>96.2</c:v>
                </c:pt>
                <c:pt idx="231">
                  <c:v>96.5</c:v>
                </c:pt>
                <c:pt idx="232">
                  <c:v>96.8</c:v>
                </c:pt>
                <c:pt idx="233">
                  <c:v>97.1</c:v>
                </c:pt>
                <c:pt idx="234">
                  <c:v>97.4</c:v>
                </c:pt>
                <c:pt idx="235">
                  <c:v>97.7</c:v>
                </c:pt>
                <c:pt idx="236">
                  <c:v>97.8</c:v>
                </c:pt>
                <c:pt idx="237">
                  <c:v>97.9</c:v>
                </c:pt>
                <c:pt idx="238">
                  <c:v>98</c:v>
                </c:pt>
                <c:pt idx="239">
                  <c:v>98.1</c:v>
                </c:pt>
                <c:pt idx="240">
                  <c:v>98.2</c:v>
                </c:pt>
                <c:pt idx="241">
                  <c:v>98.3</c:v>
                </c:pt>
                <c:pt idx="242">
                  <c:v>98.5</c:v>
                </c:pt>
                <c:pt idx="243">
                  <c:v>98.8</c:v>
                </c:pt>
                <c:pt idx="244">
                  <c:v>99</c:v>
                </c:pt>
                <c:pt idx="245">
                  <c:v>99.2</c:v>
                </c:pt>
                <c:pt idx="246">
                  <c:v>99.5</c:v>
                </c:pt>
                <c:pt idx="247">
                  <c:v>99.6</c:v>
                </c:pt>
                <c:pt idx="248">
                  <c:v>100.6</c:v>
                </c:pt>
                <c:pt idx="249">
                  <c:v>101.6</c:v>
                </c:pt>
                <c:pt idx="250">
                  <c:v>101.9</c:v>
                </c:pt>
                <c:pt idx="251">
                  <c:v>102.2</c:v>
                </c:pt>
                <c:pt idx="252">
                  <c:v>102.3</c:v>
                </c:pt>
                <c:pt idx="253">
                  <c:v>102.4</c:v>
                </c:pt>
                <c:pt idx="254">
                  <c:v>102.5</c:v>
                </c:pt>
                <c:pt idx="255">
                  <c:v>102.6</c:v>
                </c:pt>
                <c:pt idx="256">
                  <c:v>102.7</c:v>
                </c:pt>
                <c:pt idx="257">
                  <c:v>102.8</c:v>
                </c:pt>
                <c:pt idx="258">
                  <c:v>102.9</c:v>
                </c:pt>
                <c:pt idx="259">
                  <c:v>103.1</c:v>
                </c:pt>
                <c:pt idx="260">
                  <c:v>103.3</c:v>
                </c:pt>
                <c:pt idx="261">
                  <c:v>103.6</c:v>
                </c:pt>
                <c:pt idx="262">
                  <c:v>103.7</c:v>
                </c:pt>
                <c:pt idx="263">
                  <c:v>104.8</c:v>
                </c:pt>
                <c:pt idx="264">
                  <c:v>105</c:v>
                </c:pt>
                <c:pt idx="265">
                  <c:v>105.2</c:v>
                </c:pt>
                <c:pt idx="266">
                  <c:v>105.5</c:v>
                </c:pt>
                <c:pt idx="267">
                  <c:v>106.5</c:v>
                </c:pt>
                <c:pt idx="268">
                  <c:v>107.5</c:v>
                </c:pt>
                <c:pt idx="269">
                  <c:v>107.7</c:v>
                </c:pt>
                <c:pt idx="270">
                  <c:v>107.9</c:v>
                </c:pt>
                <c:pt idx="271">
                  <c:v>108.1</c:v>
                </c:pt>
                <c:pt idx="272">
                  <c:v>108.4</c:v>
                </c:pt>
                <c:pt idx="273">
                  <c:v>109.5</c:v>
                </c:pt>
                <c:pt idx="274">
                  <c:v>110.5</c:v>
                </c:pt>
                <c:pt idx="275">
                  <c:v>110.7</c:v>
                </c:pt>
                <c:pt idx="276">
                  <c:v>111</c:v>
                </c:pt>
                <c:pt idx="277">
                  <c:v>111.3</c:v>
                </c:pt>
                <c:pt idx="278">
                  <c:v>111.6</c:v>
                </c:pt>
                <c:pt idx="279">
                  <c:v>111.9</c:v>
                </c:pt>
                <c:pt idx="280">
                  <c:v>113.6</c:v>
                </c:pt>
                <c:pt idx="281">
                  <c:v>114.1</c:v>
                </c:pt>
                <c:pt idx="282">
                  <c:v>114.6</c:v>
                </c:pt>
                <c:pt idx="283">
                  <c:v>115.9</c:v>
                </c:pt>
                <c:pt idx="284">
                  <c:v>116.1</c:v>
                </c:pt>
                <c:pt idx="285">
                  <c:v>116.3</c:v>
                </c:pt>
                <c:pt idx="286">
                  <c:v>116.5</c:v>
                </c:pt>
                <c:pt idx="287">
                  <c:v>116.8</c:v>
                </c:pt>
                <c:pt idx="288">
                  <c:v>117.3</c:v>
                </c:pt>
                <c:pt idx="289">
                  <c:v>118.3</c:v>
                </c:pt>
                <c:pt idx="290">
                  <c:v>119.3</c:v>
                </c:pt>
                <c:pt idx="291">
                  <c:v>120.3</c:v>
                </c:pt>
                <c:pt idx="292">
                  <c:v>120.6</c:v>
                </c:pt>
                <c:pt idx="293">
                  <c:v>120.9</c:v>
                </c:pt>
                <c:pt idx="294">
                  <c:v>121.2</c:v>
                </c:pt>
                <c:pt idx="295">
                  <c:v>121.5</c:v>
                </c:pt>
                <c:pt idx="296">
                  <c:v>121.8</c:v>
                </c:pt>
                <c:pt idx="297">
                  <c:v>122.1</c:v>
                </c:pt>
                <c:pt idx="298">
                  <c:v>122.2</c:v>
                </c:pt>
                <c:pt idx="299">
                  <c:v>122.3</c:v>
                </c:pt>
                <c:pt idx="300">
                  <c:v>122.4</c:v>
                </c:pt>
                <c:pt idx="301">
                  <c:v>122.5</c:v>
                </c:pt>
                <c:pt idx="302">
                  <c:v>122.6</c:v>
                </c:pt>
                <c:pt idx="303">
                  <c:v>122.7</c:v>
                </c:pt>
                <c:pt idx="304">
                  <c:v>122.9</c:v>
                </c:pt>
                <c:pt idx="305">
                  <c:v>123.2</c:v>
                </c:pt>
                <c:pt idx="306">
                  <c:v>123.4</c:v>
                </c:pt>
                <c:pt idx="307">
                  <c:v>123.6</c:v>
                </c:pt>
                <c:pt idx="308">
                  <c:v>123.9</c:v>
                </c:pt>
                <c:pt idx="309">
                  <c:v>124.9</c:v>
                </c:pt>
                <c:pt idx="310">
                  <c:v>125.9</c:v>
                </c:pt>
                <c:pt idx="311">
                  <c:v>126.2</c:v>
                </c:pt>
                <c:pt idx="312">
                  <c:v>126.5</c:v>
                </c:pt>
                <c:pt idx="313">
                  <c:v>126.8</c:v>
                </c:pt>
                <c:pt idx="314">
                  <c:v>127.1</c:v>
                </c:pt>
                <c:pt idx="315">
                  <c:v>127.4</c:v>
                </c:pt>
                <c:pt idx="316">
                  <c:v>127.7</c:v>
                </c:pt>
                <c:pt idx="317">
                  <c:v>127.8</c:v>
                </c:pt>
                <c:pt idx="318">
                  <c:v>127.9</c:v>
                </c:pt>
                <c:pt idx="319">
                  <c:v>128</c:v>
                </c:pt>
                <c:pt idx="320">
                  <c:v>128.1</c:v>
                </c:pt>
                <c:pt idx="321">
                  <c:v>128.19999999999999</c:v>
                </c:pt>
                <c:pt idx="322">
                  <c:v>128.30000000000001</c:v>
                </c:pt>
                <c:pt idx="323">
                  <c:v>128.5</c:v>
                </c:pt>
                <c:pt idx="324">
                  <c:v>128.80000000000001</c:v>
                </c:pt>
                <c:pt idx="325">
                  <c:v>129</c:v>
                </c:pt>
                <c:pt idx="326">
                  <c:v>129.19999999999999</c:v>
                </c:pt>
                <c:pt idx="327">
                  <c:v>129.5</c:v>
                </c:pt>
                <c:pt idx="328">
                  <c:v>129.6</c:v>
                </c:pt>
                <c:pt idx="329">
                  <c:v>130.6</c:v>
                </c:pt>
                <c:pt idx="330">
                  <c:v>131.6</c:v>
                </c:pt>
                <c:pt idx="331">
                  <c:v>131.9</c:v>
                </c:pt>
                <c:pt idx="332">
                  <c:v>132.19999999999999</c:v>
                </c:pt>
                <c:pt idx="333">
                  <c:v>132.30000000000001</c:v>
                </c:pt>
                <c:pt idx="334">
                  <c:v>132.4</c:v>
                </c:pt>
                <c:pt idx="335">
                  <c:v>132.5</c:v>
                </c:pt>
                <c:pt idx="336">
                  <c:v>132.6</c:v>
                </c:pt>
                <c:pt idx="337">
                  <c:v>132.69999999999999</c:v>
                </c:pt>
                <c:pt idx="338">
                  <c:v>132.80000000000001</c:v>
                </c:pt>
                <c:pt idx="339">
                  <c:v>132.9</c:v>
                </c:pt>
                <c:pt idx="340">
                  <c:v>133.1</c:v>
                </c:pt>
                <c:pt idx="341">
                  <c:v>133.30000000000001</c:v>
                </c:pt>
                <c:pt idx="342">
                  <c:v>133.6</c:v>
                </c:pt>
                <c:pt idx="343">
                  <c:v>133.69999999999999</c:v>
                </c:pt>
                <c:pt idx="344">
                  <c:v>133.9</c:v>
                </c:pt>
                <c:pt idx="345">
                  <c:v>134.1</c:v>
                </c:pt>
                <c:pt idx="346">
                  <c:v>134.4</c:v>
                </c:pt>
                <c:pt idx="347">
                  <c:v>134.6</c:v>
                </c:pt>
                <c:pt idx="348">
                  <c:v>134.80000000000001</c:v>
                </c:pt>
                <c:pt idx="349">
                  <c:v>135</c:v>
                </c:pt>
                <c:pt idx="350">
                  <c:v>135.30000000000001</c:v>
                </c:pt>
                <c:pt idx="351">
                  <c:v>135.5</c:v>
                </c:pt>
                <c:pt idx="352">
                  <c:v>135.69999999999999</c:v>
                </c:pt>
                <c:pt idx="353">
                  <c:v>135.9</c:v>
                </c:pt>
              </c:numCache>
            </c:numRef>
          </c:cat>
          <c:val>
            <c:numRef>
              <c:f>'[PLAN TV ABIERTA + CABLE1]CURVA'!$B$2:$B$355</c:f>
              <c:numCache>
                <c:formatCode>#,##0.0</c:formatCode>
                <c:ptCount val="354"/>
                <c:pt idx="0">
                  <c:v>0.2</c:v>
                </c:pt>
                <c:pt idx="1">
                  <c:v>0.4</c:v>
                </c:pt>
                <c:pt idx="2">
                  <c:v>0.7</c:v>
                </c:pt>
                <c:pt idx="3">
                  <c:v>1.5</c:v>
                </c:pt>
                <c:pt idx="4">
                  <c:v>1.7</c:v>
                </c:pt>
                <c:pt idx="5">
                  <c:v>1.8</c:v>
                </c:pt>
                <c:pt idx="6">
                  <c:v>2</c:v>
                </c:pt>
                <c:pt idx="7">
                  <c:v>2.2999999999999998</c:v>
                </c:pt>
                <c:pt idx="8">
                  <c:v>3.2</c:v>
                </c:pt>
                <c:pt idx="9">
                  <c:v>4.2</c:v>
                </c:pt>
                <c:pt idx="10">
                  <c:v>4.5999999999999996</c:v>
                </c:pt>
                <c:pt idx="11">
                  <c:v>5.6</c:v>
                </c:pt>
                <c:pt idx="12">
                  <c:v>5.7</c:v>
                </c:pt>
                <c:pt idx="13">
                  <c:v>6.4</c:v>
                </c:pt>
                <c:pt idx="14">
                  <c:v>6.5</c:v>
                </c:pt>
                <c:pt idx="15">
                  <c:v>6.7</c:v>
                </c:pt>
                <c:pt idx="16">
                  <c:v>6.9</c:v>
                </c:pt>
                <c:pt idx="17">
                  <c:v>7.1</c:v>
                </c:pt>
                <c:pt idx="18">
                  <c:v>7.4</c:v>
                </c:pt>
                <c:pt idx="19">
                  <c:v>7.6</c:v>
                </c:pt>
                <c:pt idx="20">
                  <c:v>7.7</c:v>
                </c:pt>
                <c:pt idx="21">
                  <c:v>8.9</c:v>
                </c:pt>
                <c:pt idx="22">
                  <c:v>9</c:v>
                </c:pt>
                <c:pt idx="23">
                  <c:v>9.1</c:v>
                </c:pt>
                <c:pt idx="24">
                  <c:v>9.4</c:v>
                </c:pt>
                <c:pt idx="25">
                  <c:v>9.6</c:v>
                </c:pt>
                <c:pt idx="26">
                  <c:v>9.6999999999999993</c:v>
                </c:pt>
                <c:pt idx="27">
                  <c:v>9.9</c:v>
                </c:pt>
                <c:pt idx="28">
                  <c:v>10.5</c:v>
                </c:pt>
                <c:pt idx="29">
                  <c:v>11.3</c:v>
                </c:pt>
                <c:pt idx="30">
                  <c:v>11.8</c:v>
                </c:pt>
                <c:pt idx="31">
                  <c:v>12.1</c:v>
                </c:pt>
                <c:pt idx="32">
                  <c:v>12.3</c:v>
                </c:pt>
                <c:pt idx="33">
                  <c:v>12.5</c:v>
                </c:pt>
                <c:pt idx="34">
                  <c:v>12.6</c:v>
                </c:pt>
                <c:pt idx="35">
                  <c:v>12.8</c:v>
                </c:pt>
                <c:pt idx="36">
                  <c:v>13</c:v>
                </c:pt>
                <c:pt idx="37">
                  <c:v>13.1</c:v>
                </c:pt>
                <c:pt idx="38">
                  <c:v>13.2</c:v>
                </c:pt>
                <c:pt idx="39">
                  <c:v>13.3</c:v>
                </c:pt>
                <c:pt idx="40">
                  <c:v>13.3</c:v>
                </c:pt>
                <c:pt idx="41">
                  <c:v>13.4</c:v>
                </c:pt>
                <c:pt idx="42">
                  <c:v>13.5</c:v>
                </c:pt>
                <c:pt idx="43">
                  <c:v>13.6</c:v>
                </c:pt>
                <c:pt idx="44">
                  <c:v>13.6</c:v>
                </c:pt>
                <c:pt idx="45">
                  <c:v>13.7</c:v>
                </c:pt>
                <c:pt idx="46">
                  <c:v>13.8</c:v>
                </c:pt>
                <c:pt idx="47">
                  <c:v>14</c:v>
                </c:pt>
                <c:pt idx="48">
                  <c:v>14.2</c:v>
                </c:pt>
                <c:pt idx="49">
                  <c:v>14.4</c:v>
                </c:pt>
                <c:pt idx="50">
                  <c:v>14.6</c:v>
                </c:pt>
                <c:pt idx="51">
                  <c:v>14.7</c:v>
                </c:pt>
                <c:pt idx="52">
                  <c:v>14.8</c:v>
                </c:pt>
                <c:pt idx="53">
                  <c:v>14.9</c:v>
                </c:pt>
                <c:pt idx="54">
                  <c:v>15.1</c:v>
                </c:pt>
                <c:pt idx="55">
                  <c:v>15.2</c:v>
                </c:pt>
                <c:pt idx="56">
                  <c:v>15.3</c:v>
                </c:pt>
                <c:pt idx="57">
                  <c:v>15.4</c:v>
                </c:pt>
                <c:pt idx="58">
                  <c:v>15.4</c:v>
                </c:pt>
                <c:pt idx="59">
                  <c:v>15.5</c:v>
                </c:pt>
                <c:pt idx="60">
                  <c:v>15.5</c:v>
                </c:pt>
                <c:pt idx="61">
                  <c:v>15.6</c:v>
                </c:pt>
                <c:pt idx="62">
                  <c:v>15.6</c:v>
                </c:pt>
                <c:pt idx="63">
                  <c:v>15.7</c:v>
                </c:pt>
                <c:pt idx="64">
                  <c:v>15.8</c:v>
                </c:pt>
                <c:pt idx="65">
                  <c:v>15.9</c:v>
                </c:pt>
                <c:pt idx="66">
                  <c:v>15.9</c:v>
                </c:pt>
                <c:pt idx="67">
                  <c:v>16</c:v>
                </c:pt>
                <c:pt idx="68">
                  <c:v>16.100000000000001</c:v>
                </c:pt>
                <c:pt idx="69">
                  <c:v>16.2</c:v>
                </c:pt>
                <c:pt idx="70">
                  <c:v>16.399999999999999</c:v>
                </c:pt>
                <c:pt idx="71">
                  <c:v>16.5</c:v>
                </c:pt>
                <c:pt idx="72">
                  <c:v>16.600000000000001</c:v>
                </c:pt>
                <c:pt idx="73">
                  <c:v>16.600000000000001</c:v>
                </c:pt>
                <c:pt idx="74">
                  <c:v>16.7</c:v>
                </c:pt>
                <c:pt idx="75">
                  <c:v>16.7</c:v>
                </c:pt>
                <c:pt idx="76">
                  <c:v>16.8</c:v>
                </c:pt>
                <c:pt idx="77">
                  <c:v>16.8</c:v>
                </c:pt>
                <c:pt idx="78">
                  <c:v>16.899999999999999</c:v>
                </c:pt>
                <c:pt idx="79">
                  <c:v>16.899999999999999</c:v>
                </c:pt>
                <c:pt idx="80">
                  <c:v>16.899999999999999</c:v>
                </c:pt>
                <c:pt idx="81">
                  <c:v>16.899999999999999</c:v>
                </c:pt>
                <c:pt idx="82">
                  <c:v>17.100000000000001</c:v>
                </c:pt>
                <c:pt idx="83">
                  <c:v>17.100000000000001</c:v>
                </c:pt>
                <c:pt idx="84">
                  <c:v>17.399999999999999</c:v>
                </c:pt>
                <c:pt idx="85">
                  <c:v>17.5</c:v>
                </c:pt>
                <c:pt idx="86">
                  <c:v>17.5</c:v>
                </c:pt>
                <c:pt idx="87">
                  <c:v>17.600000000000001</c:v>
                </c:pt>
                <c:pt idx="88">
                  <c:v>18</c:v>
                </c:pt>
                <c:pt idx="89">
                  <c:v>18.399999999999999</c:v>
                </c:pt>
                <c:pt idx="90">
                  <c:v>18.600000000000001</c:v>
                </c:pt>
                <c:pt idx="91">
                  <c:v>19</c:v>
                </c:pt>
                <c:pt idx="92">
                  <c:v>19.2</c:v>
                </c:pt>
                <c:pt idx="93">
                  <c:v>19.7</c:v>
                </c:pt>
                <c:pt idx="94">
                  <c:v>19.8</c:v>
                </c:pt>
                <c:pt idx="95">
                  <c:v>19.899999999999999</c:v>
                </c:pt>
                <c:pt idx="96">
                  <c:v>19.899999999999999</c:v>
                </c:pt>
                <c:pt idx="97">
                  <c:v>20</c:v>
                </c:pt>
                <c:pt idx="98">
                  <c:v>20.100000000000001</c:v>
                </c:pt>
                <c:pt idx="99">
                  <c:v>20.100000000000001</c:v>
                </c:pt>
                <c:pt idx="100">
                  <c:v>20.2</c:v>
                </c:pt>
                <c:pt idx="101">
                  <c:v>20.3</c:v>
                </c:pt>
                <c:pt idx="102">
                  <c:v>20.5</c:v>
                </c:pt>
                <c:pt idx="103">
                  <c:v>20.6</c:v>
                </c:pt>
                <c:pt idx="104">
                  <c:v>20.6</c:v>
                </c:pt>
                <c:pt idx="105">
                  <c:v>20.7</c:v>
                </c:pt>
                <c:pt idx="106">
                  <c:v>20.9</c:v>
                </c:pt>
                <c:pt idx="107">
                  <c:v>21.1</c:v>
                </c:pt>
                <c:pt idx="108">
                  <c:v>21.5</c:v>
                </c:pt>
                <c:pt idx="109">
                  <c:v>21.5</c:v>
                </c:pt>
                <c:pt idx="110">
                  <c:v>22.1</c:v>
                </c:pt>
                <c:pt idx="111">
                  <c:v>22.2</c:v>
                </c:pt>
                <c:pt idx="112">
                  <c:v>22.2</c:v>
                </c:pt>
                <c:pt idx="113">
                  <c:v>22.3</c:v>
                </c:pt>
                <c:pt idx="114">
                  <c:v>22.4</c:v>
                </c:pt>
                <c:pt idx="115">
                  <c:v>22.6</c:v>
                </c:pt>
                <c:pt idx="116">
                  <c:v>22.7</c:v>
                </c:pt>
                <c:pt idx="117">
                  <c:v>22.8</c:v>
                </c:pt>
                <c:pt idx="118">
                  <c:v>22.8</c:v>
                </c:pt>
                <c:pt idx="119">
                  <c:v>22.9</c:v>
                </c:pt>
                <c:pt idx="120">
                  <c:v>23</c:v>
                </c:pt>
                <c:pt idx="121">
                  <c:v>23.1</c:v>
                </c:pt>
                <c:pt idx="122">
                  <c:v>23.1</c:v>
                </c:pt>
                <c:pt idx="123">
                  <c:v>23.2</c:v>
                </c:pt>
                <c:pt idx="124">
                  <c:v>23.3</c:v>
                </c:pt>
                <c:pt idx="125">
                  <c:v>23.3</c:v>
                </c:pt>
                <c:pt idx="126">
                  <c:v>23.4</c:v>
                </c:pt>
                <c:pt idx="127">
                  <c:v>23.4</c:v>
                </c:pt>
                <c:pt idx="128">
                  <c:v>23.4</c:v>
                </c:pt>
                <c:pt idx="129">
                  <c:v>23.5</c:v>
                </c:pt>
                <c:pt idx="130">
                  <c:v>23.5</c:v>
                </c:pt>
                <c:pt idx="131">
                  <c:v>23.6</c:v>
                </c:pt>
                <c:pt idx="132">
                  <c:v>23.6</c:v>
                </c:pt>
                <c:pt idx="133">
                  <c:v>23.6</c:v>
                </c:pt>
                <c:pt idx="134">
                  <c:v>23.7</c:v>
                </c:pt>
                <c:pt idx="135">
                  <c:v>23.8</c:v>
                </c:pt>
                <c:pt idx="136">
                  <c:v>23.9</c:v>
                </c:pt>
                <c:pt idx="137">
                  <c:v>23.9</c:v>
                </c:pt>
                <c:pt idx="138">
                  <c:v>24</c:v>
                </c:pt>
                <c:pt idx="139">
                  <c:v>24.1</c:v>
                </c:pt>
                <c:pt idx="140">
                  <c:v>24.1</c:v>
                </c:pt>
                <c:pt idx="141">
                  <c:v>24.2</c:v>
                </c:pt>
                <c:pt idx="142">
                  <c:v>24.2</c:v>
                </c:pt>
                <c:pt idx="143">
                  <c:v>24.3</c:v>
                </c:pt>
                <c:pt idx="144">
                  <c:v>24.3</c:v>
                </c:pt>
                <c:pt idx="145">
                  <c:v>24.4</c:v>
                </c:pt>
                <c:pt idx="146">
                  <c:v>24.4</c:v>
                </c:pt>
                <c:pt idx="147">
                  <c:v>24.4</c:v>
                </c:pt>
                <c:pt idx="148">
                  <c:v>24.5</c:v>
                </c:pt>
                <c:pt idx="149">
                  <c:v>24.5</c:v>
                </c:pt>
                <c:pt idx="150">
                  <c:v>24.5</c:v>
                </c:pt>
                <c:pt idx="151">
                  <c:v>24.6</c:v>
                </c:pt>
                <c:pt idx="152">
                  <c:v>24.6</c:v>
                </c:pt>
                <c:pt idx="153">
                  <c:v>24.7</c:v>
                </c:pt>
                <c:pt idx="154">
                  <c:v>24.7</c:v>
                </c:pt>
                <c:pt idx="155">
                  <c:v>24.7</c:v>
                </c:pt>
                <c:pt idx="156">
                  <c:v>24.8</c:v>
                </c:pt>
                <c:pt idx="157">
                  <c:v>24.8</c:v>
                </c:pt>
                <c:pt idx="158">
                  <c:v>24.9</c:v>
                </c:pt>
                <c:pt idx="159">
                  <c:v>24.9</c:v>
                </c:pt>
                <c:pt idx="160">
                  <c:v>25</c:v>
                </c:pt>
                <c:pt idx="161">
                  <c:v>25</c:v>
                </c:pt>
                <c:pt idx="162">
                  <c:v>25.1</c:v>
                </c:pt>
                <c:pt idx="163">
                  <c:v>25.1</c:v>
                </c:pt>
                <c:pt idx="164">
                  <c:v>25.1</c:v>
                </c:pt>
                <c:pt idx="165">
                  <c:v>25.2</c:v>
                </c:pt>
                <c:pt idx="166">
                  <c:v>25.2</c:v>
                </c:pt>
                <c:pt idx="167">
                  <c:v>25.2</c:v>
                </c:pt>
                <c:pt idx="168">
                  <c:v>25.2</c:v>
                </c:pt>
                <c:pt idx="169">
                  <c:v>25.3</c:v>
                </c:pt>
                <c:pt idx="170">
                  <c:v>25.3</c:v>
                </c:pt>
                <c:pt idx="171">
                  <c:v>25.3</c:v>
                </c:pt>
                <c:pt idx="172">
                  <c:v>25.3</c:v>
                </c:pt>
                <c:pt idx="173">
                  <c:v>25.4</c:v>
                </c:pt>
                <c:pt idx="174">
                  <c:v>25.4</c:v>
                </c:pt>
                <c:pt idx="175">
                  <c:v>25.5</c:v>
                </c:pt>
                <c:pt idx="176">
                  <c:v>25.6</c:v>
                </c:pt>
                <c:pt idx="177">
                  <c:v>25.6</c:v>
                </c:pt>
                <c:pt idx="178">
                  <c:v>25.7</c:v>
                </c:pt>
                <c:pt idx="179">
                  <c:v>25.9</c:v>
                </c:pt>
                <c:pt idx="180">
                  <c:v>26</c:v>
                </c:pt>
                <c:pt idx="181">
                  <c:v>26.2</c:v>
                </c:pt>
                <c:pt idx="182">
                  <c:v>26.3</c:v>
                </c:pt>
                <c:pt idx="183">
                  <c:v>26.7</c:v>
                </c:pt>
                <c:pt idx="184">
                  <c:v>26.8</c:v>
                </c:pt>
                <c:pt idx="185">
                  <c:v>26.8</c:v>
                </c:pt>
                <c:pt idx="186">
                  <c:v>26.9</c:v>
                </c:pt>
                <c:pt idx="187">
                  <c:v>27.1</c:v>
                </c:pt>
                <c:pt idx="188">
                  <c:v>27.3</c:v>
                </c:pt>
                <c:pt idx="189">
                  <c:v>27.7</c:v>
                </c:pt>
                <c:pt idx="190">
                  <c:v>27.8</c:v>
                </c:pt>
                <c:pt idx="191">
                  <c:v>27.8</c:v>
                </c:pt>
                <c:pt idx="192">
                  <c:v>27.8</c:v>
                </c:pt>
                <c:pt idx="193">
                  <c:v>27.9</c:v>
                </c:pt>
                <c:pt idx="194">
                  <c:v>27.9</c:v>
                </c:pt>
                <c:pt idx="195">
                  <c:v>28</c:v>
                </c:pt>
                <c:pt idx="196">
                  <c:v>28</c:v>
                </c:pt>
                <c:pt idx="197">
                  <c:v>28.1</c:v>
                </c:pt>
                <c:pt idx="198">
                  <c:v>28.1</c:v>
                </c:pt>
                <c:pt idx="199">
                  <c:v>28.2</c:v>
                </c:pt>
                <c:pt idx="200">
                  <c:v>28.2</c:v>
                </c:pt>
                <c:pt idx="201">
                  <c:v>28.3</c:v>
                </c:pt>
                <c:pt idx="202">
                  <c:v>28.3</c:v>
                </c:pt>
                <c:pt idx="203">
                  <c:v>28.4</c:v>
                </c:pt>
                <c:pt idx="204">
                  <c:v>28.5</c:v>
                </c:pt>
                <c:pt idx="205">
                  <c:v>28.5</c:v>
                </c:pt>
                <c:pt idx="206">
                  <c:v>28.7</c:v>
                </c:pt>
                <c:pt idx="207">
                  <c:v>28.7</c:v>
                </c:pt>
                <c:pt idx="208">
                  <c:v>28.8</c:v>
                </c:pt>
                <c:pt idx="209">
                  <c:v>28.8</c:v>
                </c:pt>
                <c:pt idx="210">
                  <c:v>28.9</c:v>
                </c:pt>
                <c:pt idx="211">
                  <c:v>28.9</c:v>
                </c:pt>
                <c:pt idx="212">
                  <c:v>28.9</c:v>
                </c:pt>
                <c:pt idx="213">
                  <c:v>29</c:v>
                </c:pt>
                <c:pt idx="214">
                  <c:v>29</c:v>
                </c:pt>
                <c:pt idx="215">
                  <c:v>29</c:v>
                </c:pt>
                <c:pt idx="216">
                  <c:v>29.1</c:v>
                </c:pt>
                <c:pt idx="217">
                  <c:v>29.1</c:v>
                </c:pt>
                <c:pt idx="218">
                  <c:v>29.1</c:v>
                </c:pt>
                <c:pt idx="219">
                  <c:v>29.1</c:v>
                </c:pt>
                <c:pt idx="220">
                  <c:v>29.1</c:v>
                </c:pt>
                <c:pt idx="221">
                  <c:v>29.2</c:v>
                </c:pt>
                <c:pt idx="222">
                  <c:v>29.5</c:v>
                </c:pt>
                <c:pt idx="223">
                  <c:v>29.5</c:v>
                </c:pt>
                <c:pt idx="224">
                  <c:v>29.6</c:v>
                </c:pt>
                <c:pt idx="225">
                  <c:v>29.6</c:v>
                </c:pt>
                <c:pt idx="226">
                  <c:v>29.7</c:v>
                </c:pt>
                <c:pt idx="227">
                  <c:v>29.7</c:v>
                </c:pt>
                <c:pt idx="228">
                  <c:v>29.8</c:v>
                </c:pt>
                <c:pt idx="229">
                  <c:v>29.8</c:v>
                </c:pt>
                <c:pt idx="230">
                  <c:v>29.8</c:v>
                </c:pt>
                <c:pt idx="231">
                  <c:v>29.9</c:v>
                </c:pt>
                <c:pt idx="232">
                  <c:v>29.9</c:v>
                </c:pt>
                <c:pt idx="233">
                  <c:v>29.9</c:v>
                </c:pt>
                <c:pt idx="234">
                  <c:v>30</c:v>
                </c:pt>
                <c:pt idx="235">
                  <c:v>30</c:v>
                </c:pt>
                <c:pt idx="236">
                  <c:v>30</c:v>
                </c:pt>
                <c:pt idx="237">
                  <c:v>30</c:v>
                </c:pt>
                <c:pt idx="238">
                  <c:v>30</c:v>
                </c:pt>
                <c:pt idx="239">
                  <c:v>30.1</c:v>
                </c:pt>
                <c:pt idx="240">
                  <c:v>30.1</c:v>
                </c:pt>
                <c:pt idx="241">
                  <c:v>30.1</c:v>
                </c:pt>
                <c:pt idx="242">
                  <c:v>30.1</c:v>
                </c:pt>
                <c:pt idx="243">
                  <c:v>30.2</c:v>
                </c:pt>
                <c:pt idx="244">
                  <c:v>30.2</c:v>
                </c:pt>
                <c:pt idx="245">
                  <c:v>30.2</c:v>
                </c:pt>
                <c:pt idx="246">
                  <c:v>30.2</c:v>
                </c:pt>
                <c:pt idx="247">
                  <c:v>30.3</c:v>
                </c:pt>
                <c:pt idx="248">
                  <c:v>30.3</c:v>
                </c:pt>
                <c:pt idx="249">
                  <c:v>30.3</c:v>
                </c:pt>
                <c:pt idx="250">
                  <c:v>30.4</c:v>
                </c:pt>
                <c:pt idx="251">
                  <c:v>30.4</c:v>
                </c:pt>
                <c:pt idx="252">
                  <c:v>30.4</c:v>
                </c:pt>
                <c:pt idx="253">
                  <c:v>30.4</c:v>
                </c:pt>
                <c:pt idx="254">
                  <c:v>30.5</c:v>
                </c:pt>
                <c:pt idx="255">
                  <c:v>30.5</c:v>
                </c:pt>
                <c:pt idx="256">
                  <c:v>30.5</c:v>
                </c:pt>
                <c:pt idx="257">
                  <c:v>30.5</c:v>
                </c:pt>
                <c:pt idx="258">
                  <c:v>30.5</c:v>
                </c:pt>
                <c:pt idx="259">
                  <c:v>30.5</c:v>
                </c:pt>
                <c:pt idx="260">
                  <c:v>30.5</c:v>
                </c:pt>
                <c:pt idx="261">
                  <c:v>30.6</c:v>
                </c:pt>
                <c:pt idx="262">
                  <c:v>30.6</c:v>
                </c:pt>
                <c:pt idx="263">
                  <c:v>30.7</c:v>
                </c:pt>
                <c:pt idx="264">
                  <c:v>30.7</c:v>
                </c:pt>
                <c:pt idx="265">
                  <c:v>30.7</c:v>
                </c:pt>
                <c:pt idx="266">
                  <c:v>30.8</c:v>
                </c:pt>
                <c:pt idx="267">
                  <c:v>31</c:v>
                </c:pt>
                <c:pt idx="268">
                  <c:v>31.1</c:v>
                </c:pt>
                <c:pt idx="269">
                  <c:v>31.2</c:v>
                </c:pt>
                <c:pt idx="270">
                  <c:v>31.2</c:v>
                </c:pt>
                <c:pt idx="271">
                  <c:v>31.2</c:v>
                </c:pt>
                <c:pt idx="272">
                  <c:v>31.3</c:v>
                </c:pt>
                <c:pt idx="273">
                  <c:v>31.4</c:v>
                </c:pt>
                <c:pt idx="274">
                  <c:v>31.4</c:v>
                </c:pt>
                <c:pt idx="275">
                  <c:v>31.5</c:v>
                </c:pt>
                <c:pt idx="276">
                  <c:v>31.5</c:v>
                </c:pt>
                <c:pt idx="277">
                  <c:v>31.5</c:v>
                </c:pt>
                <c:pt idx="278">
                  <c:v>31.6</c:v>
                </c:pt>
                <c:pt idx="279">
                  <c:v>31.6</c:v>
                </c:pt>
                <c:pt idx="280">
                  <c:v>31.9</c:v>
                </c:pt>
                <c:pt idx="281">
                  <c:v>31.9</c:v>
                </c:pt>
                <c:pt idx="282">
                  <c:v>32</c:v>
                </c:pt>
                <c:pt idx="283">
                  <c:v>32.200000000000003</c:v>
                </c:pt>
                <c:pt idx="284">
                  <c:v>32.200000000000003</c:v>
                </c:pt>
                <c:pt idx="285">
                  <c:v>32.200000000000003</c:v>
                </c:pt>
                <c:pt idx="286">
                  <c:v>32.200000000000003</c:v>
                </c:pt>
                <c:pt idx="287">
                  <c:v>32.299999999999997</c:v>
                </c:pt>
                <c:pt idx="288">
                  <c:v>32.299999999999997</c:v>
                </c:pt>
                <c:pt idx="289">
                  <c:v>32.4</c:v>
                </c:pt>
                <c:pt idx="290">
                  <c:v>32.4</c:v>
                </c:pt>
                <c:pt idx="291">
                  <c:v>32.4</c:v>
                </c:pt>
                <c:pt idx="292">
                  <c:v>32.5</c:v>
                </c:pt>
                <c:pt idx="293">
                  <c:v>32.5</c:v>
                </c:pt>
                <c:pt idx="294">
                  <c:v>32.5</c:v>
                </c:pt>
                <c:pt idx="295">
                  <c:v>32.5</c:v>
                </c:pt>
                <c:pt idx="296">
                  <c:v>32.5</c:v>
                </c:pt>
                <c:pt idx="297">
                  <c:v>32.6</c:v>
                </c:pt>
                <c:pt idx="298">
                  <c:v>32.6</c:v>
                </c:pt>
                <c:pt idx="299">
                  <c:v>32.6</c:v>
                </c:pt>
                <c:pt idx="300">
                  <c:v>32.6</c:v>
                </c:pt>
                <c:pt idx="301">
                  <c:v>32.6</c:v>
                </c:pt>
                <c:pt idx="302">
                  <c:v>32.700000000000003</c:v>
                </c:pt>
                <c:pt idx="303">
                  <c:v>32.700000000000003</c:v>
                </c:pt>
                <c:pt idx="304">
                  <c:v>32.700000000000003</c:v>
                </c:pt>
                <c:pt idx="305">
                  <c:v>32.700000000000003</c:v>
                </c:pt>
                <c:pt idx="306">
                  <c:v>32.700000000000003</c:v>
                </c:pt>
                <c:pt idx="307">
                  <c:v>32.799999999999997</c:v>
                </c:pt>
                <c:pt idx="308">
                  <c:v>32.799999999999997</c:v>
                </c:pt>
                <c:pt idx="309">
                  <c:v>32.799999999999997</c:v>
                </c:pt>
                <c:pt idx="310">
                  <c:v>32.9</c:v>
                </c:pt>
                <c:pt idx="311">
                  <c:v>32.9</c:v>
                </c:pt>
                <c:pt idx="312">
                  <c:v>32.9</c:v>
                </c:pt>
                <c:pt idx="313">
                  <c:v>32.9</c:v>
                </c:pt>
                <c:pt idx="314">
                  <c:v>33</c:v>
                </c:pt>
                <c:pt idx="315">
                  <c:v>33</c:v>
                </c:pt>
                <c:pt idx="316">
                  <c:v>33</c:v>
                </c:pt>
                <c:pt idx="317">
                  <c:v>33</c:v>
                </c:pt>
                <c:pt idx="318">
                  <c:v>33</c:v>
                </c:pt>
                <c:pt idx="319">
                  <c:v>33</c:v>
                </c:pt>
                <c:pt idx="320">
                  <c:v>33.1</c:v>
                </c:pt>
                <c:pt idx="321">
                  <c:v>33.1</c:v>
                </c:pt>
                <c:pt idx="322">
                  <c:v>33.1</c:v>
                </c:pt>
                <c:pt idx="323">
                  <c:v>33.1</c:v>
                </c:pt>
                <c:pt idx="324">
                  <c:v>33.1</c:v>
                </c:pt>
                <c:pt idx="325">
                  <c:v>33.1</c:v>
                </c:pt>
                <c:pt idx="326">
                  <c:v>33.1</c:v>
                </c:pt>
                <c:pt idx="327">
                  <c:v>33.200000000000003</c:v>
                </c:pt>
                <c:pt idx="328">
                  <c:v>33.200000000000003</c:v>
                </c:pt>
                <c:pt idx="329">
                  <c:v>33.200000000000003</c:v>
                </c:pt>
                <c:pt idx="330">
                  <c:v>33.299999999999997</c:v>
                </c:pt>
                <c:pt idx="331">
                  <c:v>33.299999999999997</c:v>
                </c:pt>
                <c:pt idx="332">
                  <c:v>33.299999999999997</c:v>
                </c:pt>
                <c:pt idx="333">
                  <c:v>33.299999999999997</c:v>
                </c:pt>
                <c:pt idx="334">
                  <c:v>33.299999999999997</c:v>
                </c:pt>
                <c:pt idx="335">
                  <c:v>33.4</c:v>
                </c:pt>
                <c:pt idx="336">
                  <c:v>33.4</c:v>
                </c:pt>
                <c:pt idx="337">
                  <c:v>33.4</c:v>
                </c:pt>
                <c:pt idx="338">
                  <c:v>33.4</c:v>
                </c:pt>
                <c:pt idx="339">
                  <c:v>33.4</c:v>
                </c:pt>
                <c:pt idx="340">
                  <c:v>33.4</c:v>
                </c:pt>
                <c:pt idx="341">
                  <c:v>33.4</c:v>
                </c:pt>
                <c:pt idx="342">
                  <c:v>33.5</c:v>
                </c:pt>
                <c:pt idx="343">
                  <c:v>33.5</c:v>
                </c:pt>
                <c:pt idx="344">
                  <c:v>33.5</c:v>
                </c:pt>
                <c:pt idx="345">
                  <c:v>33.5</c:v>
                </c:pt>
                <c:pt idx="346">
                  <c:v>33.5</c:v>
                </c:pt>
                <c:pt idx="347">
                  <c:v>33.6</c:v>
                </c:pt>
                <c:pt idx="348">
                  <c:v>33.6</c:v>
                </c:pt>
                <c:pt idx="349">
                  <c:v>33.6</c:v>
                </c:pt>
                <c:pt idx="350">
                  <c:v>33.6</c:v>
                </c:pt>
                <c:pt idx="351">
                  <c:v>33.700000000000003</c:v>
                </c:pt>
                <c:pt idx="352">
                  <c:v>33.700000000000003</c:v>
                </c:pt>
                <c:pt idx="353">
                  <c:v>33.7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C46-4916-A84B-D8C35803D76B}"/>
            </c:ext>
          </c:extLst>
        </c:ser>
        <c:ser>
          <c:idx val="2"/>
          <c:order val="1"/>
          <c:tx>
            <c:strRef>
              <c:f>'[PLAN TV ABIERTA + CABLE1]CURVA'!$C$1</c:f>
              <c:strCache>
                <c:ptCount val="1"/>
                <c:pt idx="0">
                  <c:v>2+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'[PLAN TV ABIERTA + CABLE1]CURVA'!$A$2:$A$355</c:f>
              <c:numCache>
                <c:formatCode>#,##0.0</c:formatCode>
                <c:ptCount val="354"/>
                <c:pt idx="0">
                  <c:v>0.2</c:v>
                </c:pt>
                <c:pt idx="1">
                  <c:v>0.4</c:v>
                </c:pt>
                <c:pt idx="2">
                  <c:v>0.7</c:v>
                </c:pt>
                <c:pt idx="3">
                  <c:v>1.5</c:v>
                </c:pt>
                <c:pt idx="4">
                  <c:v>1.7</c:v>
                </c:pt>
                <c:pt idx="5">
                  <c:v>1.9</c:v>
                </c:pt>
                <c:pt idx="6">
                  <c:v>2.1</c:v>
                </c:pt>
                <c:pt idx="7">
                  <c:v>2.4</c:v>
                </c:pt>
                <c:pt idx="8">
                  <c:v>3.5</c:v>
                </c:pt>
                <c:pt idx="9">
                  <c:v>4.7</c:v>
                </c:pt>
                <c:pt idx="10">
                  <c:v>5.2</c:v>
                </c:pt>
                <c:pt idx="11">
                  <c:v>6.5</c:v>
                </c:pt>
                <c:pt idx="12">
                  <c:v>6.7</c:v>
                </c:pt>
                <c:pt idx="13">
                  <c:v>7.8</c:v>
                </c:pt>
                <c:pt idx="14">
                  <c:v>8</c:v>
                </c:pt>
                <c:pt idx="15">
                  <c:v>8.1999999999999993</c:v>
                </c:pt>
                <c:pt idx="16">
                  <c:v>8.5</c:v>
                </c:pt>
                <c:pt idx="17">
                  <c:v>8.8000000000000007</c:v>
                </c:pt>
                <c:pt idx="18">
                  <c:v>9.1</c:v>
                </c:pt>
                <c:pt idx="19">
                  <c:v>9.4</c:v>
                </c:pt>
                <c:pt idx="20">
                  <c:v>9.6</c:v>
                </c:pt>
                <c:pt idx="21">
                  <c:v>11.4</c:v>
                </c:pt>
                <c:pt idx="22">
                  <c:v>11.6</c:v>
                </c:pt>
                <c:pt idx="23">
                  <c:v>11.8</c:v>
                </c:pt>
                <c:pt idx="24">
                  <c:v>12.3</c:v>
                </c:pt>
                <c:pt idx="25">
                  <c:v>12.6</c:v>
                </c:pt>
                <c:pt idx="26">
                  <c:v>12.7</c:v>
                </c:pt>
                <c:pt idx="27">
                  <c:v>13.2</c:v>
                </c:pt>
                <c:pt idx="28">
                  <c:v>14.4</c:v>
                </c:pt>
                <c:pt idx="29">
                  <c:v>15.4</c:v>
                </c:pt>
                <c:pt idx="30">
                  <c:v>16.399999999999999</c:v>
                </c:pt>
                <c:pt idx="31">
                  <c:v>17.399999999999999</c:v>
                </c:pt>
                <c:pt idx="32">
                  <c:v>17.7</c:v>
                </c:pt>
                <c:pt idx="33">
                  <c:v>18</c:v>
                </c:pt>
                <c:pt idx="34">
                  <c:v>18.3</c:v>
                </c:pt>
                <c:pt idx="35">
                  <c:v>18.600000000000001</c:v>
                </c:pt>
                <c:pt idx="36">
                  <c:v>18.899999999999999</c:v>
                </c:pt>
                <c:pt idx="37">
                  <c:v>19.2</c:v>
                </c:pt>
                <c:pt idx="38">
                  <c:v>19.3</c:v>
                </c:pt>
                <c:pt idx="39">
                  <c:v>19.399999999999999</c:v>
                </c:pt>
                <c:pt idx="40">
                  <c:v>19.5</c:v>
                </c:pt>
                <c:pt idx="41">
                  <c:v>19.600000000000001</c:v>
                </c:pt>
                <c:pt idx="42">
                  <c:v>19.7</c:v>
                </c:pt>
                <c:pt idx="43">
                  <c:v>19.8</c:v>
                </c:pt>
                <c:pt idx="44">
                  <c:v>20</c:v>
                </c:pt>
                <c:pt idx="45">
                  <c:v>20.2</c:v>
                </c:pt>
                <c:pt idx="46">
                  <c:v>20.399999999999999</c:v>
                </c:pt>
                <c:pt idx="47">
                  <c:v>20.7</c:v>
                </c:pt>
                <c:pt idx="48">
                  <c:v>21.7</c:v>
                </c:pt>
                <c:pt idx="49">
                  <c:v>22.7</c:v>
                </c:pt>
                <c:pt idx="50">
                  <c:v>23.7</c:v>
                </c:pt>
                <c:pt idx="51">
                  <c:v>24</c:v>
                </c:pt>
                <c:pt idx="52">
                  <c:v>24.3</c:v>
                </c:pt>
                <c:pt idx="53">
                  <c:v>24.6</c:v>
                </c:pt>
                <c:pt idx="54">
                  <c:v>24.9</c:v>
                </c:pt>
                <c:pt idx="55">
                  <c:v>25.2</c:v>
                </c:pt>
                <c:pt idx="56">
                  <c:v>25.5</c:v>
                </c:pt>
                <c:pt idx="57">
                  <c:v>25.6</c:v>
                </c:pt>
                <c:pt idx="58">
                  <c:v>25.7</c:v>
                </c:pt>
                <c:pt idx="59">
                  <c:v>25.8</c:v>
                </c:pt>
                <c:pt idx="60">
                  <c:v>25.9</c:v>
                </c:pt>
                <c:pt idx="61">
                  <c:v>26</c:v>
                </c:pt>
                <c:pt idx="62">
                  <c:v>26.1</c:v>
                </c:pt>
                <c:pt idx="63">
                  <c:v>26.3</c:v>
                </c:pt>
                <c:pt idx="64">
                  <c:v>26.6</c:v>
                </c:pt>
                <c:pt idx="65">
                  <c:v>26.8</c:v>
                </c:pt>
                <c:pt idx="66">
                  <c:v>27</c:v>
                </c:pt>
                <c:pt idx="67">
                  <c:v>27.3</c:v>
                </c:pt>
                <c:pt idx="68">
                  <c:v>27.4</c:v>
                </c:pt>
                <c:pt idx="69">
                  <c:v>28.4</c:v>
                </c:pt>
                <c:pt idx="70">
                  <c:v>29.4</c:v>
                </c:pt>
                <c:pt idx="71">
                  <c:v>29.7</c:v>
                </c:pt>
                <c:pt idx="72">
                  <c:v>30</c:v>
                </c:pt>
                <c:pt idx="73">
                  <c:v>30.1</c:v>
                </c:pt>
                <c:pt idx="74">
                  <c:v>30.2</c:v>
                </c:pt>
                <c:pt idx="75">
                  <c:v>30.3</c:v>
                </c:pt>
                <c:pt idx="76">
                  <c:v>30.4</c:v>
                </c:pt>
                <c:pt idx="77">
                  <c:v>30.5</c:v>
                </c:pt>
                <c:pt idx="78">
                  <c:v>30.6</c:v>
                </c:pt>
                <c:pt idx="79">
                  <c:v>30.7</c:v>
                </c:pt>
                <c:pt idx="80">
                  <c:v>30.9</c:v>
                </c:pt>
                <c:pt idx="81">
                  <c:v>31.1</c:v>
                </c:pt>
                <c:pt idx="82">
                  <c:v>31.4</c:v>
                </c:pt>
                <c:pt idx="83">
                  <c:v>31.5</c:v>
                </c:pt>
                <c:pt idx="84">
                  <c:v>32.6</c:v>
                </c:pt>
                <c:pt idx="85">
                  <c:v>32.799999999999997</c:v>
                </c:pt>
                <c:pt idx="86">
                  <c:v>33</c:v>
                </c:pt>
                <c:pt idx="87">
                  <c:v>33.299999999999997</c:v>
                </c:pt>
                <c:pt idx="88">
                  <c:v>34.4</c:v>
                </c:pt>
                <c:pt idx="89">
                  <c:v>35.4</c:v>
                </c:pt>
                <c:pt idx="90">
                  <c:v>36.200000000000003</c:v>
                </c:pt>
                <c:pt idx="91">
                  <c:v>37.200000000000003</c:v>
                </c:pt>
                <c:pt idx="92">
                  <c:v>37.700000000000003</c:v>
                </c:pt>
                <c:pt idx="93">
                  <c:v>39</c:v>
                </c:pt>
                <c:pt idx="94">
                  <c:v>39.200000000000003</c:v>
                </c:pt>
                <c:pt idx="95">
                  <c:v>39.4</c:v>
                </c:pt>
                <c:pt idx="96">
                  <c:v>39.6</c:v>
                </c:pt>
                <c:pt idx="97">
                  <c:v>39.9</c:v>
                </c:pt>
                <c:pt idx="98">
                  <c:v>40.1</c:v>
                </c:pt>
                <c:pt idx="99">
                  <c:v>40.299999999999997</c:v>
                </c:pt>
                <c:pt idx="100">
                  <c:v>40.5</c:v>
                </c:pt>
                <c:pt idx="101">
                  <c:v>40.799999999999997</c:v>
                </c:pt>
                <c:pt idx="102">
                  <c:v>41.5</c:v>
                </c:pt>
                <c:pt idx="103">
                  <c:v>41.8</c:v>
                </c:pt>
                <c:pt idx="104">
                  <c:v>42.1</c:v>
                </c:pt>
                <c:pt idx="105">
                  <c:v>42.4</c:v>
                </c:pt>
                <c:pt idx="106">
                  <c:v>43.4</c:v>
                </c:pt>
                <c:pt idx="107">
                  <c:v>43.9</c:v>
                </c:pt>
                <c:pt idx="108">
                  <c:v>45.2</c:v>
                </c:pt>
                <c:pt idx="109">
                  <c:v>45.4</c:v>
                </c:pt>
                <c:pt idx="110">
                  <c:v>47.2</c:v>
                </c:pt>
                <c:pt idx="111">
                  <c:v>47.4</c:v>
                </c:pt>
                <c:pt idx="112">
                  <c:v>47.6</c:v>
                </c:pt>
                <c:pt idx="113">
                  <c:v>47.9</c:v>
                </c:pt>
                <c:pt idx="114">
                  <c:v>48</c:v>
                </c:pt>
                <c:pt idx="115">
                  <c:v>49.2</c:v>
                </c:pt>
                <c:pt idx="116">
                  <c:v>49.7</c:v>
                </c:pt>
                <c:pt idx="117">
                  <c:v>50.7</c:v>
                </c:pt>
                <c:pt idx="118">
                  <c:v>51.7</c:v>
                </c:pt>
                <c:pt idx="119">
                  <c:v>52.7</c:v>
                </c:pt>
                <c:pt idx="120">
                  <c:v>53</c:v>
                </c:pt>
                <c:pt idx="121">
                  <c:v>53.3</c:v>
                </c:pt>
                <c:pt idx="122">
                  <c:v>53.6</c:v>
                </c:pt>
                <c:pt idx="123">
                  <c:v>53.9</c:v>
                </c:pt>
                <c:pt idx="124">
                  <c:v>54.2</c:v>
                </c:pt>
                <c:pt idx="125">
                  <c:v>54.5</c:v>
                </c:pt>
                <c:pt idx="126">
                  <c:v>54.6</c:v>
                </c:pt>
                <c:pt idx="127">
                  <c:v>54.7</c:v>
                </c:pt>
                <c:pt idx="128">
                  <c:v>54.8</c:v>
                </c:pt>
                <c:pt idx="129">
                  <c:v>54.9</c:v>
                </c:pt>
                <c:pt idx="130">
                  <c:v>55</c:v>
                </c:pt>
                <c:pt idx="131">
                  <c:v>55.1</c:v>
                </c:pt>
                <c:pt idx="132">
                  <c:v>55.3</c:v>
                </c:pt>
                <c:pt idx="133">
                  <c:v>55.5</c:v>
                </c:pt>
                <c:pt idx="134">
                  <c:v>55.7</c:v>
                </c:pt>
                <c:pt idx="135">
                  <c:v>56</c:v>
                </c:pt>
                <c:pt idx="136">
                  <c:v>57</c:v>
                </c:pt>
                <c:pt idx="137">
                  <c:v>58</c:v>
                </c:pt>
                <c:pt idx="138">
                  <c:v>59</c:v>
                </c:pt>
                <c:pt idx="139">
                  <c:v>59.3</c:v>
                </c:pt>
                <c:pt idx="140">
                  <c:v>59.6</c:v>
                </c:pt>
                <c:pt idx="141">
                  <c:v>59.9</c:v>
                </c:pt>
                <c:pt idx="142">
                  <c:v>60.2</c:v>
                </c:pt>
                <c:pt idx="143">
                  <c:v>60.5</c:v>
                </c:pt>
                <c:pt idx="144">
                  <c:v>60.8</c:v>
                </c:pt>
                <c:pt idx="145">
                  <c:v>60.9</c:v>
                </c:pt>
                <c:pt idx="146">
                  <c:v>61</c:v>
                </c:pt>
                <c:pt idx="147">
                  <c:v>61.1</c:v>
                </c:pt>
                <c:pt idx="148">
                  <c:v>61.2</c:v>
                </c:pt>
                <c:pt idx="149">
                  <c:v>61.3</c:v>
                </c:pt>
                <c:pt idx="150">
                  <c:v>61.4</c:v>
                </c:pt>
                <c:pt idx="151">
                  <c:v>61.5</c:v>
                </c:pt>
                <c:pt idx="152">
                  <c:v>61.7</c:v>
                </c:pt>
                <c:pt idx="153">
                  <c:v>62</c:v>
                </c:pt>
                <c:pt idx="154">
                  <c:v>62.2</c:v>
                </c:pt>
                <c:pt idx="155">
                  <c:v>62.4</c:v>
                </c:pt>
                <c:pt idx="156">
                  <c:v>62.7</c:v>
                </c:pt>
                <c:pt idx="157">
                  <c:v>62.8</c:v>
                </c:pt>
                <c:pt idx="158">
                  <c:v>63.8</c:v>
                </c:pt>
                <c:pt idx="159">
                  <c:v>64.8</c:v>
                </c:pt>
                <c:pt idx="160">
                  <c:v>65.099999999999994</c:v>
                </c:pt>
                <c:pt idx="161">
                  <c:v>65.400000000000006</c:v>
                </c:pt>
                <c:pt idx="162">
                  <c:v>65.7</c:v>
                </c:pt>
                <c:pt idx="163">
                  <c:v>65.8</c:v>
                </c:pt>
                <c:pt idx="164">
                  <c:v>65.900000000000006</c:v>
                </c:pt>
                <c:pt idx="165">
                  <c:v>66</c:v>
                </c:pt>
                <c:pt idx="166">
                  <c:v>66.099999999999994</c:v>
                </c:pt>
                <c:pt idx="167">
                  <c:v>66.2</c:v>
                </c:pt>
                <c:pt idx="168">
                  <c:v>66.3</c:v>
                </c:pt>
                <c:pt idx="169">
                  <c:v>66.400000000000006</c:v>
                </c:pt>
                <c:pt idx="170">
                  <c:v>66.5</c:v>
                </c:pt>
                <c:pt idx="171">
                  <c:v>66.7</c:v>
                </c:pt>
                <c:pt idx="172">
                  <c:v>66.900000000000006</c:v>
                </c:pt>
                <c:pt idx="173">
                  <c:v>67.2</c:v>
                </c:pt>
                <c:pt idx="174">
                  <c:v>67.3</c:v>
                </c:pt>
                <c:pt idx="175">
                  <c:v>68.400000000000006</c:v>
                </c:pt>
                <c:pt idx="176">
                  <c:v>68.599999999999994</c:v>
                </c:pt>
                <c:pt idx="177">
                  <c:v>68.8</c:v>
                </c:pt>
                <c:pt idx="178">
                  <c:v>69.099999999999994</c:v>
                </c:pt>
                <c:pt idx="179">
                  <c:v>69.900000000000006</c:v>
                </c:pt>
                <c:pt idx="180">
                  <c:v>70.400000000000006</c:v>
                </c:pt>
                <c:pt idx="181">
                  <c:v>71.7</c:v>
                </c:pt>
                <c:pt idx="182">
                  <c:v>71.900000000000006</c:v>
                </c:pt>
                <c:pt idx="183">
                  <c:v>73.7</c:v>
                </c:pt>
                <c:pt idx="184">
                  <c:v>73.900000000000006</c:v>
                </c:pt>
                <c:pt idx="185">
                  <c:v>74.099999999999994</c:v>
                </c:pt>
                <c:pt idx="186">
                  <c:v>74.400000000000006</c:v>
                </c:pt>
                <c:pt idx="187">
                  <c:v>75.5</c:v>
                </c:pt>
                <c:pt idx="188">
                  <c:v>76.5</c:v>
                </c:pt>
                <c:pt idx="189">
                  <c:v>78.2</c:v>
                </c:pt>
                <c:pt idx="190">
                  <c:v>78.400000000000006</c:v>
                </c:pt>
                <c:pt idx="191">
                  <c:v>78.599999999999994</c:v>
                </c:pt>
                <c:pt idx="192">
                  <c:v>78.8</c:v>
                </c:pt>
                <c:pt idx="193">
                  <c:v>79.099999999999994</c:v>
                </c:pt>
                <c:pt idx="194">
                  <c:v>79.400000000000006</c:v>
                </c:pt>
                <c:pt idx="195">
                  <c:v>79.7</c:v>
                </c:pt>
                <c:pt idx="196">
                  <c:v>80</c:v>
                </c:pt>
                <c:pt idx="197">
                  <c:v>81</c:v>
                </c:pt>
                <c:pt idx="198">
                  <c:v>81.2</c:v>
                </c:pt>
                <c:pt idx="199">
                  <c:v>81.400000000000006</c:v>
                </c:pt>
                <c:pt idx="200">
                  <c:v>81.599999999999994</c:v>
                </c:pt>
                <c:pt idx="201">
                  <c:v>82.1</c:v>
                </c:pt>
                <c:pt idx="202">
                  <c:v>82.4</c:v>
                </c:pt>
                <c:pt idx="203">
                  <c:v>82.5</c:v>
                </c:pt>
                <c:pt idx="204">
                  <c:v>83</c:v>
                </c:pt>
                <c:pt idx="205">
                  <c:v>83.7</c:v>
                </c:pt>
                <c:pt idx="206">
                  <c:v>84.9</c:v>
                </c:pt>
                <c:pt idx="207">
                  <c:v>85.9</c:v>
                </c:pt>
                <c:pt idx="208">
                  <c:v>86.9</c:v>
                </c:pt>
                <c:pt idx="209">
                  <c:v>87.9</c:v>
                </c:pt>
                <c:pt idx="210">
                  <c:v>88.2</c:v>
                </c:pt>
                <c:pt idx="211">
                  <c:v>88.5</c:v>
                </c:pt>
                <c:pt idx="212">
                  <c:v>88.8</c:v>
                </c:pt>
                <c:pt idx="213">
                  <c:v>89.1</c:v>
                </c:pt>
                <c:pt idx="214">
                  <c:v>89.4</c:v>
                </c:pt>
                <c:pt idx="215">
                  <c:v>89.7</c:v>
                </c:pt>
                <c:pt idx="216">
                  <c:v>89.8</c:v>
                </c:pt>
                <c:pt idx="217">
                  <c:v>89.9</c:v>
                </c:pt>
                <c:pt idx="218">
                  <c:v>90</c:v>
                </c:pt>
                <c:pt idx="219">
                  <c:v>90.1</c:v>
                </c:pt>
                <c:pt idx="220">
                  <c:v>90.2</c:v>
                </c:pt>
                <c:pt idx="221">
                  <c:v>90.3</c:v>
                </c:pt>
                <c:pt idx="222">
                  <c:v>92</c:v>
                </c:pt>
                <c:pt idx="223">
                  <c:v>92.2</c:v>
                </c:pt>
                <c:pt idx="224">
                  <c:v>92.4</c:v>
                </c:pt>
                <c:pt idx="225">
                  <c:v>92.6</c:v>
                </c:pt>
                <c:pt idx="226">
                  <c:v>92.9</c:v>
                </c:pt>
                <c:pt idx="227">
                  <c:v>93.9</c:v>
                </c:pt>
                <c:pt idx="228">
                  <c:v>94.9</c:v>
                </c:pt>
                <c:pt idx="229">
                  <c:v>95.9</c:v>
                </c:pt>
                <c:pt idx="230">
                  <c:v>96.2</c:v>
                </c:pt>
                <c:pt idx="231">
                  <c:v>96.5</c:v>
                </c:pt>
                <c:pt idx="232">
                  <c:v>96.8</c:v>
                </c:pt>
                <c:pt idx="233">
                  <c:v>97.1</c:v>
                </c:pt>
                <c:pt idx="234">
                  <c:v>97.4</c:v>
                </c:pt>
                <c:pt idx="235">
                  <c:v>97.7</c:v>
                </c:pt>
                <c:pt idx="236">
                  <c:v>97.8</c:v>
                </c:pt>
                <c:pt idx="237">
                  <c:v>97.9</c:v>
                </c:pt>
                <c:pt idx="238">
                  <c:v>98</c:v>
                </c:pt>
                <c:pt idx="239">
                  <c:v>98.1</c:v>
                </c:pt>
                <c:pt idx="240">
                  <c:v>98.2</c:v>
                </c:pt>
                <c:pt idx="241">
                  <c:v>98.3</c:v>
                </c:pt>
                <c:pt idx="242">
                  <c:v>98.5</c:v>
                </c:pt>
                <c:pt idx="243">
                  <c:v>98.8</c:v>
                </c:pt>
                <c:pt idx="244">
                  <c:v>99</c:v>
                </c:pt>
                <c:pt idx="245">
                  <c:v>99.2</c:v>
                </c:pt>
                <c:pt idx="246">
                  <c:v>99.5</c:v>
                </c:pt>
                <c:pt idx="247">
                  <c:v>99.6</c:v>
                </c:pt>
                <c:pt idx="248">
                  <c:v>100.6</c:v>
                </c:pt>
                <c:pt idx="249">
                  <c:v>101.6</c:v>
                </c:pt>
                <c:pt idx="250">
                  <c:v>101.9</c:v>
                </c:pt>
                <c:pt idx="251">
                  <c:v>102.2</c:v>
                </c:pt>
                <c:pt idx="252">
                  <c:v>102.3</c:v>
                </c:pt>
                <c:pt idx="253">
                  <c:v>102.4</c:v>
                </c:pt>
                <c:pt idx="254">
                  <c:v>102.5</c:v>
                </c:pt>
                <c:pt idx="255">
                  <c:v>102.6</c:v>
                </c:pt>
                <c:pt idx="256">
                  <c:v>102.7</c:v>
                </c:pt>
                <c:pt idx="257">
                  <c:v>102.8</c:v>
                </c:pt>
                <c:pt idx="258">
                  <c:v>102.9</c:v>
                </c:pt>
                <c:pt idx="259">
                  <c:v>103.1</c:v>
                </c:pt>
                <c:pt idx="260">
                  <c:v>103.3</c:v>
                </c:pt>
                <c:pt idx="261">
                  <c:v>103.6</c:v>
                </c:pt>
                <c:pt idx="262">
                  <c:v>103.7</c:v>
                </c:pt>
                <c:pt idx="263">
                  <c:v>104.8</c:v>
                </c:pt>
                <c:pt idx="264">
                  <c:v>105</c:v>
                </c:pt>
                <c:pt idx="265">
                  <c:v>105.2</c:v>
                </c:pt>
                <c:pt idx="266">
                  <c:v>105.5</c:v>
                </c:pt>
                <c:pt idx="267">
                  <c:v>106.5</c:v>
                </c:pt>
                <c:pt idx="268">
                  <c:v>107.5</c:v>
                </c:pt>
                <c:pt idx="269">
                  <c:v>107.7</c:v>
                </c:pt>
                <c:pt idx="270">
                  <c:v>107.9</c:v>
                </c:pt>
                <c:pt idx="271">
                  <c:v>108.1</c:v>
                </c:pt>
                <c:pt idx="272">
                  <c:v>108.4</c:v>
                </c:pt>
                <c:pt idx="273">
                  <c:v>109.5</c:v>
                </c:pt>
                <c:pt idx="274">
                  <c:v>110.5</c:v>
                </c:pt>
                <c:pt idx="275">
                  <c:v>110.7</c:v>
                </c:pt>
                <c:pt idx="276">
                  <c:v>111</c:v>
                </c:pt>
                <c:pt idx="277">
                  <c:v>111.3</c:v>
                </c:pt>
                <c:pt idx="278">
                  <c:v>111.6</c:v>
                </c:pt>
                <c:pt idx="279">
                  <c:v>111.9</c:v>
                </c:pt>
                <c:pt idx="280">
                  <c:v>113.6</c:v>
                </c:pt>
                <c:pt idx="281">
                  <c:v>114.1</c:v>
                </c:pt>
                <c:pt idx="282">
                  <c:v>114.6</c:v>
                </c:pt>
                <c:pt idx="283">
                  <c:v>115.9</c:v>
                </c:pt>
                <c:pt idx="284">
                  <c:v>116.1</c:v>
                </c:pt>
                <c:pt idx="285">
                  <c:v>116.3</c:v>
                </c:pt>
                <c:pt idx="286">
                  <c:v>116.5</c:v>
                </c:pt>
                <c:pt idx="287">
                  <c:v>116.8</c:v>
                </c:pt>
                <c:pt idx="288">
                  <c:v>117.3</c:v>
                </c:pt>
                <c:pt idx="289">
                  <c:v>118.3</c:v>
                </c:pt>
                <c:pt idx="290">
                  <c:v>119.3</c:v>
                </c:pt>
                <c:pt idx="291">
                  <c:v>120.3</c:v>
                </c:pt>
                <c:pt idx="292">
                  <c:v>120.6</c:v>
                </c:pt>
                <c:pt idx="293">
                  <c:v>120.9</c:v>
                </c:pt>
                <c:pt idx="294">
                  <c:v>121.2</c:v>
                </c:pt>
                <c:pt idx="295">
                  <c:v>121.5</c:v>
                </c:pt>
                <c:pt idx="296">
                  <c:v>121.8</c:v>
                </c:pt>
                <c:pt idx="297">
                  <c:v>122.1</c:v>
                </c:pt>
                <c:pt idx="298">
                  <c:v>122.2</c:v>
                </c:pt>
                <c:pt idx="299">
                  <c:v>122.3</c:v>
                </c:pt>
                <c:pt idx="300">
                  <c:v>122.4</c:v>
                </c:pt>
                <c:pt idx="301">
                  <c:v>122.5</c:v>
                </c:pt>
                <c:pt idx="302">
                  <c:v>122.6</c:v>
                </c:pt>
                <c:pt idx="303">
                  <c:v>122.7</c:v>
                </c:pt>
                <c:pt idx="304">
                  <c:v>122.9</c:v>
                </c:pt>
                <c:pt idx="305">
                  <c:v>123.2</c:v>
                </c:pt>
                <c:pt idx="306">
                  <c:v>123.4</c:v>
                </c:pt>
                <c:pt idx="307">
                  <c:v>123.6</c:v>
                </c:pt>
                <c:pt idx="308">
                  <c:v>123.9</c:v>
                </c:pt>
                <c:pt idx="309">
                  <c:v>124.9</c:v>
                </c:pt>
                <c:pt idx="310">
                  <c:v>125.9</c:v>
                </c:pt>
                <c:pt idx="311">
                  <c:v>126.2</c:v>
                </c:pt>
                <c:pt idx="312">
                  <c:v>126.5</c:v>
                </c:pt>
                <c:pt idx="313">
                  <c:v>126.8</c:v>
                </c:pt>
                <c:pt idx="314">
                  <c:v>127.1</c:v>
                </c:pt>
                <c:pt idx="315">
                  <c:v>127.4</c:v>
                </c:pt>
                <c:pt idx="316">
                  <c:v>127.7</c:v>
                </c:pt>
                <c:pt idx="317">
                  <c:v>127.8</c:v>
                </c:pt>
                <c:pt idx="318">
                  <c:v>127.9</c:v>
                </c:pt>
                <c:pt idx="319">
                  <c:v>128</c:v>
                </c:pt>
                <c:pt idx="320">
                  <c:v>128.1</c:v>
                </c:pt>
                <c:pt idx="321">
                  <c:v>128.19999999999999</c:v>
                </c:pt>
                <c:pt idx="322">
                  <c:v>128.30000000000001</c:v>
                </c:pt>
                <c:pt idx="323">
                  <c:v>128.5</c:v>
                </c:pt>
                <c:pt idx="324">
                  <c:v>128.80000000000001</c:v>
                </c:pt>
                <c:pt idx="325">
                  <c:v>129</c:v>
                </c:pt>
                <c:pt idx="326">
                  <c:v>129.19999999999999</c:v>
                </c:pt>
                <c:pt idx="327">
                  <c:v>129.5</c:v>
                </c:pt>
                <c:pt idx="328">
                  <c:v>129.6</c:v>
                </c:pt>
                <c:pt idx="329">
                  <c:v>130.6</c:v>
                </c:pt>
                <c:pt idx="330">
                  <c:v>131.6</c:v>
                </c:pt>
                <c:pt idx="331">
                  <c:v>131.9</c:v>
                </c:pt>
                <c:pt idx="332">
                  <c:v>132.19999999999999</c:v>
                </c:pt>
                <c:pt idx="333">
                  <c:v>132.30000000000001</c:v>
                </c:pt>
                <c:pt idx="334">
                  <c:v>132.4</c:v>
                </c:pt>
                <c:pt idx="335">
                  <c:v>132.5</c:v>
                </c:pt>
                <c:pt idx="336">
                  <c:v>132.6</c:v>
                </c:pt>
                <c:pt idx="337">
                  <c:v>132.69999999999999</c:v>
                </c:pt>
                <c:pt idx="338">
                  <c:v>132.80000000000001</c:v>
                </c:pt>
                <c:pt idx="339">
                  <c:v>132.9</c:v>
                </c:pt>
                <c:pt idx="340">
                  <c:v>133.1</c:v>
                </c:pt>
                <c:pt idx="341">
                  <c:v>133.30000000000001</c:v>
                </c:pt>
                <c:pt idx="342">
                  <c:v>133.6</c:v>
                </c:pt>
                <c:pt idx="343">
                  <c:v>133.69999999999999</c:v>
                </c:pt>
                <c:pt idx="344">
                  <c:v>133.9</c:v>
                </c:pt>
                <c:pt idx="345">
                  <c:v>134.1</c:v>
                </c:pt>
                <c:pt idx="346">
                  <c:v>134.4</c:v>
                </c:pt>
                <c:pt idx="347">
                  <c:v>134.6</c:v>
                </c:pt>
                <c:pt idx="348">
                  <c:v>134.80000000000001</c:v>
                </c:pt>
                <c:pt idx="349">
                  <c:v>135</c:v>
                </c:pt>
                <c:pt idx="350">
                  <c:v>135.30000000000001</c:v>
                </c:pt>
                <c:pt idx="351">
                  <c:v>135.5</c:v>
                </c:pt>
                <c:pt idx="352">
                  <c:v>135.69999999999999</c:v>
                </c:pt>
                <c:pt idx="353">
                  <c:v>135.9</c:v>
                </c:pt>
              </c:numCache>
            </c:numRef>
          </c:cat>
          <c:val>
            <c:numRef>
              <c:f>'[PLAN TV ABIERTA + CABLE1]CURVA'!$C$2:$C$355</c:f>
              <c:numCache>
                <c:formatCode>#,##0.0</c:formatCode>
                <c:ptCount val="35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1</c:v>
                </c:pt>
                <c:pt idx="4">
                  <c:v>0.1</c:v>
                </c:pt>
                <c:pt idx="5">
                  <c:v>0.1</c:v>
                </c:pt>
                <c:pt idx="6">
                  <c:v>0.2</c:v>
                </c:pt>
                <c:pt idx="7">
                  <c:v>0.2</c:v>
                </c:pt>
                <c:pt idx="8">
                  <c:v>0.3</c:v>
                </c:pt>
                <c:pt idx="9">
                  <c:v>0.5</c:v>
                </c:pt>
                <c:pt idx="10">
                  <c:v>0.6</c:v>
                </c:pt>
                <c:pt idx="11">
                  <c:v>0.8</c:v>
                </c:pt>
                <c:pt idx="12">
                  <c:v>0.9</c:v>
                </c:pt>
                <c:pt idx="13">
                  <c:v>1.1000000000000001</c:v>
                </c:pt>
                <c:pt idx="14">
                  <c:v>1.2</c:v>
                </c:pt>
                <c:pt idx="15">
                  <c:v>1.2</c:v>
                </c:pt>
                <c:pt idx="16">
                  <c:v>1.3</c:v>
                </c:pt>
                <c:pt idx="17">
                  <c:v>1.3</c:v>
                </c:pt>
                <c:pt idx="18">
                  <c:v>1.4</c:v>
                </c:pt>
                <c:pt idx="19">
                  <c:v>1.4</c:v>
                </c:pt>
                <c:pt idx="20">
                  <c:v>1.5</c:v>
                </c:pt>
                <c:pt idx="21">
                  <c:v>1.9</c:v>
                </c:pt>
                <c:pt idx="22">
                  <c:v>1.9</c:v>
                </c:pt>
                <c:pt idx="23">
                  <c:v>2</c:v>
                </c:pt>
                <c:pt idx="24">
                  <c:v>2.1</c:v>
                </c:pt>
                <c:pt idx="25">
                  <c:v>2.2000000000000002</c:v>
                </c:pt>
                <c:pt idx="26">
                  <c:v>2.2000000000000002</c:v>
                </c:pt>
                <c:pt idx="27">
                  <c:v>2.4</c:v>
                </c:pt>
                <c:pt idx="28">
                  <c:v>2.7</c:v>
                </c:pt>
                <c:pt idx="29">
                  <c:v>2.9</c:v>
                </c:pt>
                <c:pt idx="30">
                  <c:v>3.3</c:v>
                </c:pt>
                <c:pt idx="31">
                  <c:v>3.7</c:v>
                </c:pt>
                <c:pt idx="32">
                  <c:v>3.8</c:v>
                </c:pt>
                <c:pt idx="33">
                  <c:v>3.8</c:v>
                </c:pt>
                <c:pt idx="34">
                  <c:v>3.9</c:v>
                </c:pt>
                <c:pt idx="35">
                  <c:v>4</c:v>
                </c:pt>
                <c:pt idx="36">
                  <c:v>4.0999999999999996</c:v>
                </c:pt>
                <c:pt idx="37">
                  <c:v>4.0999999999999996</c:v>
                </c:pt>
                <c:pt idx="38">
                  <c:v>4.2</c:v>
                </c:pt>
                <c:pt idx="39">
                  <c:v>4.2</c:v>
                </c:pt>
                <c:pt idx="40">
                  <c:v>4.2</c:v>
                </c:pt>
                <c:pt idx="41">
                  <c:v>4.2</c:v>
                </c:pt>
                <c:pt idx="42">
                  <c:v>4.3</c:v>
                </c:pt>
                <c:pt idx="43">
                  <c:v>4.3</c:v>
                </c:pt>
                <c:pt idx="44">
                  <c:v>4.3</c:v>
                </c:pt>
                <c:pt idx="45">
                  <c:v>4.4000000000000004</c:v>
                </c:pt>
                <c:pt idx="46">
                  <c:v>4.5</c:v>
                </c:pt>
                <c:pt idx="47">
                  <c:v>4.5</c:v>
                </c:pt>
                <c:pt idx="48">
                  <c:v>4.8</c:v>
                </c:pt>
                <c:pt idx="49">
                  <c:v>5</c:v>
                </c:pt>
                <c:pt idx="50">
                  <c:v>5.2</c:v>
                </c:pt>
                <c:pt idx="51">
                  <c:v>5.2</c:v>
                </c:pt>
                <c:pt idx="52">
                  <c:v>5.3</c:v>
                </c:pt>
                <c:pt idx="53">
                  <c:v>5.4</c:v>
                </c:pt>
                <c:pt idx="54">
                  <c:v>5.5</c:v>
                </c:pt>
                <c:pt idx="55">
                  <c:v>5.6</c:v>
                </c:pt>
                <c:pt idx="56">
                  <c:v>5.6</c:v>
                </c:pt>
                <c:pt idx="57">
                  <c:v>5.7</c:v>
                </c:pt>
                <c:pt idx="58">
                  <c:v>5.7</c:v>
                </c:pt>
                <c:pt idx="59">
                  <c:v>5.7</c:v>
                </c:pt>
                <c:pt idx="60">
                  <c:v>5.8</c:v>
                </c:pt>
                <c:pt idx="61">
                  <c:v>5.8</c:v>
                </c:pt>
                <c:pt idx="62">
                  <c:v>5.8</c:v>
                </c:pt>
                <c:pt idx="63">
                  <c:v>5.9</c:v>
                </c:pt>
                <c:pt idx="64">
                  <c:v>5.9</c:v>
                </c:pt>
                <c:pt idx="65">
                  <c:v>6</c:v>
                </c:pt>
                <c:pt idx="66">
                  <c:v>6</c:v>
                </c:pt>
                <c:pt idx="67">
                  <c:v>6.1</c:v>
                </c:pt>
                <c:pt idx="68">
                  <c:v>6.1</c:v>
                </c:pt>
                <c:pt idx="69">
                  <c:v>6.2</c:v>
                </c:pt>
                <c:pt idx="70">
                  <c:v>6.3</c:v>
                </c:pt>
                <c:pt idx="71">
                  <c:v>6.4</c:v>
                </c:pt>
                <c:pt idx="72">
                  <c:v>6.5</c:v>
                </c:pt>
                <c:pt idx="73">
                  <c:v>6.5</c:v>
                </c:pt>
                <c:pt idx="74">
                  <c:v>6.6</c:v>
                </c:pt>
                <c:pt idx="75">
                  <c:v>6.6</c:v>
                </c:pt>
                <c:pt idx="76">
                  <c:v>6.6</c:v>
                </c:pt>
                <c:pt idx="77">
                  <c:v>6.7</c:v>
                </c:pt>
                <c:pt idx="78">
                  <c:v>6.7</c:v>
                </c:pt>
                <c:pt idx="79">
                  <c:v>6.7</c:v>
                </c:pt>
                <c:pt idx="80">
                  <c:v>6.7</c:v>
                </c:pt>
                <c:pt idx="81">
                  <c:v>6.8</c:v>
                </c:pt>
                <c:pt idx="82">
                  <c:v>6.8</c:v>
                </c:pt>
                <c:pt idx="83">
                  <c:v>6.8</c:v>
                </c:pt>
                <c:pt idx="84">
                  <c:v>7.2</c:v>
                </c:pt>
                <c:pt idx="85">
                  <c:v>7.2</c:v>
                </c:pt>
                <c:pt idx="86">
                  <c:v>7.3</c:v>
                </c:pt>
                <c:pt idx="87">
                  <c:v>7.3</c:v>
                </c:pt>
                <c:pt idx="88">
                  <c:v>7.6</c:v>
                </c:pt>
                <c:pt idx="89">
                  <c:v>7.9</c:v>
                </c:pt>
                <c:pt idx="90">
                  <c:v>8.1</c:v>
                </c:pt>
                <c:pt idx="91">
                  <c:v>8.3000000000000007</c:v>
                </c:pt>
                <c:pt idx="92">
                  <c:v>8.4</c:v>
                </c:pt>
                <c:pt idx="93">
                  <c:v>8.6999999999999993</c:v>
                </c:pt>
                <c:pt idx="94">
                  <c:v>8.8000000000000007</c:v>
                </c:pt>
                <c:pt idx="95">
                  <c:v>8.8000000000000007</c:v>
                </c:pt>
                <c:pt idx="96">
                  <c:v>8.9</c:v>
                </c:pt>
                <c:pt idx="97">
                  <c:v>8.9</c:v>
                </c:pt>
                <c:pt idx="98">
                  <c:v>9</c:v>
                </c:pt>
                <c:pt idx="99">
                  <c:v>9</c:v>
                </c:pt>
                <c:pt idx="100">
                  <c:v>9.1</c:v>
                </c:pt>
                <c:pt idx="101">
                  <c:v>9.1</c:v>
                </c:pt>
                <c:pt idx="102">
                  <c:v>9.3000000000000007</c:v>
                </c:pt>
                <c:pt idx="103">
                  <c:v>9.3000000000000007</c:v>
                </c:pt>
                <c:pt idx="104">
                  <c:v>9.4</c:v>
                </c:pt>
                <c:pt idx="105">
                  <c:v>9.5</c:v>
                </c:pt>
                <c:pt idx="106">
                  <c:v>9.8000000000000007</c:v>
                </c:pt>
                <c:pt idx="107">
                  <c:v>9.9</c:v>
                </c:pt>
                <c:pt idx="108">
                  <c:v>10.199999999999999</c:v>
                </c:pt>
                <c:pt idx="109">
                  <c:v>10.199999999999999</c:v>
                </c:pt>
                <c:pt idx="110">
                  <c:v>10.6</c:v>
                </c:pt>
                <c:pt idx="111">
                  <c:v>10.7</c:v>
                </c:pt>
                <c:pt idx="112">
                  <c:v>10.7</c:v>
                </c:pt>
                <c:pt idx="113">
                  <c:v>10.8</c:v>
                </c:pt>
                <c:pt idx="114">
                  <c:v>10.8</c:v>
                </c:pt>
                <c:pt idx="115">
                  <c:v>11</c:v>
                </c:pt>
                <c:pt idx="116">
                  <c:v>11.1</c:v>
                </c:pt>
                <c:pt idx="117">
                  <c:v>11.2</c:v>
                </c:pt>
                <c:pt idx="118">
                  <c:v>11.3</c:v>
                </c:pt>
                <c:pt idx="119">
                  <c:v>11.4</c:v>
                </c:pt>
                <c:pt idx="120">
                  <c:v>11.4</c:v>
                </c:pt>
                <c:pt idx="121">
                  <c:v>11.5</c:v>
                </c:pt>
                <c:pt idx="122">
                  <c:v>11.6</c:v>
                </c:pt>
                <c:pt idx="123">
                  <c:v>11.7</c:v>
                </c:pt>
                <c:pt idx="124">
                  <c:v>11.7</c:v>
                </c:pt>
                <c:pt idx="125">
                  <c:v>11.8</c:v>
                </c:pt>
                <c:pt idx="126">
                  <c:v>11.8</c:v>
                </c:pt>
                <c:pt idx="127">
                  <c:v>11.8</c:v>
                </c:pt>
                <c:pt idx="128">
                  <c:v>11.9</c:v>
                </c:pt>
                <c:pt idx="129">
                  <c:v>11.9</c:v>
                </c:pt>
                <c:pt idx="130">
                  <c:v>11.9</c:v>
                </c:pt>
                <c:pt idx="131">
                  <c:v>12</c:v>
                </c:pt>
                <c:pt idx="132">
                  <c:v>12</c:v>
                </c:pt>
                <c:pt idx="133">
                  <c:v>12</c:v>
                </c:pt>
                <c:pt idx="134">
                  <c:v>12.1</c:v>
                </c:pt>
                <c:pt idx="135">
                  <c:v>12.1</c:v>
                </c:pt>
                <c:pt idx="136">
                  <c:v>12.2</c:v>
                </c:pt>
                <c:pt idx="137">
                  <c:v>12.3</c:v>
                </c:pt>
                <c:pt idx="138">
                  <c:v>12.4</c:v>
                </c:pt>
                <c:pt idx="139">
                  <c:v>12.4</c:v>
                </c:pt>
                <c:pt idx="140">
                  <c:v>12.5</c:v>
                </c:pt>
                <c:pt idx="141">
                  <c:v>12.6</c:v>
                </c:pt>
                <c:pt idx="142">
                  <c:v>12.6</c:v>
                </c:pt>
                <c:pt idx="143">
                  <c:v>12.7</c:v>
                </c:pt>
                <c:pt idx="144">
                  <c:v>12.7</c:v>
                </c:pt>
                <c:pt idx="145">
                  <c:v>12.8</c:v>
                </c:pt>
                <c:pt idx="146">
                  <c:v>12.8</c:v>
                </c:pt>
                <c:pt idx="147">
                  <c:v>12.8</c:v>
                </c:pt>
                <c:pt idx="148">
                  <c:v>12.9</c:v>
                </c:pt>
                <c:pt idx="149">
                  <c:v>12.9</c:v>
                </c:pt>
                <c:pt idx="150">
                  <c:v>12.9</c:v>
                </c:pt>
                <c:pt idx="151">
                  <c:v>12.9</c:v>
                </c:pt>
                <c:pt idx="152">
                  <c:v>13</c:v>
                </c:pt>
                <c:pt idx="153">
                  <c:v>13</c:v>
                </c:pt>
                <c:pt idx="154">
                  <c:v>13</c:v>
                </c:pt>
                <c:pt idx="155">
                  <c:v>13.1</c:v>
                </c:pt>
                <c:pt idx="156">
                  <c:v>13.1</c:v>
                </c:pt>
                <c:pt idx="157">
                  <c:v>13.1</c:v>
                </c:pt>
                <c:pt idx="158">
                  <c:v>13.2</c:v>
                </c:pt>
                <c:pt idx="159">
                  <c:v>13.3</c:v>
                </c:pt>
                <c:pt idx="160">
                  <c:v>13.3</c:v>
                </c:pt>
                <c:pt idx="161">
                  <c:v>13.4</c:v>
                </c:pt>
                <c:pt idx="162">
                  <c:v>13.4</c:v>
                </c:pt>
                <c:pt idx="163">
                  <c:v>13.5</c:v>
                </c:pt>
                <c:pt idx="164">
                  <c:v>13.5</c:v>
                </c:pt>
                <c:pt idx="165">
                  <c:v>13.5</c:v>
                </c:pt>
                <c:pt idx="166">
                  <c:v>13.5</c:v>
                </c:pt>
                <c:pt idx="167">
                  <c:v>13.6</c:v>
                </c:pt>
                <c:pt idx="168">
                  <c:v>13.6</c:v>
                </c:pt>
                <c:pt idx="169">
                  <c:v>13.6</c:v>
                </c:pt>
                <c:pt idx="170">
                  <c:v>13.6</c:v>
                </c:pt>
                <c:pt idx="171">
                  <c:v>13.6</c:v>
                </c:pt>
                <c:pt idx="172">
                  <c:v>13.6</c:v>
                </c:pt>
                <c:pt idx="173">
                  <c:v>13.7</c:v>
                </c:pt>
                <c:pt idx="174">
                  <c:v>13.7</c:v>
                </c:pt>
                <c:pt idx="175">
                  <c:v>13.9</c:v>
                </c:pt>
                <c:pt idx="176">
                  <c:v>13.9</c:v>
                </c:pt>
                <c:pt idx="177">
                  <c:v>14</c:v>
                </c:pt>
                <c:pt idx="178">
                  <c:v>14</c:v>
                </c:pt>
                <c:pt idx="179">
                  <c:v>14.1</c:v>
                </c:pt>
                <c:pt idx="180">
                  <c:v>14.2</c:v>
                </c:pt>
                <c:pt idx="181">
                  <c:v>14.5</c:v>
                </c:pt>
                <c:pt idx="182">
                  <c:v>14.6</c:v>
                </c:pt>
                <c:pt idx="183">
                  <c:v>14.9</c:v>
                </c:pt>
                <c:pt idx="184">
                  <c:v>14.9</c:v>
                </c:pt>
                <c:pt idx="185">
                  <c:v>15</c:v>
                </c:pt>
                <c:pt idx="186">
                  <c:v>15</c:v>
                </c:pt>
                <c:pt idx="187">
                  <c:v>15.2</c:v>
                </c:pt>
                <c:pt idx="188">
                  <c:v>15.4</c:v>
                </c:pt>
                <c:pt idx="189">
                  <c:v>15.7</c:v>
                </c:pt>
                <c:pt idx="190">
                  <c:v>15.7</c:v>
                </c:pt>
                <c:pt idx="191">
                  <c:v>15.8</c:v>
                </c:pt>
                <c:pt idx="192">
                  <c:v>15.8</c:v>
                </c:pt>
                <c:pt idx="193">
                  <c:v>15.9</c:v>
                </c:pt>
                <c:pt idx="194">
                  <c:v>15.9</c:v>
                </c:pt>
                <c:pt idx="195">
                  <c:v>16</c:v>
                </c:pt>
                <c:pt idx="196">
                  <c:v>16</c:v>
                </c:pt>
                <c:pt idx="197">
                  <c:v>16.100000000000001</c:v>
                </c:pt>
                <c:pt idx="198">
                  <c:v>16.2</c:v>
                </c:pt>
                <c:pt idx="199">
                  <c:v>16.2</c:v>
                </c:pt>
                <c:pt idx="200">
                  <c:v>16.2</c:v>
                </c:pt>
                <c:pt idx="201">
                  <c:v>16.3</c:v>
                </c:pt>
                <c:pt idx="202">
                  <c:v>16.399999999999999</c:v>
                </c:pt>
                <c:pt idx="203">
                  <c:v>16.399999999999999</c:v>
                </c:pt>
                <c:pt idx="204">
                  <c:v>16.5</c:v>
                </c:pt>
                <c:pt idx="205">
                  <c:v>16.600000000000001</c:v>
                </c:pt>
                <c:pt idx="206">
                  <c:v>16.7</c:v>
                </c:pt>
                <c:pt idx="207">
                  <c:v>16.7</c:v>
                </c:pt>
                <c:pt idx="208">
                  <c:v>16.8</c:v>
                </c:pt>
                <c:pt idx="209">
                  <c:v>16.899999999999999</c:v>
                </c:pt>
                <c:pt idx="210">
                  <c:v>16.899999999999999</c:v>
                </c:pt>
                <c:pt idx="211">
                  <c:v>17</c:v>
                </c:pt>
                <c:pt idx="212">
                  <c:v>17</c:v>
                </c:pt>
                <c:pt idx="213">
                  <c:v>17</c:v>
                </c:pt>
                <c:pt idx="214">
                  <c:v>17.100000000000001</c:v>
                </c:pt>
                <c:pt idx="215">
                  <c:v>17.100000000000001</c:v>
                </c:pt>
                <c:pt idx="216">
                  <c:v>17.100000000000001</c:v>
                </c:pt>
                <c:pt idx="217">
                  <c:v>17.2</c:v>
                </c:pt>
                <c:pt idx="218">
                  <c:v>17.2</c:v>
                </c:pt>
                <c:pt idx="219">
                  <c:v>17.2</c:v>
                </c:pt>
                <c:pt idx="220">
                  <c:v>17.2</c:v>
                </c:pt>
                <c:pt idx="221">
                  <c:v>17.2</c:v>
                </c:pt>
                <c:pt idx="222">
                  <c:v>17.600000000000001</c:v>
                </c:pt>
                <c:pt idx="223">
                  <c:v>17.600000000000001</c:v>
                </c:pt>
                <c:pt idx="224">
                  <c:v>17.600000000000001</c:v>
                </c:pt>
                <c:pt idx="225">
                  <c:v>17.600000000000001</c:v>
                </c:pt>
                <c:pt idx="226">
                  <c:v>17.7</c:v>
                </c:pt>
                <c:pt idx="227">
                  <c:v>17.7</c:v>
                </c:pt>
                <c:pt idx="228">
                  <c:v>17.8</c:v>
                </c:pt>
                <c:pt idx="229">
                  <c:v>17.8</c:v>
                </c:pt>
                <c:pt idx="230">
                  <c:v>17.899999999999999</c:v>
                </c:pt>
                <c:pt idx="231">
                  <c:v>17.899999999999999</c:v>
                </c:pt>
                <c:pt idx="232">
                  <c:v>18</c:v>
                </c:pt>
                <c:pt idx="233">
                  <c:v>18</c:v>
                </c:pt>
                <c:pt idx="234">
                  <c:v>18</c:v>
                </c:pt>
                <c:pt idx="235">
                  <c:v>18.100000000000001</c:v>
                </c:pt>
                <c:pt idx="236">
                  <c:v>18.100000000000001</c:v>
                </c:pt>
                <c:pt idx="237">
                  <c:v>18.100000000000001</c:v>
                </c:pt>
                <c:pt idx="238">
                  <c:v>18.100000000000001</c:v>
                </c:pt>
                <c:pt idx="239">
                  <c:v>18.2</c:v>
                </c:pt>
                <c:pt idx="240">
                  <c:v>18.2</c:v>
                </c:pt>
                <c:pt idx="241">
                  <c:v>18.2</c:v>
                </c:pt>
                <c:pt idx="242">
                  <c:v>18.2</c:v>
                </c:pt>
                <c:pt idx="243">
                  <c:v>18.3</c:v>
                </c:pt>
                <c:pt idx="244">
                  <c:v>18.3</c:v>
                </c:pt>
                <c:pt idx="245">
                  <c:v>18.3</c:v>
                </c:pt>
                <c:pt idx="246">
                  <c:v>18.3</c:v>
                </c:pt>
                <c:pt idx="247">
                  <c:v>18.399999999999999</c:v>
                </c:pt>
                <c:pt idx="248">
                  <c:v>18.399999999999999</c:v>
                </c:pt>
                <c:pt idx="249">
                  <c:v>18.399999999999999</c:v>
                </c:pt>
                <c:pt idx="250">
                  <c:v>18.5</c:v>
                </c:pt>
                <c:pt idx="251">
                  <c:v>18.5</c:v>
                </c:pt>
                <c:pt idx="252">
                  <c:v>18.5</c:v>
                </c:pt>
                <c:pt idx="253">
                  <c:v>18.600000000000001</c:v>
                </c:pt>
                <c:pt idx="254">
                  <c:v>18.600000000000001</c:v>
                </c:pt>
                <c:pt idx="255">
                  <c:v>18.600000000000001</c:v>
                </c:pt>
                <c:pt idx="256">
                  <c:v>18.600000000000001</c:v>
                </c:pt>
                <c:pt idx="257">
                  <c:v>18.600000000000001</c:v>
                </c:pt>
                <c:pt idx="258">
                  <c:v>18.600000000000001</c:v>
                </c:pt>
                <c:pt idx="259">
                  <c:v>18.600000000000001</c:v>
                </c:pt>
                <c:pt idx="260">
                  <c:v>18.600000000000001</c:v>
                </c:pt>
                <c:pt idx="261">
                  <c:v>18.7</c:v>
                </c:pt>
                <c:pt idx="262">
                  <c:v>18.7</c:v>
                </c:pt>
                <c:pt idx="263">
                  <c:v>18.8</c:v>
                </c:pt>
                <c:pt idx="264">
                  <c:v>18.8</c:v>
                </c:pt>
                <c:pt idx="265">
                  <c:v>18.899999999999999</c:v>
                </c:pt>
                <c:pt idx="266">
                  <c:v>18.899999999999999</c:v>
                </c:pt>
                <c:pt idx="267">
                  <c:v>19</c:v>
                </c:pt>
                <c:pt idx="268">
                  <c:v>19.2</c:v>
                </c:pt>
                <c:pt idx="269">
                  <c:v>19.2</c:v>
                </c:pt>
                <c:pt idx="270">
                  <c:v>19.3</c:v>
                </c:pt>
                <c:pt idx="271">
                  <c:v>19.3</c:v>
                </c:pt>
                <c:pt idx="272">
                  <c:v>19.3</c:v>
                </c:pt>
                <c:pt idx="273">
                  <c:v>19.5</c:v>
                </c:pt>
                <c:pt idx="274">
                  <c:v>19.600000000000001</c:v>
                </c:pt>
                <c:pt idx="275">
                  <c:v>19.600000000000001</c:v>
                </c:pt>
                <c:pt idx="276">
                  <c:v>19.600000000000001</c:v>
                </c:pt>
                <c:pt idx="277">
                  <c:v>19.7</c:v>
                </c:pt>
                <c:pt idx="278">
                  <c:v>19.7</c:v>
                </c:pt>
                <c:pt idx="279">
                  <c:v>19.7</c:v>
                </c:pt>
                <c:pt idx="280">
                  <c:v>20</c:v>
                </c:pt>
                <c:pt idx="281">
                  <c:v>20.100000000000001</c:v>
                </c:pt>
                <c:pt idx="282">
                  <c:v>20.100000000000001</c:v>
                </c:pt>
                <c:pt idx="283">
                  <c:v>20.3</c:v>
                </c:pt>
                <c:pt idx="284">
                  <c:v>20.399999999999999</c:v>
                </c:pt>
                <c:pt idx="285">
                  <c:v>20.399999999999999</c:v>
                </c:pt>
                <c:pt idx="286">
                  <c:v>20.399999999999999</c:v>
                </c:pt>
                <c:pt idx="287">
                  <c:v>20.5</c:v>
                </c:pt>
                <c:pt idx="288">
                  <c:v>20.5</c:v>
                </c:pt>
                <c:pt idx="289">
                  <c:v>20.5</c:v>
                </c:pt>
                <c:pt idx="290">
                  <c:v>20.6</c:v>
                </c:pt>
                <c:pt idx="291">
                  <c:v>20.6</c:v>
                </c:pt>
                <c:pt idx="292">
                  <c:v>20.6</c:v>
                </c:pt>
                <c:pt idx="293">
                  <c:v>20.7</c:v>
                </c:pt>
                <c:pt idx="294">
                  <c:v>20.7</c:v>
                </c:pt>
                <c:pt idx="295">
                  <c:v>20.7</c:v>
                </c:pt>
                <c:pt idx="296">
                  <c:v>20.8</c:v>
                </c:pt>
                <c:pt idx="297">
                  <c:v>20.8</c:v>
                </c:pt>
                <c:pt idx="298">
                  <c:v>20.8</c:v>
                </c:pt>
                <c:pt idx="299">
                  <c:v>20.8</c:v>
                </c:pt>
                <c:pt idx="300">
                  <c:v>20.8</c:v>
                </c:pt>
                <c:pt idx="301">
                  <c:v>20.9</c:v>
                </c:pt>
                <c:pt idx="302">
                  <c:v>20.9</c:v>
                </c:pt>
                <c:pt idx="303">
                  <c:v>20.9</c:v>
                </c:pt>
                <c:pt idx="304">
                  <c:v>20.9</c:v>
                </c:pt>
                <c:pt idx="305">
                  <c:v>21</c:v>
                </c:pt>
                <c:pt idx="306">
                  <c:v>21</c:v>
                </c:pt>
                <c:pt idx="307">
                  <c:v>21</c:v>
                </c:pt>
                <c:pt idx="308">
                  <c:v>21</c:v>
                </c:pt>
                <c:pt idx="309">
                  <c:v>21.1</c:v>
                </c:pt>
                <c:pt idx="310">
                  <c:v>21.1</c:v>
                </c:pt>
                <c:pt idx="311">
                  <c:v>21.2</c:v>
                </c:pt>
                <c:pt idx="312">
                  <c:v>21.2</c:v>
                </c:pt>
                <c:pt idx="313">
                  <c:v>21.2</c:v>
                </c:pt>
                <c:pt idx="314">
                  <c:v>21.2</c:v>
                </c:pt>
                <c:pt idx="315">
                  <c:v>21.3</c:v>
                </c:pt>
                <c:pt idx="316">
                  <c:v>21.3</c:v>
                </c:pt>
                <c:pt idx="317">
                  <c:v>21.3</c:v>
                </c:pt>
                <c:pt idx="318">
                  <c:v>21.3</c:v>
                </c:pt>
                <c:pt idx="319">
                  <c:v>21.3</c:v>
                </c:pt>
                <c:pt idx="320">
                  <c:v>21.3</c:v>
                </c:pt>
                <c:pt idx="321">
                  <c:v>21.4</c:v>
                </c:pt>
                <c:pt idx="322">
                  <c:v>21.4</c:v>
                </c:pt>
                <c:pt idx="323">
                  <c:v>21.4</c:v>
                </c:pt>
                <c:pt idx="324">
                  <c:v>21.4</c:v>
                </c:pt>
                <c:pt idx="325">
                  <c:v>21.4</c:v>
                </c:pt>
                <c:pt idx="326">
                  <c:v>21.4</c:v>
                </c:pt>
                <c:pt idx="327">
                  <c:v>21.5</c:v>
                </c:pt>
                <c:pt idx="328">
                  <c:v>21.5</c:v>
                </c:pt>
                <c:pt idx="329">
                  <c:v>21.5</c:v>
                </c:pt>
                <c:pt idx="330">
                  <c:v>21.6</c:v>
                </c:pt>
                <c:pt idx="331">
                  <c:v>21.6</c:v>
                </c:pt>
                <c:pt idx="332">
                  <c:v>21.6</c:v>
                </c:pt>
                <c:pt idx="333">
                  <c:v>21.6</c:v>
                </c:pt>
                <c:pt idx="334">
                  <c:v>21.7</c:v>
                </c:pt>
                <c:pt idx="335">
                  <c:v>21.7</c:v>
                </c:pt>
                <c:pt idx="336">
                  <c:v>21.7</c:v>
                </c:pt>
                <c:pt idx="337">
                  <c:v>21.7</c:v>
                </c:pt>
                <c:pt idx="338">
                  <c:v>21.7</c:v>
                </c:pt>
                <c:pt idx="339">
                  <c:v>21.7</c:v>
                </c:pt>
                <c:pt idx="340">
                  <c:v>21.7</c:v>
                </c:pt>
                <c:pt idx="341">
                  <c:v>21.7</c:v>
                </c:pt>
                <c:pt idx="342">
                  <c:v>21.8</c:v>
                </c:pt>
                <c:pt idx="343">
                  <c:v>21.8</c:v>
                </c:pt>
                <c:pt idx="344">
                  <c:v>21.8</c:v>
                </c:pt>
                <c:pt idx="345">
                  <c:v>21.8</c:v>
                </c:pt>
                <c:pt idx="346">
                  <c:v>21.9</c:v>
                </c:pt>
                <c:pt idx="347">
                  <c:v>21.9</c:v>
                </c:pt>
                <c:pt idx="348">
                  <c:v>21.9</c:v>
                </c:pt>
                <c:pt idx="349">
                  <c:v>21.9</c:v>
                </c:pt>
                <c:pt idx="350">
                  <c:v>22</c:v>
                </c:pt>
                <c:pt idx="351">
                  <c:v>22</c:v>
                </c:pt>
                <c:pt idx="352">
                  <c:v>22</c:v>
                </c:pt>
                <c:pt idx="353">
                  <c:v>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C46-4916-A84B-D8C35803D76B}"/>
            </c:ext>
          </c:extLst>
        </c:ser>
        <c:ser>
          <c:idx val="3"/>
          <c:order val="2"/>
          <c:tx>
            <c:strRef>
              <c:f>'[PLAN TV ABIERTA + CABLE1]CURVA'!$D$1</c:f>
              <c:strCache>
                <c:ptCount val="1"/>
                <c:pt idx="0">
                  <c:v>3+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'[PLAN TV ABIERTA + CABLE1]CURVA'!$A$2:$A$355</c:f>
              <c:numCache>
                <c:formatCode>#,##0.0</c:formatCode>
                <c:ptCount val="354"/>
                <c:pt idx="0">
                  <c:v>0.2</c:v>
                </c:pt>
                <c:pt idx="1">
                  <c:v>0.4</c:v>
                </c:pt>
                <c:pt idx="2">
                  <c:v>0.7</c:v>
                </c:pt>
                <c:pt idx="3">
                  <c:v>1.5</c:v>
                </c:pt>
                <c:pt idx="4">
                  <c:v>1.7</c:v>
                </c:pt>
                <c:pt idx="5">
                  <c:v>1.9</c:v>
                </c:pt>
                <c:pt idx="6">
                  <c:v>2.1</c:v>
                </c:pt>
                <c:pt idx="7">
                  <c:v>2.4</c:v>
                </c:pt>
                <c:pt idx="8">
                  <c:v>3.5</c:v>
                </c:pt>
                <c:pt idx="9">
                  <c:v>4.7</c:v>
                </c:pt>
                <c:pt idx="10">
                  <c:v>5.2</c:v>
                </c:pt>
                <c:pt idx="11">
                  <c:v>6.5</c:v>
                </c:pt>
                <c:pt idx="12">
                  <c:v>6.7</c:v>
                </c:pt>
                <c:pt idx="13">
                  <c:v>7.8</c:v>
                </c:pt>
                <c:pt idx="14">
                  <c:v>8</c:v>
                </c:pt>
                <c:pt idx="15">
                  <c:v>8.1999999999999993</c:v>
                </c:pt>
                <c:pt idx="16">
                  <c:v>8.5</c:v>
                </c:pt>
                <c:pt idx="17">
                  <c:v>8.8000000000000007</c:v>
                </c:pt>
                <c:pt idx="18">
                  <c:v>9.1</c:v>
                </c:pt>
                <c:pt idx="19">
                  <c:v>9.4</c:v>
                </c:pt>
                <c:pt idx="20">
                  <c:v>9.6</c:v>
                </c:pt>
                <c:pt idx="21">
                  <c:v>11.4</c:v>
                </c:pt>
                <c:pt idx="22">
                  <c:v>11.6</c:v>
                </c:pt>
                <c:pt idx="23">
                  <c:v>11.8</c:v>
                </c:pt>
                <c:pt idx="24">
                  <c:v>12.3</c:v>
                </c:pt>
                <c:pt idx="25">
                  <c:v>12.6</c:v>
                </c:pt>
                <c:pt idx="26">
                  <c:v>12.7</c:v>
                </c:pt>
                <c:pt idx="27">
                  <c:v>13.2</c:v>
                </c:pt>
                <c:pt idx="28">
                  <c:v>14.4</c:v>
                </c:pt>
                <c:pt idx="29">
                  <c:v>15.4</c:v>
                </c:pt>
                <c:pt idx="30">
                  <c:v>16.399999999999999</c:v>
                </c:pt>
                <c:pt idx="31">
                  <c:v>17.399999999999999</c:v>
                </c:pt>
                <c:pt idx="32">
                  <c:v>17.7</c:v>
                </c:pt>
                <c:pt idx="33">
                  <c:v>18</c:v>
                </c:pt>
                <c:pt idx="34">
                  <c:v>18.3</c:v>
                </c:pt>
                <c:pt idx="35">
                  <c:v>18.600000000000001</c:v>
                </c:pt>
                <c:pt idx="36">
                  <c:v>18.899999999999999</c:v>
                </c:pt>
                <c:pt idx="37">
                  <c:v>19.2</c:v>
                </c:pt>
                <c:pt idx="38">
                  <c:v>19.3</c:v>
                </c:pt>
                <c:pt idx="39">
                  <c:v>19.399999999999999</c:v>
                </c:pt>
                <c:pt idx="40">
                  <c:v>19.5</c:v>
                </c:pt>
                <c:pt idx="41">
                  <c:v>19.600000000000001</c:v>
                </c:pt>
                <c:pt idx="42">
                  <c:v>19.7</c:v>
                </c:pt>
                <c:pt idx="43">
                  <c:v>19.8</c:v>
                </c:pt>
                <c:pt idx="44">
                  <c:v>20</c:v>
                </c:pt>
                <c:pt idx="45">
                  <c:v>20.2</c:v>
                </c:pt>
                <c:pt idx="46">
                  <c:v>20.399999999999999</c:v>
                </c:pt>
                <c:pt idx="47">
                  <c:v>20.7</c:v>
                </c:pt>
                <c:pt idx="48">
                  <c:v>21.7</c:v>
                </c:pt>
                <c:pt idx="49">
                  <c:v>22.7</c:v>
                </c:pt>
                <c:pt idx="50">
                  <c:v>23.7</c:v>
                </c:pt>
                <c:pt idx="51">
                  <c:v>24</c:v>
                </c:pt>
                <c:pt idx="52">
                  <c:v>24.3</c:v>
                </c:pt>
                <c:pt idx="53">
                  <c:v>24.6</c:v>
                </c:pt>
                <c:pt idx="54">
                  <c:v>24.9</c:v>
                </c:pt>
                <c:pt idx="55">
                  <c:v>25.2</c:v>
                </c:pt>
                <c:pt idx="56">
                  <c:v>25.5</c:v>
                </c:pt>
                <c:pt idx="57">
                  <c:v>25.6</c:v>
                </c:pt>
                <c:pt idx="58">
                  <c:v>25.7</c:v>
                </c:pt>
                <c:pt idx="59">
                  <c:v>25.8</c:v>
                </c:pt>
                <c:pt idx="60">
                  <c:v>25.9</c:v>
                </c:pt>
                <c:pt idx="61">
                  <c:v>26</c:v>
                </c:pt>
                <c:pt idx="62">
                  <c:v>26.1</c:v>
                </c:pt>
                <c:pt idx="63">
                  <c:v>26.3</c:v>
                </c:pt>
                <c:pt idx="64">
                  <c:v>26.6</c:v>
                </c:pt>
                <c:pt idx="65">
                  <c:v>26.8</c:v>
                </c:pt>
                <c:pt idx="66">
                  <c:v>27</c:v>
                </c:pt>
                <c:pt idx="67">
                  <c:v>27.3</c:v>
                </c:pt>
                <c:pt idx="68">
                  <c:v>27.4</c:v>
                </c:pt>
                <c:pt idx="69">
                  <c:v>28.4</c:v>
                </c:pt>
                <c:pt idx="70">
                  <c:v>29.4</c:v>
                </c:pt>
                <c:pt idx="71">
                  <c:v>29.7</c:v>
                </c:pt>
                <c:pt idx="72">
                  <c:v>30</c:v>
                </c:pt>
                <c:pt idx="73">
                  <c:v>30.1</c:v>
                </c:pt>
                <c:pt idx="74">
                  <c:v>30.2</c:v>
                </c:pt>
                <c:pt idx="75">
                  <c:v>30.3</c:v>
                </c:pt>
                <c:pt idx="76">
                  <c:v>30.4</c:v>
                </c:pt>
                <c:pt idx="77">
                  <c:v>30.5</c:v>
                </c:pt>
                <c:pt idx="78">
                  <c:v>30.6</c:v>
                </c:pt>
                <c:pt idx="79">
                  <c:v>30.7</c:v>
                </c:pt>
                <c:pt idx="80">
                  <c:v>30.9</c:v>
                </c:pt>
                <c:pt idx="81">
                  <c:v>31.1</c:v>
                </c:pt>
                <c:pt idx="82">
                  <c:v>31.4</c:v>
                </c:pt>
                <c:pt idx="83">
                  <c:v>31.5</c:v>
                </c:pt>
                <c:pt idx="84">
                  <c:v>32.6</c:v>
                </c:pt>
                <c:pt idx="85">
                  <c:v>32.799999999999997</c:v>
                </c:pt>
                <c:pt idx="86">
                  <c:v>33</c:v>
                </c:pt>
                <c:pt idx="87">
                  <c:v>33.299999999999997</c:v>
                </c:pt>
                <c:pt idx="88">
                  <c:v>34.4</c:v>
                </c:pt>
                <c:pt idx="89">
                  <c:v>35.4</c:v>
                </c:pt>
                <c:pt idx="90">
                  <c:v>36.200000000000003</c:v>
                </c:pt>
                <c:pt idx="91">
                  <c:v>37.200000000000003</c:v>
                </c:pt>
                <c:pt idx="92">
                  <c:v>37.700000000000003</c:v>
                </c:pt>
                <c:pt idx="93">
                  <c:v>39</c:v>
                </c:pt>
                <c:pt idx="94">
                  <c:v>39.200000000000003</c:v>
                </c:pt>
                <c:pt idx="95">
                  <c:v>39.4</c:v>
                </c:pt>
                <c:pt idx="96">
                  <c:v>39.6</c:v>
                </c:pt>
                <c:pt idx="97">
                  <c:v>39.9</c:v>
                </c:pt>
                <c:pt idx="98">
                  <c:v>40.1</c:v>
                </c:pt>
                <c:pt idx="99">
                  <c:v>40.299999999999997</c:v>
                </c:pt>
                <c:pt idx="100">
                  <c:v>40.5</c:v>
                </c:pt>
                <c:pt idx="101">
                  <c:v>40.799999999999997</c:v>
                </c:pt>
                <c:pt idx="102">
                  <c:v>41.5</c:v>
                </c:pt>
                <c:pt idx="103">
                  <c:v>41.8</c:v>
                </c:pt>
                <c:pt idx="104">
                  <c:v>42.1</c:v>
                </c:pt>
                <c:pt idx="105">
                  <c:v>42.4</c:v>
                </c:pt>
                <c:pt idx="106">
                  <c:v>43.4</c:v>
                </c:pt>
                <c:pt idx="107">
                  <c:v>43.9</c:v>
                </c:pt>
                <c:pt idx="108">
                  <c:v>45.2</c:v>
                </c:pt>
                <c:pt idx="109">
                  <c:v>45.4</c:v>
                </c:pt>
                <c:pt idx="110">
                  <c:v>47.2</c:v>
                </c:pt>
                <c:pt idx="111">
                  <c:v>47.4</c:v>
                </c:pt>
                <c:pt idx="112">
                  <c:v>47.6</c:v>
                </c:pt>
                <c:pt idx="113">
                  <c:v>47.9</c:v>
                </c:pt>
                <c:pt idx="114">
                  <c:v>48</c:v>
                </c:pt>
                <c:pt idx="115">
                  <c:v>49.2</c:v>
                </c:pt>
                <c:pt idx="116">
                  <c:v>49.7</c:v>
                </c:pt>
                <c:pt idx="117">
                  <c:v>50.7</c:v>
                </c:pt>
                <c:pt idx="118">
                  <c:v>51.7</c:v>
                </c:pt>
                <c:pt idx="119">
                  <c:v>52.7</c:v>
                </c:pt>
                <c:pt idx="120">
                  <c:v>53</c:v>
                </c:pt>
                <c:pt idx="121">
                  <c:v>53.3</c:v>
                </c:pt>
                <c:pt idx="122">
                  <c:v>53.6</c:v>
                </c:pt>
                <c:pt idx="123">
                  <c:v>53.9</c:v>
                </c:pt>
                <c:pt idx="124">
                  <c:v>54.2</c:v>
                </c:pt>
                <c:pt idx="125">
                  <c:v>54.5</c:v>
                </c:pt>
                <c:pt idx="126">
                  <c:v>54.6</c:v>
                </c:pt>
                <c:pt idx="127">
                  <c:v>54.7</c:v>
                </c:pt>
                <c:pt idx="128">
                  <c:v>54.8</c:v>
                </c:pt>
                <c:pt idx="129">
                  <c:v>54.9</c:v>
                </c:pt>
                <c:pt idx="130">
                  <c:v>55</c:v>
                </c:pt>
                <c:pt idx="131">
                  <c:v>55.1</c:v>
                </c:pt>
                <c:pt idx="132">
                  <c:v>55.3</c:v>
                </c:pt>
                <c:pt idx="133">
                  <c:v>55.5</c:v>
                </c:pt>
                <c:pt idx="134">
                  <c:v>55.7</c:v>
                </c:pt>
                <c:pt idx="135">
                  <c:v>56</c:v>
                </c:pt>
                <c:pt idx="136">
                  <c:v>57</c:v>
                </c:pt>
                <c:pt idx="137">
                  <c:v>58</c:v>
                </c:pt>
                <c:pt idx="138">
                  <c:v>59</c:v>
                </c:pt>
                <c:pt idx="139">
                  <c:v>59.3</c:v>
                </c:pt>
                <c:pt idx="140">
                  <c:v>59.6</c:v>
                </c:pt>
                <c:pt idx="141">
                  <c:v>59.9</c:v>
                </c:pt>
                <c:pt idx="142">
                  <c:v>60.2</c:v>
                </c:pt>
                <c:pt idx="143">
                  <c:v>60.5</c:v>
                </c:pt>
                <c:pt idx="144">
                  <c:v>60.8</c:v>
                </c:pt>
                <c:pt idx="145">
                  <c:v>60.9</c:v>
                </c:pt>
                <c:pt idx="146">
                  <c:v>61</c:v>
                </c:pt>
                <c:pt idx="147">
                  <c:v>61.1</c:v>
                </c:pt>
                <c:pt idx="148">
                  <c:v>61.2</c:v>
                </c:pt>
                <c:pt idx="149">
                  <c:v>61.3</c:v>
                </c:pt>
                <c:pt idx="150">
                  <c:v>61.4</c:v>
                </c:pt>
                <c:pt idx="151">
                  <c:v>61.5</c:v>
                </c:pt>
                <c:pt idx="152">
                  <c:v>61.7</c:v>
                </c:pt>
                <c:pt idx="153">
                  <c:v>62</c:v>
                </c:pt>
                <c:pt idx="154">
                  <c:v>62.2</c:v>
                </c:pt>
                <c:pt idx="155">
                  <c:v>62.4</c:v>
                </c:pt>
                <c:pt idx="156">
                  <c:v>62.7</c:v>
                </c:pt>
                <c:pt idx="157">
                  <c:v>62.8</c:v>
                </c:pt>
                <c:pt idx="158">
                  <c:v>63.8</c:v>
                </c:pt>
                <c:pt idx="159">
                  <c:v>64.8</c:v>
                </c:pt>
                <c:pt idx="160">
                  <c:v>65.099999999999994</c:v>
                </c:pt>
                <c:pt idx="161">
                  <c:v>65.400000000000006</c:v>
                </c:pt>
                <c:pt idx="162">
                  <c:v>65.7</c:v>
                </c:pt>
                <c:pt idx="163">
                  <c:v>65.8</c:v>
                </c:pt>
                <c:pt idx="164">
                  <c:v>65.900000000000006</c:v>
                </c:pt>
                <c:pt idx="165">
                  <c:v>66</c:v>
                </c:pt>
                <c:pt idx="166">
                  <c:v>66.099999999999994</c:v>
                </c:pt>
                <c:pt idx="167">
                  <c:v>66.2</c:v>
                </c:pt>
                <c:pt idx="168">
                  <c:v>66.3</c:v>
                </c:pt>
                <c:pt idx="169">
                  <c:v>66.400000000000006</c:v>
                </c:pt>
                <c:pt idx="170">
                  <c:v>66.5</c:v>
                </c:pt>
                <c:pt idx="171">
                  <c:v>66.7</c:v>
                </c:pt>
                <c:pt idx="172">
                  <c:v>66.900000000000006</c:v>
                </c:pt>
                <c:pt idx="173">
                  <c:v>67.2</c:v>
                </c:pt>
                <c:pt idx="174">
                  <c:v>67.3</c:v>
                </c:pt>
                <c:pt idx="175">
                  <c:v>68.400000000000006</c:v>
                </c:pt>
                <c:pt idx="176">
                  <c:v>68.599999999999994</c:v>
                </c:pt>
                <c:pt idx="177">
                  <c:v>68.8</c:v>
                </c:pt>
                <c:pt idx="178">
                  <c:v>69.099999999999994</c:v>
                </c:pt>
                <c:pt idx="179">
                  <c:v>69.900000000000006</c:v>
                </c:pt>
                <c:pt idx="180">
                  <c:v>70.400000000000006</c:v>
                </c:pt>
                <c:pt idx="181">
                  <c:v>71.7</c:v>
                </c:pt>
                <c:pt idx="182">
                  <c:v>71.900000000000006</c:v>
                </c:pt>
                <c:pt idx="183">
                  <c:v>73.7</c:v>
                </c:pt>
                <c:pt idx="184">
                  <c:v>73.900000000000006</c:v>
                </c:pt>
                <c:pt idx="185">
                  <c:v>74.099999999999994</c:v>
                </c:pt>
                <c:pt idx="186">
                  <c:v>74.400000000000006</c:v>
                </c:pt>
                <c:pt idx="187">
                  <c:v>75.5</c:v>
                </c:pt>
                <c:pt idx="188">
                  <c:v>76.5</c:v>
                </c:pt>
                <c:pt idx="189">
                  <c:v>78.2</c:v>
                </c:pt>
                <c:pt idx="190">
                  <c:v>78.400000000000006</c:v>
                </c:pt>
                <c:pt idx="191">
                  <c:v>78.599999999999994</c:v>
                </c:pt>
                <c:pt idx="192">
                  <c:v>78.8</c:v>
                </c:pt>
                <c:pt idx="193">
                  <c:v>79.099999999999994</c:v>
                </c:pt>
                <c:pt idx="194">
                  <c:v>79.400000000000006</c:v>
                </c:pt>
                <c:pt idx="195">
                  <c:v>79.7</c:v>
                </c:pt>
                <c:pt idx="196">
                  <c:v>80</c:v>
                </c:pt>
                <c:pt idx="197">
                  <c:v>81</c:v>
                </c:pt>
                <c:pt idx="198">
                  <c:v>81.2</c:v>
                </c:pt>
                <c:pt idx="199">
                  <c:v>81.400000000000006</c:v>
                </c:pt>
                <c:pt idx="200">
                  <c:v>81.599999999999994</c:v>
                </c:pt>
                <c:pt idx="201">
                  <c:v>82.1</c:v>
                </c:pt>
                <c:pt idx="202">
                  <c:v>82.4</c:v>
                </c:pt>
                <c:pt idx="203">
                  <c:v>82.5</c:v>
                </c:pt>
                <c:pt idx="204">
                  <c:v>83</c:v>
                </c:pt>
                <c:pt idx="205">
                  <c:v>83.7</c:v>
                </c:pt>
                <c:pt idx="206">
                  <c:v>84.9</c:v>
                </c:pt>
                <c:pt idx="207">
                  <c:v>85.9</c:v>
                </c:pt>
                <c:pt idx="208">
                  <c:v>86.9</c:v>
                </c:pt>
                <c:pt idx="209">
                  <c:v>87.9</c:v>
                </c:pt>
                <c:pt idx="210">
                  <c:v>88.2</c:v>
                </c:pt>
                <c:pt idx="211">
                  <c:v>88.5</c:v>
                </c:pt>
                <c:pt idx="212">
                  <c:v>88.8</c:v>
                </c:pt>
                <c:pt idx="213">
                  <c:v>89.1</c:v>
                </c:pt>
                <c:pt idx="214">
                  <c:v>89.4</c:v>
                </c:pt>
                <c:pt idx="215">
                  <c:v>89.7</c:v>
                </c:pt>
                <c:pt idx="216">
                  <c:v>89.8</c:v>
                </c:pt>
                <c:pt idx="217">
                  <c:v>89.9</c:v>
                </c:pt>
                <c:pt idx="218">
                  <c:v>90</c:v>
                </c:pt>
                <c:pt idx="219">
                  <c:v>90.1</c:v>
                </c:pt>
                <c:pt idx="220">
                  <c:v>90.2</c:v>
                </c:pt>
                <c:pt idx="221">
                  <c:v>90.3</c:v>
                </c:pt>
                <c:pt idx="222">
                  <c:v>92</c:v>
                </c:pt>
                <c:pt idx="223">
                  <c:v>92.2</c:v>
                </c:pt>
                <c:pt idx="224">
                  <c:v>92.4</c:v>
                </c:pt>
                <c:pt idx="225">
                  <c:v>92.6</c:v>
                </c:pt>
                <c:pt idx="226">
                  <c:v>92.9</c:v>
                </c:pt>
                <c:pt idx="227">
                  <c:v>93.9</c:v>
                </c:pt>
                <c:pt idx="228">
                  <c:v>94.9</c:v>
                </c:pt>
                <c:pt idx="229">
                  <c:v>95.9</c:v>
                </c:pt>
                <c:pt idx="230">
                  <c:v>96.2</c:v>
                </c:pt>
                <c:pt idx="231">
                  <c:v>96.5</c:v>
                </c:pt>
                <c:pt idx="232">
                  <c:v>96.8</c:v>
                </c:pt>
                <c:pt idx="233">
                  <c:v>97.1</c:v>
                </c:pt>
                <c:pt idx="234">
                  <c:v>97.4</c:v>
                </c:pt>
                <c:pt idx="235">
                  <c:v>97.7</c:v>
                </c:pt>
                <c:pt idx="236">
                  <c:v>97.8</c:v>
                </c:pt>
                <c:pt idx="237">
                  <c:v>97.9</c:v>
                </c:pt>
                <c:pt idx="238">
                  <c:v>98</c:v>
                </c:pt>
                <c:pt idx="239">
                  <c:v>98.1</c:v>
                </c:pt>
                <c:pt idx="240">
                  <c:v>98.2</c:v>
                </c:pt>
                <c:pt idx="241">
                  <c:v>98.3</c:v>
                </c:pt>
                <c:pt idx="242">
                  <c:v>98.5</c:v>
                </c:pt>
                <c:pt idx="243">
                  <c:v>98.8</c:v>
                </c:pt>
                <c:pt idx="244">
                  <c:v>99</c:v>
                </c:pt>
                <c:pt idx="245">
                  <c:v>99.2</c:v>
                </c:pt>
                <c:pt idx="246">
                  <c:v>99.5</c:v>
                </c:pt>
                <c:pt idx="247">
                  <c:v>99.6</c:v>
                </c:pt>
                <c:pt idx="248">
                  <c:v>100.6</c:v>
                </c:pt>
                <c:pt idx="249">
                  <c:v>101.6</c:v>
                </c:pt>
                <c:pt idx="250">
                  <c:v>101.9</c:v>
                </c:pt>
                <c:pt idx="251">
                  <c:v>102.2</c:v>
                </c:pt>
                <c:pt idx="252">
                  <c:v>102.3</c:v>
                </c:pt>
                <c:pt idx="253">
                  <c:v>102.4</c:v>
                </c:pt>
                <c:pt idx="254">
                  <c:v>102.5</c:v>
                </c:pt>
                <c:pt idx="255">
                  <c:v>102.6</c:v>
                </c:pt>
                <c:pt idx="256">
                  <c:v>102.7</c:v>
                </c:pt>
                <c:pt idx="257">
                  <c:v>102.8</c:v>
                </c:pt>
                <c:pt idx="258">
                  <c:v>102.9</c:v>
                </c:pt>
                <c:pt idx="259">
                  <c:v>103.1</c:v>
                </c:pt>
                <c:pt idx="260">
                  <c:v>103.3</c:v>
                </c:pt>
                <c:pt idx="261">
                  <c:v>103.6</c:v>
                </c:pt>
                <c:pt idx="262">
                  <c:v>103.7</c:v>
                </c:pt>
                <c:pt idx="263">
                  <c:v>104.8</c:v>
                </c:pt>
                <c:pt idx="264">
                  <c:v>105</c:v>
                </c:pt>
                <c:pt idx="265">
                  <c:v>105.2</c:v>
                </c:pt>
                <c:pt idx="266">
                  <c:v>105.5</c:v>
                </c:pt>
                <c:pt idx="267">
                  <c:v>106.5</c:v>
                </c:pt>
                <c:pt idx="268">
                  <c:v>107.5</c:v>
                </c:pt>
                <c:pt idx="269">
                  <c:v>107.7</c:v>
                </c:pt>
                <c:pt idx="270">
                  <c:v>107.9</c:v>
                </c:pt>
                <c:pt idx="271">
                  <c:v>108.1</c:v>
                </c:pt>
                <c:pt idx="272">
                  <c:v>108.4</c:v>
                </c:pt>
                <c:pt idx="273">
                  <c:v>109.5</c:v>
                </c:pt>
                <c:pt idx="274">
                  <c:v>110.5</c:v>
                </c:pt>
                <c:pt idx="275">
                  <c:v>110.7</c:v>
                </c:pt>
                <c:pt idx="276">
                  <c:v>111</c:v>
                </c:pt>
                <c:pt idx="277">
                  <c:v>111.3</c:v>
                </c:pt>
                <c:pt idx="278">
                  <c:v>111.6</c:v>
                </c:pt>
                <c:pt idx="279">
                  <c:v>111.9</c:v>
                </c:pt>
                <c:pt idx="280">
                  <c:v>113.6</c:v>
                </c:pt>
                <c:pt idx="281">
                  <c:v>114.1</c:v>
                </c:pt>
                <c:pt idx="282">
                  <c:v>114.6</c:v>
                </c:pt>
                <c:pt idx="283">
                  <c:v>115.9</c:v>
                </c:pt>
                <c:pt idx="284">
                  <c:v>116.1</c:v>
                </c:pt>
                <c:pt idx="285">
                  <c:v>116.3</c:v>
                </c:pt>
                <c:pt idx="286">
                  <c:v>116.5</c:v>
                </c:pt>
                <c:pt idx="287">
                  <c:v>116.8</c:v>
                </c:pt>
                <c:pt idx="288">
                  <c:v>117.3</c:v>
                </c:pt>
                <c:pt idx="289">
                  <c:v>118.3</c:v>
                </c:pt>
                <c:pt idx="290">
                  <c:v>119.3</c:v>
                </c:pt>
                <c:pt idx="291">
                  <c:v>120.3</c:v>
                </c:pt>
                <c:pt idx="292">
                  <c:v>120.6</c:v>
                </c:pt>
                <c:pt idx="293">
                  <c:v>120.9</c:v>
                </c:pt>
                <c:pt idx="294">
                  <c:v>121.2</c:v>
                </c:pt>
                <c:pt idx="295">
                  <c:v>121.5</c:v>
                </c:pt>
                <c:pt idx="296">
                  <c:v>121.8</c:v>
                </c:pt>
                <c:pt idx="297">
                  <c:v>122.1</c:v>
                </c:pt>
                <c:pt idx="298">
                  <c:v>122.2</c:v>
                </c:pt>
                <c:pt idx="299">
                  <c:v>122.3</c:v>
                </c:pt>
                <c:pt idx="300">
                  <c:v>122.4</c:v>
                </c:pt>
                <c:pt idx="301">
                  <c:v>122.5</c:v>
                </c:pt>
                <c:pt idx="302">
                  <c:v>122.6</c:v>
                </c:pt>
                <c:pt idx="303">
                  <c:v>122.7</c:v>
                </c:pt>
                <c:pt idx="304">
                  <c:v>122.9</c:v>
                </c:pt>
                <c:pt idx="305">
                  <c:v>123.2</c:v>
                </c:pt>
                <c:pt idx="306">
                  <c:v>123.4</c:v>
                </c:pt>
                <c:pt idx="307">
                  <c:v>123.6</c:v>
                </c:pt>
                <c:pt idx="308">
                  <c:v>123.9</c:v>
                </c:pt>
                <c:pt idx="309">
                  <c:v>124.9</c:v>
                </c:pt>
                <c:pt idx="310">
                  <c:v>125.9</c:v>
                </c:pt>
                <c:pt idx="311">
                  <c:v>126.2</c:v>
                </c:pt>
                <c:pt idx="312">
                  <c:v>126.5</c:v>
                </c:pt>
                <c:pt idx="313">
                  <c:v>126.8</c:v>
                </c:pt>
                <c:pt idx="314">
                  <c:v>127.1</c:v>
                </c:pt>
                <c:pt idx="315">
                  <c:v>127.4</c:v>
                </c:pt>
                <c:pt idx="316">
                  <c:v>127.7</c:v>
                </c:pt>
                <c:pt idx="317">
                  <c:v>127.8</c:v>
                </c:pt>
                <c:pt idx="318">
                  <c:v>127.9</c:v>
                </c:pt>
                <c:pt idx="319">
                  <c:v>128</c:v>
                </c:pt>
                <c:pt idx="320">
                  <c:v>128.1</c:v>
                </c:pt>
                <c:pt idx="321">
                  <c:v>128.19999999999999</c:v>
                </c:pt>
                <c:pt idx="322">
                  <c:v>128.30000000000001</c:v>
                </c:pt>
                <c:pt idx="323">
                  <c:v>128.5</c:v>
                </c:pt>
                <c:pt idx="324">
                  <c:v>128.80000000000001</c:v>
                </c:pt>
                <c:pt idx="325">
                  <c:v>129</c:v>
                </c:pt>
                <c:pt idx="326">
                  <c:v>129.19999999999999</c:v>
                </c:pt>
                <c:pt idx="327">
                  <c:v>129.5</c:v>
                </c:pt>
                <c:pt idx="328">
                  <c:v>129.6</c:v>
                </c:pt>
                <c:pt idx="329">
                  <c:v>130.6</c:v>
                </c:pt>
                <c:pt idx="330">
                  <c:v>131.6</c:v>
                </c:pt>
                <c:pt idx="331">
                  <c:v>131.9</c:v>
                </c:pt>
                <c:pt idx="332">
                  <c:v>132.19999999999999</c:v>
                </c:pt>
                <c:pt idx="333">
                  <c:v>132.30000000000001</c:v>
                </c:pt>
                <c:pt idx="334">
                  <c:v>132.4</c:v>
                </c:pt>
                <c:pt idx="335">
                  <c:v>132.5</c:v>
                </c:pt>
                <c:pt idx="336">
                  <c:v>132.6</c:v>
                </c:pt>
                <c:pt idx="337">
                  <c:v>132.69999999999999</c:v>
                </c:pt>
                <c:pt idx="338">
                  <c:v>132.80000000000001</c:v>
                </c:pt>
                <c:pt idx="339">
                  <c:v>132.9</c:v>
                </c:pt>
                <c:pt idx="340">
                  <c:v>133.1</c:v>
                </c:pt>
                <c:pt idx="341">
                  <c:v>133.30000000000001</c:v>
                </c:pt>
                <c:pt idx="342">
                  <c:v>133.6</c:v>
                </c:pt>
                <c:pt idx="343">
                  <c:v>133.69999999999999</c:v>
                </c:pt>
                <c:pt idx="344">
                  <c:v>133.9</c:v>
                </c:pt>
                <c:pt idx="345">
                  <c:v>134.1</c:v>
                </c:pt>
                <c:pt idx="346">
                  <c:v>134.4</c:v>
                </c:pt>
                <c:pt idx="347">
                  <c:v>134.6</c:v>
                </c:pt>
                <c:pt idx="348">
                  <c:v>134.80000000000001</c:v>
                </c:pt>
                <c:pt idx="349">
                  <c:v>135</c:v>
                </c:pt>
                <c:pt idx="350">
                  <c:v>135.30000000000001</c:v>
                </c:pt>
                <c:pt idx="351">
                  <c:v>135.5</c:v>
                </c:pt>
                <c:pt idx="352">
                  <c:v>135.69999999999999</c:v>
                </c:pt>
                <c:pt idx="353">
                  <c:v>135.9</c:v>
                </c:pt>
              </c:numCache>
            </c:numRef>
          </c:cat>
          <c:val>
            <c:numRef>
              <c:f>'[PLAN TV ABIERTA + CABLE1]CURVA'!$D$2:$D$355</c:f>
              <c:numCache>
                <c:formatCode>#,##0.0</c:formatCode>
                <c:ptCount val="35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.1</c:v>
                </c:pt>
                <c:pt idx="11">
                  <c:v>0.1</c:v>
                </c:pt>
                <c:pt idx="12">
                  <c:v>0.2</c:v>
                </c:pt>
                <c:pt idx="13">
                  <c:v>0.2</c:v>
                </c:pt>
                <c:pt idx="14">
                  <c:v>0.2</c:v>
                </c:pt>
                <c:pt idx="15">
                  <c:v>0.3</c:v>
                </c:pt>
                <c:pt idx="16">
                  <c:v>0.3</c:v>
                </c:pt>
                <c:pt idx="17">
                  <c:v>0.3</c:v>
                </c:pt>
                <c:pt idx="18">
                  <c:v>0.3</c:v>
                </c:pt>
                <c:pt idx="19">
                  <c:v>0.3</c:v>
                </c:pt>
                <c:pt idx="20">
                  <c:v>0.3</c:v>
                </c:pt>
                <c:pt idx="21">
                  <c:v>0.4</c:v>
                </c:pt>
                <c:pt idx="22">
                  <c:v>0.5</c:v>
                </c:pt>
                <c:pt idx="23">
                  <c:v>0.5</c:v>
                </c:pt>
                <c:pt idx="24">
                  <c:v>0.6</c:v>
                </c:pt>
                <c:pt idx="25">
                  <c:v>0.6</c:v>
                </c:pt>
                <c:pt idx="26">
                  <c:v>0.6</c:v>
                </c:pt>
                <c:pt idx="27">
                  <c:v>0.7</c:v>
                </c:pt>
                <c:pt idx="28">
                  <c:v>0.9</c:v>
                </c:pt>
                <c:pt idx="29">
                  <c:v>0.9</c:v>
                </c:pt>
                <c:pt idx="30">
                  <c:v>1</c:v>
                </c:pt>
                <c:pt idx="31">
                  <c:v>1.2</c:v>
                </c:pt>
                <c:pt idx="32">
                  <c:v>1.3</c:v>
                </c:pt>
                <c:pt idx="33">
                  <c:v>1.3</c:v>
                </c:pt>
                <c:pt idx="34">
                  <c:v>1.3</c:v>
                </c:pt>
                <c:pt idx="35">
                  <c:v>1.3</c:v>
                </c:pt>
                <c:pt idx="36">
                  <c:v>1.4</c:v>
                </c:pt>
                <c:pt idx="37">
                  <c:v>1.4</c:v>
                </c:pt>
                <c:pt idx="38">
                  <c:v>1.4</c:v>
                </c:pt>
                <c:pt idx="39">
                  <c:v>1.4</c:v>
                </c:pt>
                <c:pt idx="40">
                  <c:v>1.4</c:v>
                </c:pt>
                <c:pt idx="41">
                  <c:v>1.4</c:v>
                </c:pt>
                <c:pt idx="42">
                  <c:v>1.4</c:v>
                </c:pt>
                <c:pt idx="43">
                  <c:v>1.4</c:v>
                </c:pt>
                <c:pt idx="44">
                  <c:v>1.5</c:v>
                </c:pt>
                <c:pt idx="45">
                  <c:v>1.5</c:v>
                </c:pt>
                <c:pt idx="46">
                  <c:v>1.5</c:v>
                </c:pt>
                <c:pt idx="47">
                  <c:v>1.6</c:v>
                </c:pt>
                <c:pt idx="48">
                  <c:v>1.9</c:v>
                </c:pt>
                <c:pt idx="49">
                  <c:v>2.1</c:v>
                </c:pt>
                <c:pt idx="50">
                  <c:v>2.2999999999999998</c:v>
                </c:pt>
                <c:pt idx="51">
                  <c:v>2.2999999999999998</c:v>
                </c:pt>
                <c:pt idx="52">
                  <c:v>2.4</c:v>
                </c:pt>
                <c:pt idx="53">
                  <c:v>2.4</c:v>
                </c:pt>
                <c:pt idx="54">
                  <c:v>2.5</c:v>
                </c:pt>
                <c:pt idx="55">
                  <c:v>2.5</c:v>
                </c:pt>
                <c:pt idx="56">
                  <c:v>2.5</c:v>
                </c:pt>
                <c:pt idx="57">
                  <c:v>2.6</c:v>
                </c:pt>
                <c:pt idx="58">
                  <c:v>2.6</c:v>
                </c:pt>
                <c:pt idx="59">
                  <c:v>2.6</c:v>
                </c:pt>
                <c:pt idx="60">
                  <c:v>2.6</c:v>
                </c:pt>
                <c:pt idx="61">
                  <c:v>2.6</c:v>
                </c:pt>
                <c:pt idx="62">
                  <c:v>2.6</c:v>
                </c:pt>
                <c:pt idx="63">
                  <c:v>2.7</c:v>
                </c:pt>
                <c:pt idx="64">
                  <c:v>2.7</c:v>
                </c:pt>
                <c:pt idx="65">
                  <c:v>2.7</c:v>
                </c:pt>
                <c:pt idx="66">
                  <c:v>2.7</c:v>
                </c:pt>
                <c:pt idx="67">
                  <c:v>2.8</c:v>
                </c:pt>
                <c:pt idx="68">
                  <c:v>2.8</c:v>
                </c:pt>
                <c:pt idx="69">
                  <c:v>2.9</c:v>
                </c:pt>
                <c:pt idx="70">
                  <c:v>3</c:v>
                </c:pt>
                <c:pt idx="71">
                  <c:v>3.1</c:v>
                </c:pt>
                <c:pt idx="72">
                  <c:v>3.1</c:v>
                </c:pt>
                <c:pt idx="73">
                  <c:v>3.1</c:v>
                </c:pt>
                <c:pt idx="74">
                  <c:v>3.1</c:v>
                </c:pt>
                <c:pt idx="75">
                  <c:v>3.2</c:v>
                </c:pt>
                <c:pt idx="76">
                  <c:v>3.2</c:v>
                </c:pt>
                <c:pt idx="77">
                  <c:v>3.2</c:v>
                </c:pt>
                <c:pt idx="78">
                  <c:v>3.2</c:v>
                </c:pt>
                <c:pt idx="79">
                  <c:v>3.2</c:v>
                </c:pt>
                <c:pt idx="80">
                  <c:v>3.2</c:v>
                </c:pt>
                <c:pt idx="81">
                  <c:v>3.3</c:v>
                </c:pt>
                <c:pt idx="82">
                  <c:v>3.3</c:v>
                </c:pt>
                <c:pt idx="83">
                  <c:v>3.3</c:v>
                </c:pt>
                <c:pt idx="84">
                  <c:v>3.5</c:v>
                </c:pt>
                <c:pt idx="85">
                  <c:v>3.6</c:v>
                </c:pt>
                <c:pt idx="86">
                  <c:v>3.6</c:v>
                </c:pt>
                <c:pt idx="87">
                  <c:v>3.6</c:v>
                </c:pt>
                <c:pt idx="88">
                  <c:v>3.9</c:v>
                </c:pt>
                <c:pt idx="89">
                  <c:v>4</c:v>
                </c:pt>
                <c:pt idx="90">
                  <c:v>4.2</c:v>
                </c:pt>
                <c:pt idx="91">
                  <c:v>4.3</c:v>
                </c:pt>
                <c:pt idx="92">
                  <c:v>4.4000000000000004</c:v>
                </c:pt>
                <c:pt idx="93">
                  <c:v>4.5999999999999996</c:v>
                </c:pt>
                <c:pt idx="94">
                  <c:v>4.5999999999999996</c:v>
                </c:pt>
                <c:pt idx="95">
                  <c:v>4.5999999999999996</c:v>
                </c:pt>
                <c:pt idx="96">
                  <c:v>4.5999999999999996</c:v>
                </c:pt>
                <c:pt idx="97">
                  <c:v>4.7</c:v>
                </c:pt>
                <c:pt idx="98">
                  <c:v>4.7</c:v>
                </c:pt>
                <c:pt idx="99">
                  <c:v>4.7</c:v>
                </c:pt>
                <c:pt idx="100">
                  <c:v>4.8</c:v>
                </c:pt>
                <c:pt idx="101">
                  <c:v>4.8</c:v>
                </c:pt>
                <c:pt idx="102">
                  <c:v>4.9000000000000004</c:v>
                </c:pt>
                <c:pt idx="103">
                  <c:v>5</c:v>
                </c:pt>
                <c:pt idx="104">
                  <c:v>5</c:v>
                </c:pt>
                <c:pt idx="105">
                  <c:v>5.0999999999999996</c:v>
                </c:pt>
                <c:pt idx="106">
                  <c:v>5.3</c:v>
                </c:pt>
                <c:pt idx="107">
                  <c:v>5.4</c:v>
                </c:pt>
                <c:pt idx="108">
                  <c:v>5.6</c:v>
                </c:pt>
                <c:pt idx="109">
                  <c:v>5.6</c:v>
                </c:pt>
                <c:pt idx="110">
                  <c:v>5.9</c:v>
                </c:pt>
                <c:pt idx="111">
                  <c:v>5.9</c:v>
                </c:pt>
                <c:pt idx="112">
                  <c:v>5.9</c:v>
                </c:pt>
                <c:pt idx="113">
                  <c:v>6</c:v>
                </c:pt>
                <c:pt idx="114">
                  <c:v>6</c:v>
                </c:pt>
                <c:pt idx="115">
                  <c:v>6.2</c:v>
                </c:pt>
                <c:pt idx="116">
                  <c:v>6.2</c:v>
                </c:pt>
                <c:pt idx="117">
                  <c:v>6.3</c:v>
                </c:pt>
                <c:pt idx="118">
                  <c:v>6.4</c:v>
                </c:pt>
                <c:pt idx="119">
                  <c:v>6.5</c:v>
                </c:pt>
                <c:pt idx="120">
                  <c:v>6.5</c:v>
                </c:pt>
                <c:pt idx="121">
                  <c:v>6.6</c:v>
                </c:pt>
                <c:pt idx="122">
                  <c:v>6.6</c:v>
                </c:pt>
                <c:pt idx="123">
                  <c:v>6.7</c:v>
                </c:pt>
                <c:pt idx="124">
                  <c:v>6.7</c:v>
                </c:pt>
                <c:pt idx="125">
                  <c:v>6.8</c:v>
                </c:pt>
                <c:pt idx="126">
                  <c:v>6.8</c:v>
                </c:pt>
                <c:pt idx="127">
                  <c:v>6.8</c:v>
                </c:pt>
                <c:pt idx="128">
                  <c:v>6.9</c:v>
                </c:pt>
                <c:pt idx="129">
                  <c:v>6.9</c:v>
                </c:pt>
                <c:pt idx="130">
                  <c:v>6.9</c:v>
                </c:pt>
                <c:pt idx="131">
                  <c:v>6.9</c:v>
                </c:pt>
                <c:pt idx="132">
                  <c:v>6.9</c:v>
                </c:pt>
                <c:pt idx="133">
                  <c:v>7</c:v>
                </c:pt>
                <c:pt idx="134">
                  <c:v>7</c:v>
                </c:pt>
                <c:pt idx="135">
                  <c:v>7.1</c:v>
                </c:pt>
                <c:pt idx="136">
                  <c:v>7.1</c:v>
                </c:pt>
                <c:pt idx="137">
                  <c:v>7.2</c:v>
                </c:pt>
                <c:pt idx="138">
                  <c:v>7.3</c:v>
                </c:pt>
                <c:pt idx="139">
                  <c:v>7.3</c:v>
                </c:pt>
                <c:pt idx="140">
                  <c:v>7.4</c:v>
                </c:pt>
                <c:pt idx="141">
                  <c:v>7.4</c:v>
                </c:pt>
                <c:pt idx="142">
                  <c:v>7.5</c:v>
                </c:pt>
                <c:pt idx="143">
                  <c:v>7.5</c:v>
                </c:pt>
                <c:pt idx="144">
                  <c:v>7.6</c:v>
                </c:pt>
                <c:pt idx="145">
                  <c:v>7.6</c:v>
                </c:pt>
                <c:pt idx="146">
                  <c:v>7.6</c:v>
                </c:pt>
                <c:pt idx="147">
                  <c:v>7.6</c:v>
                </c:pt>
                <c:pt idx="148">
                  <c:v>7.7</c:v>
                </c:pt>
                <c:pt idx="149">
                  <c:v>7.7</c:v>
                </c:pt>
                <c:pt idx="150">
                  <c:v>7.7</c:v>
                </c:pt>
                <c:pt idx="151">
                  <c:v>7.7</c:v>
                </c:pt>
                <c:pt idx="152">
                  <c:v>7.8</c:v>
                </c:pt>
                <c:pt idx="153">
                  <c:v>7.8</c:v>
                </c:pt>
                <c:pt idx="154">
                  <c:v>7.8</c:v>
                </c:pt>
                <c:pt idx="155">
                  <c:v>7.8</c:v>
                </c:pt>
                <c:pt idx="156">
                  <c:v>7.9</c:v>
                </c:pt>
                <c:pt idx="157">
                  <c:v>7.9</c:v>
                </c:pt>
                <c:pt idx="158">
                  <c:v>7.9</c:v>
                </c:pt>
                <c:pt idx="159">
                  <c:v>8</c:v>
                </c:pt>
                <c:pt idx="160">
                  <c:v>8.1</c:v>
                </c:pt>
                <c:pt idx="161">
                  <c:v>8.1</c:v>
                </c:pt>
                <c:pt idx="162">
                  <c:v>8.1999999999999993</c:v>
                </c:pt>
                <c:pt idx="163">
                  <c:v>8.1999999999999993</c:v>
                </c:pt>
                <c:pt idx="164">
                  <c:v>8.1999999999999993</c:v>
                </c:pt>
                <c:pt idx="165">
                  <c:v>8.1999999999999993</c:v>
                </c:pt>
                <c:pt idx="166">
                  <c:v>8.1999999999999993</c:v>
                </c:pt>
                <c:pt idx="167">
                  <c:v>8.3000000000000007</c:v>
                </c:pt>
                <c:pt idx="168">
                  <c:v>8.3000000000000007</c:v>
                </c:pt>
                <c:pt idx="169">
                  <c:v>8.3000000000000007</c:v>
                </c:pt>
                <c:pt idx="170">
                  <c:v>8.3000000000000007</c:v>
                </c:pt>
                <c:pt idx="171">
                  <c:v>8.3000000000000007</c:v>
                </c:pt>
                <c:pt idx="172">
                  <c:v>8.3000000000000007</c:v>
                </c:pt>
                <c:pt idx="173">
                  <c:v>8.4</c:v>
                </c:pt>
                <c:pt idx="174">
                  <c:v>8.4</c:v>
                </c:pt>
                <c:pt idx="175">
                  <c:v>8.6</c:v>
                </c:pt>
                <c:pt idx="176">
                  <c:v>8.6</c:v>
                </c:pt>
                <c:pt idx="177">
                  <c:v>8.6</c:v>
                </c:pt>
                <c:pt idx="178">
                  <c:v>8.6999999999999993</c:v>
                </c:pt>
                <c:pt idx="179">
                  <c:v>8.6999999999999993</c:v>
                </c:pt>
                <c:pt idx="180">
                  <c:v>8.8000000000000007</c:v>
                </c:pt>
                <c:pt idx="181">
                  <c:v>9</c:v>
                </c:pt>
                <c:pt idx="182">
                  <c:v>9</c:v>
                </c:pt>
                <c:pt idx="183">
                  <c:v>9.3000000000000007</c:v>
                </c:pt>
                <c:pt idx="184">
                  <c:v>9.3000000000000007</c:v>
                </c:pt>
                <c:pt idx="185">
                  <c:v>9.4</c:v>
                </c:pt>
                <c:pt idx="186">
                  <c:v>9.4</c:v>
                </c:pt>
                <c:pt idx="187">
                  <c:v>9.6</c:v>
                </c:pt>
                <c:pt idx="188">
                  <c:v>9.6999999999999993</c:v>
                </c:pt>
                <c:pt idx="189">
                  <c:v>9.9</c:v>
                </c:pt>
                <c:pt idx="190">
                  <c:v>9.9</c:v>
                </c:pt>
                <c:pt idx="191">
                  <c:v>10</c:v>
                </c:pt>
                <c:pt idx="192">
                  <c:v>10</c:v>
                </c:pt>
                <c:pt idx="193">
                  <c:v>10</c:v>
                </c:pt>
                <c:pt idx="194">
                  <c:v>10.1</c:v>
                </c:pt>
                <c:pt idx="195">
                  <c:v>10.1</c:v>
                </c:pt>
                <c:pt idx="196">
                  <c:v>10.199999999999999</c:v>
                </c:pt>
                <c:pt idx="197">
                  <c:v>10.3</c:v>
                </c:pt>
                <c:pt idx="198">
                  <c:v>10.3</c:v>
                </c:pt>
                <c:pt idx="199">
                  <c:v>10.4</c:v>
                </c:pt>
                <c:pt idx="200">
                  <c:v>10.4</c:v>
                </c:pt>
                <c:pt idx="201">
                  <c:v>10.5</c:v>
                </c:pt>
                <c:pt idx="202">
                  <c:v>10.5</c:v>
                </c:pt>
                <c:pt idx="203">
                  <c:v>10.5</c:v>
                </c:pt>
                <c:pt idx="204">
                  <c:v>10.6</c:v>
                </c:pt>
                <c:pt idx="205">
                  <c:v>10.7</c:v>
                </c:pt>
                <c:pt idx="206">
                  <c:v>10.8</c:v>
                </c:pt>
                <c:pt idx="207">
                  <c:v>10.9</c:v>
                </c:pt>
                <c:pt idx="208">
                  <c:v>10.9</c:v>
                </c:pt>
                <c:pt idx="209">
                  <c:v>11</c:v>
                </c:pt>
                <c:pt idx="210">
                  <c:v>11</c:v>
                </c:pt>
                <c:pt idx="211">
                  <c:v>11.1</c:v>
                </c:pt>
                <c:pt idx="212">
                  <c:v>11.1</c:v>
                </c:pt>
                <c:pt idx="213">
                  <c:v>11.1</c:v>
                </c:pt>
                <c:pt idx="214">
                  <c:v>11.2</c:v>
                </c:pt>
                <c:pt idx="215">
                  <c:v>11.2</c:v>
                </c:pt>
                <c:pt idx="216">
                  <c:v>11.2</c:v>
                </c:pt>
                <c:pt idx="217">
                  <c:v>11.3</c:v>
                </c:pt>
                <c:pt idx="218">
                  <c:v>11.3</c:v>
                </c:pt>
                <c:pt idx="219">
                  <c:v>11.3</c:v>
                </c:pt>
                <c:pt idx="220">
                  <c:v>11.3</c:v>
                </c:pt>
                <c:pt idx="221">
                  <c:v>11.3</c:v>
                </c:pt>
                <c:pt idx="222">
                  <c:v>11.6</c:v>
                </c:pt>
                <c:pt idx="223">
                  <c:v>11.6</c:v>
                </c:pt>
                <c:pt idx="224">
                  <c:v>11.6</c:v>
                </c:pt>
                <c:pt idx="225">
                  <c:v>11.6</c:v>
                </c:pt>
                <c:pt idx="226">
                  <c:v>11.7</c:v>
                </c:pt>
                <c:pt idx="227">
                  <c:v>11.7</c:v>
                </c:pt>
                <c:pt idx="228">
                  <c:v>11.8</c:v>
                </c:pt>
                <c:pt idx="229">
                  <c:v>11.8</c:v>
                </c:pt>
                <c:pt idx="230">
                  <c:v>11.9</c:v>
                </c:pt>
                <c:pt idx="231">
                  <c:v>11.9</c:v>
                </c:pt>
                <c:pt idx="232">
                  <c:v>11.9</c:v>
                </c:pt>
                <c:pt idx="233">
                  <c:v>12</c:v>
                </c:pt>
                <c:pt idx="234">
                  <c:v>12</c:v>
                </c:pt>
                <c:pt idx="235">
                  <c:v>12.1</c:v>
                </c:pt>
                <c:pt idx="236">
                  <c:v>12.1</c:v>
                </c:pt>
                <c:pt idx="237">
                  <c:v>12.1</c:v>
                </c:pt>
                <c:pt idx="238">
                  <c:v>12.1</c:v>
                </c:pt>
                <c:pt idx="239">
                  <c:v>12.1</c:v>
                </c:pt>
                <c:pt idx="240">
                  <c:v>12.1</c:v>
                </c:pt>
                <c:pt idx="241">
                  <c:v>12.2</c:v>
                </c:pt>
                <c:pt idx="242">
                  <c:v>12.2</c:v>
                </c:pt>
                <c:pt idx="243">
                  <c:v>12.2</c:v>
                </c:pt>
                <c:pt idx="244">
                  <c:v>12.2</c:v>
                </c:pt>
                <c:pt idx="245">
                  <c:v>12.3</c:v>
                </c:pt>
                <c:pt idx="246">
                  <c:v>12.3</c:v>
                </c:pt>
                <c:pt idx="247">
                  <c:v>12.3</c:v>
                </c:pt>
                <c:pt idx="248">
                  <c:v>12.4</c:v>
                </c:pt>
                <c:pt idx="249">
                  <c:v>12.4</c:v>
                </c:pt>
                <c:pt idx="250">
                  <c:v>12.4</c:v>
                </c:pt>
                <c:pt idx="251">
                  <c:v>12.5</c:v>
                </c:pt>
                <c:pt idx="252">
                  <c:v>12.5</c:v>
                </c:pt>
                <c:pt idx="253">
                  <c:v>12.5</c:v>
                </c:pt>
                <c:pt idx="254">
                  <c:v>12.5</c:v>
                </c:pt>
                <c:pt idx="255">
                  <c:v>12.5</c:v>
                </c:pt>
                <c:pt idx="256">
                  <c:v>12.6</c:v>
                </c:pt>
                <c:pt idx="257">
                  <c:v>12.6</c:v>
                </c:pt>
                <c:pt idx="258">
                  <c:v>12.6</c:v>
                </c:pt>
                <c:pt idx="259">
                  <c:v>12.6</c:v>
                </c:pt>
                <c:pt idx="260">
                  <c:v>12.6</c:v>
                </c:pt>
                <c:pt idx="261">
                  <c:v>12.6</c:v>
                </c:pt>
                <c:pt idx="262">
                  <c:v>12.6</c:v>
                </c:pt>
                <c:pt idx="263">
                  <c:v>12.8</c:v>
                </c:pt>
                <c:pt idx="264">
                  <c:v>12.8</c:v>
                </c:pt>
                <c:pt idx="265">
                  <c:v>12.8</c:v>
                </c:pt>
                <c:pt idx="266">
                  <c:v>12.9</c:v>
                </c:pt>
                <c:pt idx="267">
                  <c:v>13</c:v>
                </c:pt>
                <c:pt idx="268">
                  <c:v>13.1</c:v>
                </c:pt>
                <c:pt idx="269">
                  <c:v>13.1</c:v>
                </c:pt>
                <c:pt idx="270">
                  <c:v>13.1</c:v>
                </c:pt>
                <c:pt idx="271">
                  <c:v>13.2</c:v>
                </c:pt>
                <c:pt idx="272">
                  <c:v>13.2</c:v>
                </c:pt>
                <c:pt idx="273">
                  <c:v>13.3</c:v>
                </c:pt>
                <c:pt idx="274">
                  <c:v>13.4</c:v>
                </c:pt>
                <c:pt idx="275">
                  <c:v>13.5</c:v>
                </c:pt>
                <c:pt idx="276">
                  <c:v>13.5</c:v>
                </c:pt>
                <c:pt idx="277">
                  <c:v>13.5</c:v>
                </c:pt>
                <c:pt idx="278">
                  <c:v>13.6</c:v>
                </c:pt>
                <c:pt idx="279">
                  <c:v>13.6</c:v>
                </c:pt>
                <c:pt idx="280">
                  <c:v>13.8</c:v>
                </c:pt>
                <c:pt idx="281">
                  <c:v>13.9</c:v>
                </c:pt>
                <c:pt idx="282">
                  <c:v>13.9</c:v>
                </c:pt>
                <c:pt idx="283">
                  <c:v>14.1</c:v>
                </c:pt>
                <c:pt idx="284">
                  <c:v>14.1</c:v>
                </c:pt>
                <c:pt idx="285">
                  <c:v>14.1</c:v>
                </c:pt>
                <c:pt idx="286">
                  <c:v>14.2</c:v>
                </c:pt>
                <c:pt idx="287">
                  <c:v>14.2</c:v>
                </c:pt>
                <c:pt idx="288">
                  <c:v>14.2</c:v>
                </c:pt>
                <c:pt idx="289">
                  <c:v>14.3</c:v>
                </c:pt>
                <c:pt idx="290">
                  <c:v>14.3</c:v>
                </c:pt>
                <c:pt idx="291">
                  <c:v>14.4</c:v>
                </c:pt>
                <c:pt idx="292">
                  <c:v>14.4</c:v>
                </c:pt>
                <c:pt idx="293">
                  <c:v>14.4</c:v>
                </c:pt>
                <c:pt idx="294">
                  <c:v>14.5</c:v>
                </c:pt>
                <c:pt idx="295">
                  <c:v>14.5</c:v>
                </c:pt>
                <c:pt idx="296">
                  <c:v>14.5</c:v>
                </c:pt>
                <c:pt idx="297">
                  <c:v>14.6</c:v>
                </c:pt>
                <c:pt idx="298">
                  <c:v>14.6</c:v>
                </c:pt>
                <c:pt idx="299">
                  <c:v>14.6</c:v>
                </c:pt>
                <c:pt idx="300">
                  <c:v>14.6</c:v>
                </c:pt>
                <c:pt idx="301">
                  <c:v>14.6</c:v>
                </c:pt>
                <c:pt idx="302">
                  <c:v>14.6</c:v>
                </c:pt>
                <c:pt idx="303">
                  <c:v>14.6</c:v>
                </c:pt>
                <c:pt idx="304">
                  <c:v>14.7</c:v>
                </c:pt>
                <c:pt idx="305">
                  <c:v>14.7</c:v>
                </c:pt>
                <c:pt idx="306">
                  <c:v>14.7</c:v>
                </c:pt>
                <c:pt idx="307">
                  <c:v>14.7</c:v>
                </c:pt>
                <c:pt idx="308">
                  <c:v>14.8</c:v>
                </c:pt>
                <c:pt idx="309">
                  <c:v>14.8</c:v>
                </c:pt>
                <c:pt idx="310">
                  <c:v>14.9</c:v>
                </c:pt>
                <c:pt idx="311">
                  <c:v>14.9</c:v>
                </c:pt>
                <c:pt idx="312">
                  <c:v>14.9</c:v>
                </c:pt>
                <c:pt idx="313">
                  <c:v>15</c:v>
                </c:pt>
                <c:pt idx="314">
                  <c:v>15</c:v>
                </c:pt>
                <c:pt idx="315">
                  <c:v>15</c:v>
                </c:pt>
                <c:pt idx="316">
                  <c:v>15</c:v>
                </c:pt>
                <c:pt idx="317">
                  <c:v>15.1</c:v>
                </c:pt>
                <c:pt idx="318">
                  <c:v>15.1</c:v>
                </c:pt>
                <c:pt idx="319">
                  <c:v>15.1</c:v>
                </c:pt>
                <c:pt idx="320">
                  <c:v>15.1</c:v>
                </c:pt>
                <c:pt idx="321">
                  <c:v>15.1</c:v>
                </c:pt>
                <c:pt idx="322">
                  <c:v>15.1</c:v>
                </c:pt>
                <c:pt idx="323">
                  <c:v>15.1</c:v>
                </c:pt>
                <c:pt idx="324">
                  <c:v>15.2</c:v>
                </c:pt>
                <c:pt idx="325">
                  <c:v>15.2</c:v>
                </c:pt>
                <c:pt idx="326">
                  <c:v>15.2</c:v>
                </c:pt>
                <c:pt idx="327">
                  <c:v>15.2</c:v>
                </c:pt>
                <c:pt idx="328">
                  <c:v>15.2</c:v>
                </c:pt>
                <c:pt idx="329">
                  <c:v>15.3</c:v>
                </c:pt>
                <c:pt idx="330">
                  <c:v>15.3</c:v>
                </c:pt>
                <c:pt idx="331">
                  <c:v>15.3</c:v>
                </c:pt>
                <c:pt idx="332">
                  <c:v>15.4</c:v>
                </c:pt>
                <c:pt idx="333">
                  <c:v>15.4</c:v>
                </c:pt>
                <c:pt idx="334">
                  <c:v>15.4</c:v>
                </c:pt>
                <c:pt idx="335">
                  <c:v>15.4</c:v>
                </c:pt>
                <c:pt idx="336">
                  <c:v>15.4</c:v>
                </c:pt>
                <c:pt idx="337">
                  <c:v>15.4</c:v>
                </c:pt>
                <c:pt idx="338">
                  <c:v>15.5</c:v>
                </c:pt>
                <c:pt idx="339">
                  <c:v>15.5</c:v>
                </c:pt>
                <c:pt idx="340">
                  <c:v>15.5</c:v>
                </c:pt>
                <c:pt idx="341">
                  <c:v>15.5</c:v>
                </c:pt>
                <c:pt idx="342">
                  <c:v>15.5</c:v>
                </c:pt>
                <c:pt idx="343">
                  <c:v>15.5</c:v>
                </c:pt>
                <c:pt idx="344">
                  <c:v>15.5</c:v>
                </c:pt>
                <c:pt idx="345">
                  <c:v>15.5</c:v>
                </c:pt>
                <c:pt idx="346">
                  <c:v>15.6</c:v>
                </c:pt>
                <c:pt idx="347">
                  <c:v>15.6</c:v>
                </c:pt>
                <c:pt idx="348">
                  <c:v>15.6</c:v>
                </c:pt>
                <c:pt idx="349">
                  <c:v>15.6</c:v>
                </c:pt>
                <c:pt idx="350">
                  <c:v>15.7</c:v>
                </c:pt>
                <c:pt idx="351">
                  <c:v>15.7</c:v>
                </c:pt>
                <c:pt idx="352">
                  <c:v>15.7</c:v>
                </c:pt>
                <c:pt idx="353">
                  <c:v>15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C46-4916-A84B-D8C35803D7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24794112"/>
        <c:axId val="1193447808"/>
      </c:lineChart>
      <c:catAx>
        <c:axId val="724794112"/>
        <c:scaling>
          <c:orientation val="minMax"/>
        </c:scaling>
        <c:delete val="0"/>
        <c:axPos val="b"/>
        <c:numFmt formatCode="#,##0.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93447808"/>
        <c:crosses val="autoZero"/>
        <c:auto val="1"/>
        <c:lblAlgn val="ctr"/>
        <c:lblOffset val="100"/>
        <c:noMultiLvlLbl val="0"/>
      </c:catAx>
      <c:valAx>
        <c:axId val="1193447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24794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BAYER BRAN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SOI</c:v>
                </c:pt>
                <c:pt idx="1">
                  <c:v>SOV</c:v>
                </c:pt>
                <c:pt idx="2">
                  <c:v>SOI </c:v>
                </c:pt>
                <c:pt idx="3">
                  <c:v>SOV </c:v>
                </c:pt>
              </c:strCache>
            </c:strRef>
          </c:cat>
          <c:val>
            <c:numRef>
              <c:f>Hoja1!$B$2:$E$2</c:f>
              <c:numCache>
                <c:formatCode>0%</c:formatCode>
                <c:ptCount val="4"/>
                <c:pt idx="0">
                  <c:v>0.55000000000000004</c:v>
                </c:pt>
                <c:pt idx="1">
                  <c:v>0.6</c:v>
                </c:pt>
                <c:pt idx="2">
                  <c:v>0.6</c:v>
                </c:pt>
                <c:pt idx="3">
                  <c:v>0.55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BB2-412B-BBA6-4109358900C5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Competitor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SOI</c:v>
                </c:pt>
                <c:pt idx="1">
                  <c:v>SOV</c:v>
                </c:pt>
                <c:pt idx="2">
                  <c:v>SOI </c:v>
                </c:pt>
                <c:pt idx="3">
                  <c:v>SOV </c:v>
                </c:pt>
              </c:strCache>
            </c:strRef>
          </c:cat>
          <c:val>
            <c:numRef>
              <c:f>Hoja1!$B$3:$E$3</c:f>
              <c:numCache>
                <c:formatCode>0%</c:formatCode>
                <c:ptCount val="4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  <c:pt idx="3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BB2-412B-BBA6-4109358900C5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Competitor 2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SOI</c:v>
                </c:pt>
                <c:pt idx="1">
                  <c:v>SOV</c:v>
                </c:pt>
                <c:pt idx="2">
                  <c:v>SOI </c:v>
                </c:pt>
                <c:pt idx="3">
                  <c:v>SOV </c:v>
                </c:pt>
              </c:strCache>
            </c:strRef>
          </c:cat>
          <c:val>
            <c:numRef>
              <c:f>Hoja1!$B$4:$E$4</c:f>
              <c:numCache>
                <c:formatCode>0%</c:formatCode>
                <c:ptCount val="4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  <c:pt idx="3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BB2-412B-BBA6-4109358900C5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Competitor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SOI</c:v>
                </c:pt>
                <c:pt idx="1">
                  <c:v>SOV</c:v>
                </c:pt>
                <c:pt idx="2">
                  <c:v>SOI </c:v>
                </c:pt>
                <c:pt idx="3">
                  <c:v>SOV </c:v>
                </c:pt>
              </c:strCache>
            </c:strRef>
          </c:cat>
          <c:val>
            <c:numRef>
              <c:f>Hoja1!$B$5:$E$5</c:f>
              <c:numCache>
                <c:formatCode>0%</c:formatCode>
                <c:ptCount val="4"/>
                <c:pt idx="0">
                  <c:v>0.2</c:v>
                </c:pt>
                <c:pt idx="1">
                  <c:v>0.1</c:v>
                </c:pt>
                <c:pt idx="2">
                  <c:v>0.1</c:v>
                </c:pt>
                <c:pt idx="3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BB2-412B-BBA6-4109358900C5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rgbClr val="9D9F9E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SOI</c:v>
                </c:pt>
                <c:pt idx="1">
                  <c:v>SOV</c:v>
                </c:pt>
                <c:pt idx="2">
                  <c:v>SOI </c:v>
                </c:pt>
                <c:pt idx="3">
                  <c:v>SOV </c:v>
                </c:pt>
              </c:strCache>
            </c:strRef>
          </c:cat>
          <c:val>
            <c:numRef>
              <c:f>Hoja1!$B$6:$E$6</c:f>
              <c:numCache>
                <c:formatCode>0%</c:formatCode>
                <c:ptCount val="4"/>
                <c:pt idx="0">
                  <c:v>0.1</c:v>
                </c:pt>
                <c:pt idx="1">
                  <c:v>0.2</c:v>
                </c:pt>
                <c:pt idx="2">
                  <c:v>0.2</c:v>
                </c:pt>
                <c:pt idx="3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BB2-412B-BBA6-4109358900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506507232"/>
        <c:axId val="506515136"/>
      </c:barChart>
      <c:catAx>
        <c:axId val="506507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6515136"/>
        <c:crosses val="autoZero"/>
        <c:auto val="1"/>
        <c:lblAlgn val="ctr"/>
        <c:lblOffset val="100"/>
        <c:noMultiLvlLbl val="0"/>
      </c:catAx>
      <c:valAx>
        <c:axId val="50651513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06507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2.1722305129970369E-2"/>
          <c:y val="0.14043626308455776"/>
          <c:w val="0.27595680054961425"/>
          <c:h val="0.5588771299866428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6</c:f>
              <c:strCache>
                <c:ptCount val="5"/>
                <c:pt idx="0">
                  <c:v>BAYER BRAND</c:v>
                </c:pt>
                <c:pt idx="1">
                  <c:v>Competitor 1</c:v>
                </c:pt>
                <c:pt idx="2">
                  <c:v>Competitor 2</c:v>
                </c:pt>
                <c:pt idx="3">
                  <c:v>Competitor 3</c:v>
                </c:pt>
                <c:pt idx="4">
                  <c:v>Competitor 4</c:v>
                </c:pt>
              </c:strCache>
            </c:strRef>
          </c:cat>
          <c:val>
            <c:numRef>
              <c:f>Hoja1!$B$2:$B$6</c:f>
              <c:numCache>
                <c:formatCode>0%</c:formatCode>
                <c:ptCount val="5"/>
                <c:pt idx="0">
                  <c:v>0.6</c:v>
                </c:pt>
                <c:pt idx="1">
                  <c:v>0.1</c:v>
                </c:pt>
                <c:pt idx="2">
                  <c:v>0.1</c:v>
                </c:pt>
                <c:pt idx="3">
                  <c:v>0.1</c:v>
                </c:pt>
                <c:pt idx="4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43-42B6-8B20-D9EC4428D9AB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23 YT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6</c:f>
              <c:strCache>
                <c:ptCount val="5"/>
                <c:pt idx="0">
                  <c:v>BAYER BRAND</c:v>
                </c:pt>
                <c:pt idx="1">
                  <c:v>Competitor 1</c:v>
                </c:pt>
                <c:pt idx="2">
                  <c:v>Competitor 2</c:v>
                </c:pt>
                <c:pt idx="3">
                  <c:v>Competitor 3</c:v>
                </c:pt>
                <c:pt idx="4">
                  <c:v>Competitor 4</c:v>
                </c:pt>
              </c:strCache>
            </c:strRef>
          </c:cat>
          <c:val>
            <c:numRef>
              <c:f>Hoja1!$C$2:$C$6</c:f>
              <c:numCache>
                <c:formatCode>0%</c:formatCode>
                <c:ptCount val="5"/>
                <c:pt idx="0">
                  <c:v>0.55000000000000004</c:v>
                </c:pt>
                <c:pt idx="1">
                  <c:v>0.1</c:v>
                </c:pt>
                <c:pt idx="2">
                  <c:v>0.1</c:v>
                </c:pt>
                <c:pt idx="3">
                  <c:v>0.2</c:v>
                </c:pt>
                <c:pt idx="4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F43-42B6-8B20-D9EC4428D9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-10"/>
        <c:axId val="506507232"/>
        <c:axId val="506515136"/>
      </c:barChart>
      <c:catAx>
        <c:axId val="50650723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6515136"/>
        <c:crosses val="autoZero"/>
        <c:auto val="1"/>
        <c:lblAlgn val="ctr"/>
        <c:lblOffset val="100"/>
        <c:noMultiLvlLbl val="0"/>
      </c:catAx>
      <c:valAx>
        <c:axId val="506515136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506507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L/M Cities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A82-0549-942A-1A65C5AD3956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</c:f>
              <c:strCache>
                <c:ptCount val="1"/>
                <c:pt idx="0">
                  <c:v>Location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A82-0549-942A-1A65C5AD3956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 Cities &amp; Towns</c:v>
                </c:pt>
              </c:strCache>
            </c:strRef>
          </c:tx>
          <c:spPr>
            <a:solidFill>
              <a:schemeClr val="accent2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BA82-0549-942A-1A65C5AD3956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</c:f>
              <c:strCache>
                <c:ptCount val="1"/>
                <c:pt idx="0">
                  <c:v>Location</c:v>
                </c:pt>
              </c:strCache>
            </c:strRef>
          </c:cat>
          <c:val>
            <c:numRef>
              <c:f>Hoja1!$C$2</c:f>
              <c:numCache>
                <c:formatCode>0%</c:formatCode>
                <c:ptCount val="1"/>
                <c:pt idx="0">
                  <c:v>0.55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A82-0549-942A-1A65C5AD395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"/>
        <c:overlap val="100"/>
        <c:axId val="884494128"/>
        <c:axId val="884504112"/>
      </c:barChart>
      <c:valAx>
        <c:axId val="884504112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884494128"/>
        <c:crosses val="autoZero"/>
        <c:crossBetween val="between"/>
      </c:valAx>
      <c:catAx>
        <c:axId val="88449412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8845041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4.9999874952794683E-2"/>
          <c:y val="0.23456623903485069"/>
          <c:w val="0.89999983006967987"/>
          <c:h val="0.154029121254744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bg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7671107301671158"/>
          <c:y val="3.953880265071303E-2"/>
          <c:w val="0.22784976194942883"/>
          <c:h val="0.9209223946985739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baseline="0">
                    <a:solidFill>
                      <a:schemeClr val="tx1"/>
                    </a:solidFill>
                    <a:latin typeface="Poppins" pitchFamily="2" charset="77"/>
                    <a:ea typeface="+mn-ea"/>
                    <a:cs typeface="Poppins" pitchFamily="2" charset="77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>
                      <a:noFill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Snapchat</c:v>
                </c:pt>
                <c:pt idx="1">
                  <c:v>TikTok</c:v>
                </c:pt>
                <c:pt idx="2">
                  <c:v>Twitter</c:v>
                </c:pt>
                <c:pt idx="3">
                  <c:v>Instagram</c:v>
                </c:pt>
                <c:pt idx="4">
                  <c:v>Facebook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45</c:v>
                </c:pt>
                <c:pt idx="1">
                  <c:v>0.53</c:v>
                </c:pt>
                <c:pt idx="2">
                  <c:v>0.56000000000000005</c:v>
                </c:pt>
                <c:pt idx="3">
                  <c:v>0.76</c:v>
                </c:pt>
                <c:pt idx="4">
                  <c:v>0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67-174B-90EB-8CCE48A49F16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</c:dLbls>
        <c:gapWidth val="30"/>
        <c:overlap val="100"/>
        <c:axId val="1305246048"/>
        <c:axId val="1305247696"/>
      </c:barChart>
      <c:catAx>
        <c:axId val="1305246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05247696"/>
        <c:crossesAt val="0"/>
        <c:auto val="1"/>
        <c:lblAlgn val="ctr"/>
        <c:lblOffset val="100"/>
        <c:noMultiLvlLbl val="0"/>
      </c:catAx>
      <c:valAx>
        <c:axId val="130524769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305246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920878519020909"/>
          <c:y val="3.953880265071303E-2"/>
          <c:w val="0.466238843585558"/>
          <c:h val="0.9209223946985739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Index </c:v>
                </c:pt>
              </c:strCache>
            </c:strRef>
          </c:tx>
          <c:spPr>
            <a:solidFill>
              <a:srgbClr val="89D32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9D32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3D0-9245-B4BD-CFC32C983BF5}"/>
              </c:ext>
            </c:extLst>
          </c:dPt>
          <c:dPt>
            <c:idx val="1"/>
            <c:invertIfNegative val="0"/>
            <c:bubble3D val="0"/>
            <c:spPr>
              <a:solidFill>
                <a:srgbClr val="89D32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3D0-9245-B4BD-CFC32C983BF5}"/>
              </c:ext>
            </c:extLst>
          </c:dPt>
          <c:dPt>
            <c:idx val="2"/>
            <c:invertIfNegative val="0"/>
            <c:bubble3D val="0"/>
            <c:spPr>
              <a:solidFill>
                <a:srgbClr val="89D32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3D0-9245-B4BD-CFC32C983BF5}"/>
              </c:ext>
            </c:extLst>
          </c:dPt>
          <c:dPt>
            <c:idx val="3"/>
            <c:invertIfNegative val="0"/>
            <c:bubble3D val="0"/>
            <c:spPr>
              <a:solidFill>
                <a:srgbClr val="89D32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3D0-9245-B4BD-CFC32C983BF5}"/>
              </c:ext>
            </c:extLst>
          </c:dPt>
          <c:dPt>
            <c:idx val="4"/>
            <c:invertIfNegative val="0"/>
            <c:bubble3D val="0"/>
            <c:spPr>
              <a:solidFill>
                <a:srgbClr val="00BC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3D0-9245-B4BD-CFC32C983BF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>
                      <a:noFill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Pinterest</c:v>
                </c:pt>
                <c:pt idx="1">
                  <c:v>Ywitter</c:v>
                </c:pt>
                <c:pt idx="2">
                  <c:v>TikTok</c:v>
                </c:pt>
                <c:pt idx="3">
                  <c:v>Instagram</c:v>
                </c:pt>
                <c:pt idx="4">
                  <c:v>Facebook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36</c:v>
                </c:pt>
                <c:pt idx="1">
                  <c:v>133</c:v>
                </c:pt>
                <c:pt idx="2">
                  <c:v>147</c:v>
                </c:pt>
                <c:pt idx="3">
                  <c:v>129</c:v>
                </c:pt>
                <c:pt idx="4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3D0-9245-B4BD-CFC32C983BF5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</c:dLbls>
        <c:gapWidth val="30"/>
        <c:overlap val="100"/>
        <c:axId val="1305246048"/>
        <c:axId val="1305247696"/>
      </c:barChart>
      <c:catAx>
        <c:axId val="13052460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305247696"/>
        <c:crossesAt val="100"/>
        <c:auto val="1"/>
        <c:lblAlgn val="ctr"/>
        <c:lblOffset val="100"/>
        <c:noMultiLvlLbl val="0"/>
      </c:catAx>
      <c:valAx>
        <c:axId val="1305247696"/>
        <c:scaling>
          <c:orientation val="minMax"/>
          <c:min val="40"/>
        </c:scaling>
        <c:delete val="1"/>
        <c:axPos val="b"/>
        <c:numFmt formatCode="General" sourceLinked="0"/>
        <c:majorTickMark val="out"/>
        <c:minorTickMark val="none"/>
        <c:tickLblPos val="nextTo"/>
        <c:crossAx val="1305246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7671107301671158"/>
          <c:y val="3.953880265071303E-2"/>
          <c:w val="0.22784976194942883"/>
          <c:h val="0.9209223946985739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baseline="0">
                    <a:solidFill>
                      <a:schemeClr val="tx1"/>
                    </a:solidFill>
                    <a:latin typeface="Poppins" pitchFamily="2" charset="77"/>
                    <a:ea typeface="+mn-ea"/>
                    <a:cs typeface="Poppins" pitchFamily="2" charset="77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>
                      <a:noFill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OLV</c:v>
                </c:pt>
                <c:pt idx="1">
                  <c:v>Search</c:v>
                </c:pt>
                <c:pt idx="2">
                  <c:v>TV (BC and ST)</c:v>
                </c:pt>
                <c:pt idx="3">
                  <c:v>Social Media</c:v>
                </c:pt>
                <c:pt idx="4">
                  <c:v>Internet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67</c:v>
                </c:pt>
                <c:pt idx="1">
                  <c:v>0.71</c:v>
                </c:pt>
                <c:pt idx="2">
                  <c:v>0.76</c:v>
                </c:pt>
                <c:pt idx="3">
                  <c:v>0.8</c:v>
                </c:pt>
                <c:pt idx="4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BA-2E4B-9132-056E9B65DB18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</c:dLbls>
        <c:gapWidth val="30"/>
        <c:overlap val="100"/>
        <c:axId val="1305246048"/>
        <c:axId val="1305247696"/>
      </c:barChart>
      <c:catAx>
        <c:axId val="1305246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05247696"/>
        <c:crossesAt val="0"/>
        <c:auto val="1"/>
        <c:lblAlgn val="ctr"/>
        <c:lblOffset val="100"/>
        <c:noMultiLvlLbl val="0"/>
      </c:catAx>
      <c:valAx>
        <c:axId val="130524769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305246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920878519020909"/>
          <c:y val="3.953880265071303E-2"/>
          <c:w val="0.466238843585558"/>
          <c:h val="0.9209223946985739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Index </c:v>
                </c:pt>
              </c:strCache>
            </c:strRef>
          </c:tx>
          <c:spPr>
            <a:solidFill>
              <a:srgbClr val="00BCF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9D32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4DA-EE4D-90EF-CA1ADF2675E2}"/>
              </c:ext>
            </c:extLst>
          </c:dPt>
          <c:dPt>
            <c:idx val="1"/>
            <c:invertIfNegative val="0"/>
            <c:bubble3D val="0"/>
            <c:spPr>
              <a:solidFill>
                <a:srgbClr val="00BC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4DA-EE4D-90EF-CA1ADF2675E2}"/>
              </c:ext>
            </c:extLst>
          </c:dPt>
          <c:dPt>
            <c:idx val="2"/>
            <c:invertIfNegative val="0"/>
            <c:bubble3D val="0"/>
            <c:spPr>
              <a:solidFill>
                <a:srgbClr val="00BC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4DA-EE4D-90EF-CA1ADF2675E2}"/>
              </c:ext>
            </c:extLst>
          </c:dPt>
          <c:dPt>
            <c:idx val="3"/>
            <c:invertIfNegative val="0"/>
            <c:bubble3D val="0"/>
            <c:spPr>
              <a:solidFill>
                <a:srgbClr val="00BC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4DA-EE4D-90EF-CA1ADF2675E2}"/>
              </c:ext>
            </c:extLst>
          </c:dPt>
          <c:dPt>
            <c:idx val="4"/>
            <c:invertIfNegative val="0"/>
            <c:bubble3D val="0"/>
            <c:spPr>
              <a:solidFill>
                <a:srgbClr val="00BC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4DA-EE4D-90EF-CA1ADF2675E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>
                      <a:noFill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Search</c:v>
                </c:pt>
                <c:pt idx="1">
                  <c:v>OLV</c:v>
                </c:pt>
                <c:pt idx="2">
                  <c:v>TV (BC and ST)</c:v>
                </c:pt>
                <c:pt idx="3">
                  <c:v>Internet</c:v>
                </c:pt>
                <c:pt idx="4">
                  <c:v>Social Media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29</c:v>
                </c:pt>
                <c:pt idx="1">
                  <c:v>92</c:v>
                </c:pt>
                <c:pt idx="2">
                  <c:v>96</c:v>
                </c:pt>
                <c:pt idx="3">
                  <c:v>108</c:v>
                </c:pt>
                <c:pt idx="4">
                  <c:v>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4DA-EE4D-90EF-CA1ADF2675E2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</c:dLbls>
        <c:gapWidth val="30"/>
        <c:overlap val="100"/>
        <c:axId val="1305246048"/>
        <c:axId val="1305247696"/>
      </c:barChart>
      <c:catAx>
        <c:axId val="13052460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305247696"/>
        <c:crossesAt val="100"/>
        <c:auto val="1"/>
        <c:lblAlgn val="ctr"/>
        <c:lblOffset val="100"/>
        <c:noMultiLvlLbl val="0"/>
      </c:catAx>
      <c:valAx>
        <c:axId val="1305247696"/>
        <c:scaling>
          <c:orientation val="minMax"/>
          <c:min val="40"/>
        </c:scaling>
        <c:delete val="1"/>
        <c:axPos val="b"/>
        <c:numFmt formatCode="General" sourceLinked="0"/>
        <c:majorTickMark val="out"/>
        <c:minorTickMark val="none"/>
        <c:tickLblPos val="nextTo"/>
        <c:crossAx val="1305246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416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330" b="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cap="all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416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330" b="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cap="all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416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330" b="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cap="all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416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330" b="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cap="all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416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330" b="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cap="all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416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330" b="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cap="all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688F19-BFE6-452C-BDE8-0D5A6B82B694}" type="datetimeFigureOut">
              <a:rPr lang="es-MX" smtClean="0"/>
              <a:t>20/09/2024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7D9D3E-ECF5-42A1-827D-6C9E5FE9A802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25170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9755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>
                <a:solidFill>
                  <a:srgbClr val="0A0F0D"/>
                </a:solidFill>
                <a:highlight>
                  <a:srgbClr val="FFFF00"/>
                </a:highlight>
                <a:latin typeface="Century Gothic"/>
              </a:rPr>
              <a:t>The media needs to be platform specific. We should be using the best format possible for each platform to garner the most effective and efficient results</a:t>
            </a:r>
            <a:endParaRPr kumimoji="0" lang="en-GB" sz="120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highlight>
                <a:srgbClr val="FFFF00"/>
              </a:highlight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>
                <a:solidFill>
                  <a:srgbClr val="0A0F0D"/>
                </a:solidFill>
                <a:highlight>
                  <a:srgbClr val="FFFF00"/>
                </a:highlight>
                <a:latin typeface="Century Gothic"/>
              </a:rPr>
              <a:t>Media Target audience, adding High Value Audience (HVAs) requires synergy with the creative agencies to ensure specific creative for each HVA for the media to achieve its aim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ood objectives are SMART: Specific, Measurable, Achievable, Relevant and Time Bound. Ensure you quantified the objectives, put the right context, and clarified things (‘Get x To y By z’)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78823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62354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D3803E-D0B0-F943-9153-884D04292D7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20197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67905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D3803E-D0B0-F943-9153-884D04292D7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25102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675EC2-2AA8-4BCC-A5E3-D81E8721857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22050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30189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924594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3645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71112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690682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488227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668884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630607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940125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500485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426295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724907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010675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D3803E-D0B0-F943-9153-884D04292D7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50014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BO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7D9D3E-ECF5-42A1-827D-6C9E5FE9A802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21654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BO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7D9D3E-ECF5-42A1-827D-6C9E5FE9A802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51601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49511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0283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D3803E-D0B0-F943-9153-884D04292D7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6972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FDFED3-7A2F-43FB-B0C1-69678CAAE2A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08130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2691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9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30.svg"/><Relationship Id="rId4" Type="http://schemas.openxmlformats.org/officeDocument/2006/relationships/image" Target="../media/image29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30699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8608372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03173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56434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42603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37559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861441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350525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50140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243340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7797657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9/2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4384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934231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 userDrawn="1"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45720" y="0"/>
            <a:ext cx="4646279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2546238"/>
            <a:ext cx="5535806" cy="1428034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0681A36-BF63-97EC-72E9-BA871BF39F94}"/>
              </a:ext>
            </a:extLst>
          </p:cNvPr>
          <p:cNvCxnSpPr>
            <a:cxnSpLocks/>
          </p:cNvCxnSpPr>
          <p:nvPr userDrawn="1"/>
        </p:nvCxnSpPr>
        <p:spPr>
          <a:xfrm>
            <a:off x="980707" y="2233475"/>
            <a:ext cx="4751582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A907E154-177B-6875-738B-AA48E0B73B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0707" y="1219314"/>
            <a:ext cx="2993493" cy="84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23748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bleed image w/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EA4AF-BA26-DF4A-4362-EA586B018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90B43A-1F1A-685A-AE3F-DF59CA6B9D6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EBB1C4A-6537-649C-7791-23EEE4D66E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66153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601772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08397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250755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64432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60178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1802159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6185641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07851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5940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779863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34619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4994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23932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120837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520191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574989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704927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8596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821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27538114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00607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53506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90961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21055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2270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9364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2995188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8376527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78311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451393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7203194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042231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793756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061808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2075591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0299435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8220689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217839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68564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9415540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225228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2E6161-A266-4B9E-451D-71EEEBD7CB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99C679-5DEB-ADA4-077F-39D366ED84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4E8D6E-CB67-C464-1E34-611E2977D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B4A84D-0B8D-1279-2005-624EBDA0F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14D15B-F079-69FF-50D6-8A2710A7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1952927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9853317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07782872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2692995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17166844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7784506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9923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26394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36121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735389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67931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546065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974118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51391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6393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43633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51086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24307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77104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62527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9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2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1" y="804865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FF9B129-CF47-4A4C-8EAF-ED47CAE38682}"/>
              </a:ext>
            </a:extLst>
          </p:cNvPr>
          <p:cNvGrpSpPr/>
          <p:nvPr/>
        </p:nvGrpSpPr>
        <p:grpSpPr>
          <a:xfrm>
            <a:off x="609600" y="2240287"/>
            <a:ext cx="4213253" cy="307777"/>
            <a:chOff x="609600" y="2167932"/>
            <a:chExt cx="4213253" cy="30777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8882C5F-5C5A-5A45-BD08-6A4630295363}"/>
                </a:ext>
              </a:extLst>
            </p:cNvPr>
            <p:cNvSpPr txBox="1"/>
            <p:nvPr/>
          </p:nvSpPr>
          <p:spPr>
            <a:xfrm>
              <a:off x="609600" y="2167932"/>
              <a:ext cx="4213253" cy="3077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/>
                <a:t>Powered by </a:t>
              </a:r>
            </a:p>
          </p:txBody>
        </p:sp>
        <p:pic>
          <p:nvPicPr>
            <p:cNvPr id="16" name="Picture 15" descr="Logo&#10;&#10;Description automatically generated with low confidence">
              <a:extLst>
                <a:ext uri="{FF2B5EF4-FFF2-40B4-BE49-F238E27FC236}">
                  <a16:creationId xmlns:a16="http://schemas.microsoft.com/office/drawing/2014/main" id="{29FB1B43-32AB-6241-B807-C6F09E4572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00801" y="2238352"/>
              <a:ext cx="1168672" cy="207632"/>
            </a:xfrm>
            <a:prstGeom prst="rect">
              <a:avLst/>
            </a:prstGeom>
          </p:spPr>
        </p:pic>
        <p:pic>
          <p:nvPicPr>
            <p:cNvPr id="17" name="Picture 16" descr="A picture containing kitchenware, necktie, grater, accordion&#10;&#10;Description automatically generated">
              <a:extLst>
                <a:ext uri="{FF2B5EF4-FFF2-40B4-BE49-F238E27FC236}">
                  <a16:creationId xmlns:a16="http://schemas.microsoft.com/office/drawing/2014/main" id="{1AD16CA8-F373-D945-93F4-8B18C14A2B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23198" y="2296003"/>
              <a:ext cx="481962" cy="144589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E8232E2-45FA-5745-B39D-DB9B186BFCC1}"/>
                </a:ext>
              </a:extLst>
            </p:cNvPr>
            <p:cNvGrpSpPr/>
            <p:nvPr/>
          </p:nvGrpSpPr>
          <p:grpSpPr>
            <a:xfrm>
              <a:off x="3336721" y="2309024"/>
              <a:ext cx="122249" cy="122249"/>
              <a:chOff x="3632751" y="2253656"/>
              <a:chExt cx="144725" cy="144725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AB7AC20B-D916-8D4B-917C-72D0E21C1A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964EE3A-3B66-5C4F-A30E-00F13BA8347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296AC07-F03A-9E4F-BF8C-11FDA9D15DF0}"/>
              </a:ext>
            </a:extLst>
          </p:cNvPr>
          <p:cNvCxnSpPr>
            <a:cxnSpLocks/>
          </p:cNvCxnSpPr>
          <p:nvPr/>
        </p:nvCxnSpPr>
        <p:spPr>
          <a:xfrm>
            <a:off x="644685" y="2157720"/>
            <a:ext cx="4037675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100000">
                  <a:schemeClr val="accent6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F5F6A68-6BCD-C84B-B3D3-2FAFBA0FFB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929" y="5633687"/>
            <a:ext cx="2888995" cy="663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81847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8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8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0"/>
            <a:ext cx="3120815" cy="6502400"/>
          </a:xfrm>
        </p:spPr>
        <p:txBody>
          <a:bodyPr anchor="ctr">
            <a:normAutofit/>
          </a:bodyPr>
          <a:lstStyle>
            <a:lvl1pPr>
              <a:defRPr sz="4500"/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5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7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396913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55481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8" y="606553"/>
            <a:ext cx="5740063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/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1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2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2" y="-3701052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7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7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15762517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9" y="609601"/>
            <a:ext cx="6245995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5" y="4261865"/>
            <a:ext cx="4023169" cy="137953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/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29999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66951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65004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270477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5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18764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9"/>
            <a:ext cx="6536431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81471974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1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20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1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848631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2941639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2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1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2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2540162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651593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6" y="5119052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6" y="1662668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1" y="2866233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33851904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6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6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5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41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41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3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8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8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2561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765752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9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5" y="179851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1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6" y="-1414464"/>
            <a:ext cx="2782519" cy="6022347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1" cy="6496051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9" y="162517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7" y="321297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09" y="361444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3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7" y="4780493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609601"/>
            <a:ext cx="3626481" cy="1192743"/>
          </a:xfrm>
        </p:spPr>
        <p:txBody>
          <a:bodyPr>
            <a:normAutofit/>
          </a:bodyPr>
          <a:lstStyle>
            <a:lvl1pPr>
              <a:defRPr sz="4500"/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7" y="21071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7" y="2199982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5" y="336603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9" y="-140854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5" y="568694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8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7" y="6088414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5" y="725446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52828529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7" y="2510225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6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/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</p:spTree>
    <p:extLst>
      <p:ext uri="{BB962C8B-B14F-4D97-AF65-F5344CB8AC3E}">
        <p14:creationId xmlns:p14="http://schemas.microsoft.com/office/powerpoint/2010/main" val="208438624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m 22">
            <a:extLst>
              <a:ext uri="{FF2B5EF4-FFF2-40B4-BE49-F238E27FC236}">
                <a16:creationId xmlns:a16="http://schemas.microsoft.com/office/drawing/2014/main" id="{79A65935-73AF-4DA8-A919-06AF2809A1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6596"/>
          <a:stretch/>
        </p:blipFill>
        <p:spPr>
          <a:xfrm>
            <a:off x="9207115" y="2"/>
            <a:ext cx="2984887" cy="5182049"/>
          </a:xfrm>
          <a:prstGeom prst="rect">
            <a:avLst/>
          </a:prstGeom>
        </p:spPr>
      </p:pic>
      <p:sp>
        <p:nvSpPr>
          <p:cNvPr id="24" name="Título 1">
            <a:extLst>
              <a:ext uri="{FF2B5EF4-FFF2-40B4-BE49-F238E27FC236}">
                <a16:creationId xmlns:a16="http://schemas.microsoft.com/office/drawing/2014/main" id="{536460E4-CDFF-47EB-8B21-4830F1706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708027"/>
            <a:ext cx="1144342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25" name="Marcador de Posição do Texto 15">
            <a:extLst>
              <a:ext uri="{FF2B5EF4-FFF2-40B4-BE49-F238E27FC236}">
                <a16:creationId xmlns:a16="http://schemas.microsoft.com/office/drawing/2014/main" id="{BC6E7B4E-69C0-4C3C-8697-9DDA76B900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1" y="1201713"/>
            <a:ext cx="11443428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993EB591-9A0E-46AA-9045-EB3008B3E0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8388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  <p:sp>
        <p:nvSpPr>
          <p:cNvPr id="8" name="Marcador de Posição do Texto 6">
            <a:extLst>
              <a:ext uri="{FF2B5EF4-FFF2-40B4-BE49-F238E27FC236}">
                <a16:creationId xmlns:a16="http://schemas.microsoft.com/office/drawing/2014/main" id="{2BDE4001-201A-47E3-8090-A0810CB9DA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75452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08273901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1_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Posição do SmartArt 7">
            <a:extLst>
              <a:ext uri="{FF2B5EF4-FFF2-40B4-BE49-F238E27FC236}">
                <a16:creationId xmlns:a16="http://schemas.microsoft.com/office/drawing/2014/main" id="{47434D48-6DBF-4A18-AFC2-0416287AC32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692259" y="1693836"/>
            <a:ext cx="10807484" cy="3715072"/>
          </a:xfrm>
        </p:spPr>
        <p:txBody>
          <a:bodyPr anchor="ctr">
            <a:normAutofit/>
          </a:bodyPr>
          <a:lstStyle>
            <a:lvl1pPr algn="ctr">
              <a:defRPr sz="2400" b="1"/>
            </a:lvl1pPr>
          </a:lstStyle>
          <a:p>
            <a:r>
              <a:rPr lang="es-ES"/>
              <a:t>Haga clic en el icono para agregar un elemento gráfico SmartArt</a:t>
            </a:r>
            <a:endParaRPr lang="pt-PT"/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685866D5-220C-4EFD-8466-BB12CD6648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49" y="408223"/>
            <a:ext cx="1133849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17" name="Marcador de Posição do Texto 15">
            <a:extLst>
              <a:ext uri="{FF2B5EF4-FFF2-40B4-BE49-F238E27FC236}">
                <a16:creationId xmlns:a16="http://schemas.microsoft.com/office/drawing/2014/main" id="{7020BC6D-C4C7-47DB-AAE9-331951ECE4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901909"/>
            <a:ext cx="11338497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7664253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182607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188256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ource: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1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9" y="1732753"/>
            <a:ext cx="10799867" cy="475199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/>
          </a:p>
        </p:txBody>
      </p:sp>
      <p:sp>
        <p:nvSpPr>
          <p:cNvPr id="10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594389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91221238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97730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535225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9791632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2830AFF-C79F-8066-8CFD-9D1BBE86F85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32693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F5E32D8-CFDD-F631-47A3-76187F7EDAC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62517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9228377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0596964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329449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185934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D668BFB-7AE6-2B2A-0F1B-47040C06B97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43369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AEF0978F-90E4-D76B-961C-72805ADE8C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04113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E63B53E-5502-7482-F8B9-A7C4C1E2D8F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84092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3338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798675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76079622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041272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937127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314420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700120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28684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32101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49474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47C7E3-6F65-C6E0-1009-5B494C29640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0448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46AFC3-49DA-CB60-1E4D-C6242C7D9C7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08005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89095F-CBA9-0776-ED0A-FAB03D73517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5552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34640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5B50F6-35F7-718C-1F0C-C5B564CDF9E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91712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38025316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2035951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EF41C1-FAFA-0CC5-16FE-9D109EF9891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9268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0972419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02627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053689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501114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326397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495870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954473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6518402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95986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E04968-7379-7B69-6FE0-4E0FCE33709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13032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6657535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31689357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6844868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1932624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8588406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50387988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007588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51754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530B91A-AC76-0D0B-3122-59AC3FE7DF0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47395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6680901-742F-9F90-E2BD-3071E5352F3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01636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835C606-E1D6-1462-9E0B-EF1BA51DB00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46625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034470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232683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612919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FF024E-B5F9-77F7-53E6-08A4BE4FFD8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262441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ABA5A0-51B8-4818-9374-54259B4E473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27535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9C0D61-332A-349D-DFB5-C11361A208C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4683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5D1678-4E58-3A7B-1F8A-65B93C05F77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1531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35829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75B96F7-4A7C-DFEC-C1D3-76CA93197C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12818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E651DD-8F8C-C327-83EE-5DF5D228E2B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90269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33DFD3D-D3FB-B36C-9D33-9A5E2CABEA3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19234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74861798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242605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7093543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4840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95973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65867245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722458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144574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9145186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710649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60835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659605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04163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57258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7372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855579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800144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13079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5222475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69790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782254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75363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717000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29282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13604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72330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1785884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52393038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69012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830954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496203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2191585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189782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97123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469923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21168598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09482011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87530761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533105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2407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5069139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1781879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18607894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863079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16311977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4272628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227618001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2829358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69130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900629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1412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72219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402939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897605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449814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785410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037134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94102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05515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973133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665844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8405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5470535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03609937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81575"/>
            <a:ext cx="4720182" cy="764359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</p:spTree>
    <p:extLst>
      <p:ext uri="{BB962C8B-B14F-4D97-AF65-F5344CB8AC3E}">
        <p14:creationId xmlns:p14="http://schemas.microsoft.com/office/powerpoint/2010/main" val="3340078801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i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15139"/>
            <a:ext cx="3322320" cy="537997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D2C025E0-A506-1143-A09B-93B6849AD5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895206"/>
            <a:ext cx="5486400" cy="780893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Client Name x</a:t>
            </a:r>
          </a:p>
        </p:txBody>
      </p:sp>
    </p:spTree>
    <p:extLst>
      <p:ext uri="{BB962C8B-B14F-4D97-AF65-F5344CB8AC3E}">
        <p14:creationId xmlns:p14="http://schemas.microsoft.com/office/powerpoint/2010/main" val="1418754247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8909153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395211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whit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7A120D8-5636-9A4F-8906-32FAC15D5D2A}"/>
              </a:ext>
            </a:extLst>
          </p:cNvPr>
          <p:cNvSpPr/>
          <p:nvPr/>
        </p:nvSpPr>
        <p:spPr>
          <a:xfrm>
            <a:off x="0" y="0"/>
            <a:ext cx="12192000" cy="19202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737705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63FF5F25-B55D-EF45-8D4F-5FA1FB0ABF04}"/>
              </a:ext>
            </a:extLst>
          </p:cNvPr>
          <p:cNvSpPr/>
          <p:nvPr/>
        </p:nvSpPr>
        <p:spPr>
          <a:xfrm>
            <a:off x="4029890" y="1920240"/>
            <a:ext cx="8162110" cy="4575810"/>
          </a:xfrm>
          <a:custGeom>
            <a:avLst/>
            <a:gdLst>
              <a:gd name="connsiteX0" fmla="*/ 1143953 w 8162110"/>
              <a:gd name="connsiteY0" fmla="*/ 0 h 4575810"/>
              <a:gd name="connsiteX1" fmla="*/ 8162110 w 8162110"/>
              <a:gd name="connsiteY1" fmla="*/ 0 h 4575810"/>
              <a:gd name="connsiteX2" fmla="*/ 8162110 w 8162110"/>
              <a:gd name="connsiteY2" fmla="*/ 4575810 h 4575810"/>
              <a:gd name="connsiteX3" fmla="*/ 2318110 w 8162110"/>
              <a:gd name="connsiteY3" fmla="*/ 4575810 h 4575810"/>
              <a:gd name="connsiteX4" fmla="*/ 2066110 w 8162110"/>
              <a:gd name="connsiteY4" fmla="*/ 4323810 h 4575810"/>
              <a:gd name="connsiteX5" fmla="*/ 1814110 w 8162110"/>
              <a:gd name="connsiteY5" fmla="*/ 4575810 h 4575810"/>
              <a:gd name="connsiteX6" fmla="*/ 0 w 8162110"/>
              <a:gd name="connsiteY6" fmla="*/ 4575810 h 4575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62110" h="4575810">
                <a:moveTo>
                  <a:pt x="1143953" y="0"/>
                </a:moveTo>
                <a:lnTo>
                  <a:pt x="8162110" y="0"/>
                </a:lnTo>
                <a:lnTo>
                  <a:pt x="8162110" y="4575810"/>
                </a:lnTo>
                <a:lnTo>
                  <a:pt x="2318110" y="4575810"/>
                </a:lnTo>
                <a:cubicBezTo>
                  <a:pt x="2318110" y="4436634"/>
                  <a:pt x="2205286" y="4323810"/>
                  <a:pt x="2066110" y="4323810"/>
                </a:cubicBezTo>
                <a:cubicBezTo>
                  <a:pt x="1926934" y="4323810"/>
                  <a:pt x="1814110" y="4436634"/>
                  <a:pt x="1814110" y="4575810"/>
                </a:cubicBezTo>
                <a:lnTo>
                  <a:pt x="0" y="4575810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7FEBA9-C2CA-8346-AF90-6D5EF450509E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124037299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AD76E50-EFA7-1C46-804E-CB0D4D316B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05737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E98D378-AB82-9D45-BF79-EC8EF8269A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6C455E-8F77-4547-BEB5-D5A8EEA43578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901365584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3629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362725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9CDF396-1F79-0A43-A175-442AB7F6FB1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61840" y="362"/>
            <a:ext cx="6583680" cy="6497638"/>
          </a:xfrm>
          <a:custGeom>
            <a:avLst/>
            <a:gdLst>
              <a:gd name="connsiteX0" fmla="*/ 1624410 w 6583680"/>
              <a:gd name="connsiteY0" fmla="*/ 0 h 6497638"/>
              <a:gd name="connsiteX1" fmla="*/ 6583680 w 6583680"/>
              <a:gd name="connsiteY1" fmla="*/ 0 h 6497638"/>
              <a:gd name="connsiteX2" fmla="*/ 4959271 w 6583680"/>
              <a:gd name="connsiteY2" fmla="*/ 6497638 h 6497638"/>
              <a:gd name="connsiteX3" fmla="*/ 1785964 w 6583680"/>
              <a:gd name="connsiteY3" fmla="*/ 6497638 h 6497638"/>
              <a:gd name="connsiteX4" fmla="*/ 1786160 w 6583680"/>
              <a:gd name="connsiteY4" fmla="*/ 6495688 h 6497638"/>
              <a:gd name="connsiteX5" fmla="*/ 1534160 w 6583680"/>
              <a:gd name="connsiteY5" fmla="*/ 6243688 h 6497638"/>
              <a:gd name="connsiteX6" fmla="*/ 1282160 w 6583680"/>
              <a:gd name="connsiteY6" fmla="*/ 6495688 h 6497638"/>
              <a:gd name="connsiteX7" fmla="*/ 1282357 w 6583680"/>
              <a:gd name="connsiteY7" fmla="*/ 6497638 h 6497638"/>
              <a:gd name="connsiteX8" fmla="*/ 0 w 658368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83680" h="6497638">
                <a:moveTo>
                  <a:pt x="1624410" y="0"/>
                </a:moveTo>
                <a:lnTo>
                  <a:pt x="6583680" y="0"/>
                </a:lnTo>
                <a:lnTo>
                  <a:pt x="4959271" y="6497638"/>
                </a:lnTo>
                <a:lnTo>
                  <a:pt x="1785964" y="6497638"/>
                </a:lnTo>
                <a:lnTo>
                  <a:pt x="1786160" y="6495688"/>
                </a:lnTo>
                <a:cubicBezTo>
                  <a:pt x="1786160" y="6356512"/>
                  <a:pt x="1673336" y="6243688"/>
                  <a:pt x="1534160" y="6243688"/>
                </a:cubicBezTo>
                <a:cubicBezTo>
                  <a:pt x="1394984" y="6243688"/>
                  <a:pt x="1282160" y="6356512"/>
                  <a:pt x="1282160" y="6495688"/>
                </a:cubicBezTo>
                <a:lnTo>
                  <a:pt x="128235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1605003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Basic -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5392949-F42B-1349-B6ED-F209823B19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1365923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741514 w 12192000"/>
              <a:gd name="connsiteY3" fmla="*/ 6497638 h 6497638"/>
              <a:gd name="connsiteX4" fmla="*/ 0 w 12192000"/>
              <a:gd name="connsiteY4" fmla="*/ 0 h 6497638"/>
              <a:gd name="connsiteX5" fmla="*/ 5866986 w 12192000"/>
              <a:gd name="connsiteY5" fmla="*/ 0 h 6497638"/>
              <a:gd name="connsiteX6" fmla="*/ 4242577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1365923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741514" y="6497638"/>
                </a:lnTo>
                <a:close/>
                <a:moveTo>
                  <a:pt x="0" y="0"/>
                </a:moveTo>
                <a:lnTo>
                  <a:pt x="5866986" y="0"/>
                </a:lnTo>
                <a:lnTo>
                  <a:pt x="424257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401200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224744CA-31FB-8D46-BA94-61401A91EF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948039" cy="6497638"/>
          </a:xfrm>
          <a:custGeom>
            <a:avLst/>
            <a:gdLst>
              <a:gd name="connsiteX0" fmla="*/ 0 w 4948039"/>
              <a:gd name="connsiteY0" fmla="*/ 0 h 6497638"/>
              <a:gd name="connsiteX1" fmla="*/ 1045171 w 4948039"/>
              <a:gd name="connsiteY1" fmla="*/ 0 h 6497638"/>
              <a:gd name="connsiteX2" fmla="*/ 2641600 w 4948039"/>
              <a:gd name="connsiteY2" fmla="*/ 0 h 6497638"/>
              <a:gd name="connsiteX3" fmla="*/ 4948039 w 4948039"/>
              <a:gd name="connsiteY3" fmla="*/ 0 h 6497638"/>
              <a:gd name="connsiteX4" fmla="*/ 3323630 w 4948039"/>
              <a:gd name="connsiteY4" fmla="*/ 6497638 h 6497638"/>
              <a:gd name="connsiteX5" fmla="*/ 0 w 4948039"/>
              <a:gd name="connsiteY5" fmla="*/ 6497638 h 6497638"/>
              <a:gd name="connsiteX6" fmla="*/ 0 w 4948039"/>
              <a:gd name="connsiteY6" fmla="*/ 4180683 h 6497638"/>
              <a:gd name="connsiteX7" fmla="*/ 0 w 4948039"/>
              <a:gd name="connsiteY7" fmla="*/ 1391920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0" y="0"/>
                </a:moveTo>
                <a:lnTo>
                  <a:pt x="1045171" y="0"/>
                </a:lnTo>
                <a:lnTo>
                  <a:pt x="2641600" y="0"/>
                </a:lnTo>
                <a:lnTo>
                  <a:pt x="4948039" y="0"/>
                </a:lnTo>
                <a:lnTo>
                  <a:pt x="3323630" y="6497638"/>
                </a:lnTo>
                <a:lnTo>
                  <a:pt x="0" y="6497638"/>
                </a:lnTo>
                <a:lnTo>
                  <a:pt x="0" y="4180683"/>
                </a:lnTo>
                <a:lnTo>
                  <a:pt x="0" y="139192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1756ECA7-E48C-0348-9B3B-5EB99CC875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43962" y="0"/>
            <a:ext cx="4948039" cy="6497638"/>
          </a:xfrm>
          <a:custGeom>
            <a:avLst/>
            <a:gdLst>
              <a:gd name="connsiteX0" fmla="*/ 1624410 w 4948039"/>
              <a:gd name="connsiteY0" fmla="*/ 0 h 6497638"/>
              <a:gd name="connsiteX1" fmla="*/ 4948039 w 4948039"/>
              <a:gd name="connsiteY1" fmla="*/ 0 h 6497638"/>
              <a:gd name="connsiteX2" fmla="*/ 4948039 w 4948039"/>
              <a:gd name="connsiteY2" fmla="*/ 2316957 h 6497638"/>
              <a:gd name="connsiteX3" fmla="*/ 4948039 w 4948039"/>
              <a:gd name="connsiteY3" fmla="*/ 5598160 h 6497638"/>
              <a:gd name="connsiteX4" fmla="*/ 4948039 w 4948039"/>
              <a:gd name="connsiteY4" fmla="*/ 6497638 h 6497638"/>
              <a:gd name="connsiteX5" fmla="*/ 3902869 w 4948039"/>
              <a:gd name="connsiteY5" fmla="*/ 6497638 h 6497638"/>
              <a:gd name="connsiteX6" fmla="*/ 2306439 w 4948039"/>
              <a:gd name="connsiteY6" fmla="*/ 6497638 h 6497638"/>
              <a:gd name="connsiteX7" fmla="*/ 0 w 4948039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1624410" y="0"/>
                </a:moveTo>
                <a:lnTo>
                  <a:pt x="4948039" y="0"/>
                </a:lnTo>
                <a:lnTo>
                  <a:pt x="4948039" y="2316957"/>
                </a:lnTo>
                <a:lnTo>
                  <a:pt x="4948039" y="5598160"/>
                </a:lnTo>
                <a:lnTo>
                  <a:pt x="4948039" y="6497638"/>
                </a:lnTo>
                <a:lnTo>
                  <a:pt x="3902869" y="6497638"/>
                </a:lnTo>
                <a:lnTo>
                  <a:pt x="230643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C3FACA75-D11C-A445-BACF-8256874A598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38639" y="0"/>
            <a:ext cx="6114723" cy="6497638"/>
          </a:xfrm>
          <a:custGeom>
            <a:avLst/>
            <a:gdLst>
              <a:gd name="connsiteX0" fmla="*/ 1624409 w 6114723"/>
              <a:gd name="connsiteY0" fmla="*/ 0 h 6497638"/>
              <a:gd name="connsiteX1" fmla="*/ 6114723 w 6114723"/>
              <a:gd name="connsiteY1" fmla="*/ 0 h 6497638"/>
              <a:gd name="connsiteX2" fmla="*/ 4490314 w 6114723"/>
              <a:gd name="connsiteY2" fmla="*/ 6497638 h 6497638"/>
              <a:gd name="connsiteX3" fmla="*/ 3309201 w 6114723"/>
              <a:gd name="connsiteY3" fmla="*/ 6497638 h 6497638"/>
              <a:gd name="connsiteX4" fmla="*/ 3309361 w 6114723"/>
              <a:gd name="connsiteY4" fmla="*/ 6496050 h 6497638"/>
              <a:gd name="connsiteX5" fmla="*/ 3057361 w 6114723"/>
              <a:gd name="connsiteY5" fmla="*/ 6244050 h 6497638"/>
              <a:gd name="connsiteX6" fmla="*/ 2805361 w 6114723"/>
              <a:gd name="connsiteY6" fmla="*/ 6496050 h 6497638"/>
              <a:gd name="connsiteX7" fmla="*/ 2805521 w 6114723"/>
              <a:gd name="connsiteY7" fmla="*/ 6497638 h 6497638"/>
              <a:gd name="connsiteX8" fmla="*/ 0 w 6114723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4723" h="6497638">
                <a:moveTo>
                  <a:pt x="1624409" y="0"/>
                </a:moveTo>
                <a:lnTo>
                  <a:pt x="6114723" y="0"/>
                </a:lnTo>
                <a:lnTo>
                  <a:pt x="4490314" y="6497638"/>
                </a:lnTo>
                <a:lnTo>
                  <a:pt x="3309201" y="6497638"/>
                </a:lnTo>
                <a:lnTo>
                  <a:pt x="3309361" y="6496050"/>
                </a:lnTo>
                <a:cubicBezTo>
                  <a:pt x="3309361" y="6356874"/>
                  <a:pt x="3196537" y="6244050"/>
                  <a:pt x="3057361" y="6244050"/>
                </a:cubicBezTo>
                <a:cubicBezTo>
                  <a:pt x="2918185" y="6244050"/>
                  <a:pt x="2805361" y="6356874"/>
                  <a:pt x="2805361" y="6496050"/>
                </a:cubicBezTo>
                <a:lnTo>
                  <a:pt x="2805521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850E4CA7-3414-3447-AE99-8AC0E9CEB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48717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4274460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0E8297A-1925-3442-B39E-AF6799BA71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138616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204889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4AEB6E9-5A32-C542-B22F-8A95F294D1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00660" y="0"/>
            <a:ext cx="8091340" cy="6497638"/>
          </a:xfrm>
          <a:custGeom>
            <a:avLst/>
            <a:gdLst>
              <a:gd name="connsiteX0" fmla="*/ 0 w 8091340"/>
              <a:gd name="connsiteY0" fmla="*/ 0 h 6497638"/>
              <a:gd name="connsiteX1" fmla="*/ 8091340 w 8091340"/>
              <a:gd name="connsiteY1" fmla="*/ 0 h 6497638"/>
              <a:gd name="connsiteX2" fmla="*/ 8091340 w 8091340"/>
              <a:gd name="connsiteY2" fmla="*/ 6497638 h 6497638"/>
              <a:gd name="connsiteX3" fmla="*/ 2247180 w 8091340"/>
              <a:gd name="connsiteY3" fmla="*/ 6497638 h 6497638"/>
              <a:gd name="connsiteX4" fmla="*/ 2247340 w 8091340"/>
              <a:gd name="connsiteY4" fmla="*/ 6496050 h 6497638"/>
              <a:gd name="connsiteX5" fmla="*/ 1995340 w 8091340"/>
              <a:gd name="connsiteY5" fmla="*/ 6244050 h 6497638"/>
              <a:gd name="connsiteX6" fmla="*/ 1743340 w 8091340"/>
              <a:gd name="connsiteY6" fmla="*/ 6496050 h 6497638"/>
              <a:gd name="connsiteX7" fmla="*/ 1743500 w 8091340"/>
              <a:gd name="connsiteY7" fmla="*/ 6497638 h 6497638"/>
              <a:gd name="connsiteX8" fmla="*/ 0 w 809134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91340" h="6497638">
                <a:moveTo>
                  <a:pt x="0" y="0"/>
                </a:moveTo>
                <a:lnTo>
                  <a:pt x="8091340" y="0"/>
                </a:lnTo>
                <a:lnTo>
                  <a:pt x="8091340" y="6497638"/>
                </a:lnTo>
                <a:lnTo>
                  <a:pt x="2247180" y="6497638"/>
                </a:lnTo>
                <a:lnTo>
                  <a:pt x="2247340" y="6496050"/>
                </a:lnTo>
                <a:cubicBezTo>
                  <a:pt x="2247340" y="6356874"/>
                  <a:pt x="2134516" y="6244050"/>
                  <a:pt x="1995340" y="6244050"/>
                </a:cubicBezTo>
                <a:cubicBezTo>
                  <a:pt x="1856164" y="6244050"/>
                  <a:pt x="1743340" y="6356874"/>
                  <a:pt x="1743340" y="6496050"/>
                </a:cubicBezTo>
                <a:lnTo>
                  <a:pt x="17435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2436813"/>
            <a:ext cx="2514241" cy="311443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52214" y="609600"/>
            <a:ext cx="5831452" cy="56387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31E4E05-C83C-1C4F-A555-318083D89D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207830" y="0"/>
            <a:ext cx="3622914" cy="6497638"/>
          </a:xfrm>
          <a:custGeom>
            <a:avLst/>
            <a:gdLst>
              <a:gd name="connsiteX0" fmla="*/ 0 w 3622914"/>
              <a:gd name="connsiteY0" fmla="*/ 0 h 6497638"/>
              <a:gd name="connsiteX1" fmla="*/ 1998505 w 3622914"/>
              <a:gd name="connsiteY1" fmla="*/ 0 h 6497638"/>
              <a:gd name="connsiteX2" fmla="*/ 3622914 w 3622914"/>
              <a:gd name="connsiteY2" fmla="*/ 6497638 h 6497638"/>
              <a:gd name="connsiteX3" fmla="*/ 1624409 w 362291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2914" h="6497638">
                <a:moveTo>
                  <a:pt x="0" y="0"/>
                </a:moveTo>
                <a:lnTo>
                  <a:pt x="1998505" y="0"/>
                </a:lnTo>
                <a:lnTo>
                  <a:pt x="3622914" y="6497638"/>
                </a:lnTo>
                <a:lnTo>
                  <a:pt x="1624409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B06D63-175D-524A-8C0D-287C5255EA82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897702166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A058B1E-06B9-194A-BDEE-F49C12F6683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21868" y="1063625"/>
            <a:ext cx="6570133" cy="4767263"/>
          </a:xfrm>
          <a:custGeom>
            <a:avLst/>
            <a:gdLst>
              <a:gd name="connsiteX0" fmla="*/ 1191816 w 6570133"/>
              <a:gd name="connsiteY0" fmla="*/ 0 h 4767263"/>
              <a:gd name="connsiteX1" fmla="*/ 6570133 w 6570133"/>
              <a:gd name="connsiteY1" fmla="*/ 0 h 4767263"/>
              <a:gd name="connsiteX2" fmla="*/ 6570133 w 6570133"/>
              <a:gd name="connsiteY2" fmla="*/ 4767263 h 4767263"/>
              <a:gd name="connsiteX3" fmla="*/ 0 w 6570133"/>
              <a:gd name="connsiteY3" fmla="*/ 4767263 h 4767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0133" h="4767263">
                <a:moveTo>
                  <a:pt x="1191816" y="0"/>
                </a:moveTo>
                <a:lnTo>
                  <a:pt x="6570133" y="0"/>
                </a:lnTo>
                <a:lnTo>
                  <a:pt x="6570133" y="4767263"/>
                </a:lnTo>
                <a:lnTo>
                  <a:pt x="0" y="4767263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356893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0241678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1345453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7513084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9E272C5-D13A-D942-B952-1D833D58E87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31150" y="0"/>
            <a:ext cx="4060849" cy="6498000"/>
          </a:xfrm>
          <a:custGeom>
            <a:avLst/>
            <a:gdLst>
              <a:gd name="connsiteX0" fmla="*/ 1624500 w 4060848"/>
              <a:gd name="connsiteY0" fmla="*/ 0 h 6497999"/>
              <a:gd name="connsiteX1" fmla="*/ 4060848 w 4060848"/>
              <a:gd name="connsiteY1" fmla="*/ 0 h 6497999"/>
              <a:gd name="connsiteX2" fmla="*/ 4060848 w 4060848"/>
              <a:gd name="connsiteY2" fmla="*/ 6497999 h 6497999"/>
              <a:gd name="connsiteX3" fmla="*/ 0 w 4060848"/>
              <a:gd name="connsiteY3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0848" h="6497999">
                <a:moveTo>
                  <a:pt x="1624500" y="0"/>
                </a:moveTo>
                <a:lnTo>
                  <a:pt x="4060848" y="0"/>
                </a:lnTo>
                <a:lnTo>
                  <a:pt x="4060848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8869646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904916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1D84973-19DB-3C48-A938-6E1DACD5C2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33084" y="0"/>
            <a:ext cx="9758915" cy="6501600"/>
          </a:xfrm>
          <a:custGeom>
            <a:avLst/>
            <a:gdLst>
              <a:gd name="connsiteX0" fmla="*/ 1624501 w 9758915"/>
              <a:gd name="connsiteY0" fmla="*/ 0 h 6501600"/>
              <a:gd name="connsiteX1" fmla="*/ 2400172 w 9758915"/>
              <a:gd name="connsiteY1" fmla="*/ 0 h 6501600"/>
              <a:gd name="connsiteX2" fmla="*/ 4060849 w 9758915"/>
              <a:gd name="connsiteY2" fmla="*/ 0 h 6501600"/>
              <a:gd name="connsiteX3" fmla="*/ 9758915 w 9758915"/>
              <a:gd name="connsiteY3" fmla="*/ 0 h 6501600"/>
              <a:gd name="connsiteX4" fmla="*/ 9758915 w 9758915"/>
              <a:gd name="connsiteY4" fmla="*/ 6501600 h 6501600"/>
              <a:gd name="connsiteX5" fmla="*/ 4060849 w 9758915"/>
              <a:gd name="connsiteY5" fmla="*/ 6501600 h 6501600"/>
              <a:gd name="connsiteX6" fmla="*/ 3913796 w 9758915"/>
              <a:gd name="connsiteY6" fmla="*/ 6501600 h 6501600"/>
              <a:gd name="connsiteX7" fmla="*/ 3914916 w 9758915"/>
              <a:gd name="connsiteY7" fmla="*/ 6496050 h 6501600"/>
              <a:gd name="connsiteX8" fmla="*/ 3662916 w 9758915"/>
              <a:gd name="connsiteY8" fmla="*/ 6244050 h 6501600"/>
              <a:gd name="connsiteX9" fmla="*/ 3410916 w 9758915"/>
              <a:gd name="connsiteY9" fmla="*/ 6496050 h 6501600"/>
              <a:gd name="connsiteX10" fmla="*/ 3412037 w 9758915"/>
              <a:gd name="connsiteY10" fmla="*/ 6501600 h 6501600"/>
              <a:gd name="connsiteX11" fmla="*/ 2400172 w 9758915"/>
              <a:gd name="connsiteY11" fmla="*/ 6501600 h 6501600"/>
              <a:gd name="connsiteX12" fmla="*/ 0 w 9758915"/>
              <a:gd name="connsiteY12" fmla="*/ 6501600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758915" h="6501600">
                <a:moveTo>
                  <a:pt x="1624501" y="0"/>
                </a:moveTo>
                <a:lnTo>
                  <a:pt x="2400172" y="0"/>
                </a:lnTo>
                <a:lnTo>
                  <a:pt x="4060849" y="0"/>
                </a:lnTo>
                <a:lnTo>
                  <a:pt x="9758915" y="0"/>
                </a:lnTo>
                <a:lnTo>
                  <a:pt x="9758915" y="6501600"/>
                </a:lnTo>
                <a:lnTo>
                  <a:pt x="4060849" y="6501600"/>
                </a:lnTo>
                <a:lnTo>
                  <a:pt x="3913796" y="6501600"/>
                </a:lnTo>
                <a:lnTo>
                  <a:pt x="3914916" y="6496050"/>
                </a:lnTo>
                <a:cubicBezTo>
                  <a:pt x="3914916" y="6356874"/>
                  <a:pt x="3802092" y="6244050"/>
                  <a:pt x="3662916" y="6244050"/>
                </a:cubicBezTo>
                <a:cubicBezTo>
                  <a:pt x="3523740" y="6244050"/>
                  <a:pt x="3410916" y="6356874"/>
                  <a:pt x="3410916" y="6496050"/>
                </a:cubicBezTo>
                <a:lnTo>
                  <a:pt x="3412037" y="6501600"/>
                </a:lnTo>
                <a:lnTo>
                  <a:pt x="2400172" y="6501600"/>
                </a:lnTo>
                <a:lnTo>
                  <a:pt x="0" y="650160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115162" cy="341238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3961683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278172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5CB573B-2568-6246-9F01-9C335F7962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231118" cy="6497638"/>
          </a:xfrm>
          <a:custGeom>
            <a:avLst/>
            <a:gdLst>
              <a:gd name="connsiteX0" fmla="*/ 0 w 6231118"/>
              <a:gd name="connsiteY0" fmla="*/ 0 h 6497638"/>
              <a:gd name="connsiteX1" fmla="*/ 6231118 w 6231118"/>
              <a:gd name="connsiteY1" fmla="*/ 0 h 6497638"/>
              <a:gd name="connsiteX2" fmla="*/ 4606709 w 6231118"/>
              <a:gd name="connsiteY2" fmla="*/ 6497638 h 6497638"/>
              <a:gd name="connsiteX3" fmla="*/ 0 w 6231118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31118" h="6497638">
                <a:moveTo>
                  <a:pt x="0" y="0"/>
                </a:moveTo>
                <a:lnTo>
                  <a:pt x="6231118" y="0"/>
                </a:lnTo>
                <a:lnTo>
                  <a:pt x="460670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9F9F02D-42E6-8E46-8C4B-F728CEA443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48113" y="609600"/>
            <a:ext cx="7635875" cy="5376421"/>
          </a:xfrm>
          <a:solidFill>
            <a:schemeClr val="accent5"/>
          </a:solidFill>
        </p:spPr>
        <p:txBody>
          <a:bodyPr>
            <a:norm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330048" cy="254838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3208" y="871920"/>
            <a:ext cx="7360458" cy="511410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001967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50/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476D85D8-44D1-3346-A88C-E1C4318EBD4E}"/>
              </a:ext>
            </a:extLst>
          </p:cNvPr>
          <p:cNvSpPr/>
          <p:nvPr/>
        </p:nvSpPr>
        <p:spPr>
          <a:xfrm>
            <a:off x="0" y="0"/>
            <a:ext cx="6096000" cy="64980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197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4" y="6244050"/>
                  <a:pt x="5844000" y="6356874"/>
                  <a:pt x="5844000" y="6496050"/>
                </a:cubicBezTo>
                <a:lnTo>
                  <a:pt x="5844197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0475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5304753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1741548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44828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33960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52569D9-CE1C-EC4F-B932-F0ADE6E84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5999" y="1802342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C6EDB3-DD20-244A-A980-6A1FD175B5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2466686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2F01659-8CFF-1A43-B4AE-8DD102C457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3131030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543A65C-73BE-6543-8FD4-911F06EFCC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9" y="3795374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16C2078-9A7F-AA44-B351-57E689A3C2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5999" y="4459718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5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DC7FCC43-6167-0241-8E00-E6CDF85B9C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9354" y="1802342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DFF8DF8-0C9B-8B46-B0B4-2371F11D3103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969354" y="2466686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4A9762A-B8E1-2D48-820F-6869A93BB63F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969353" y="3153100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1594578-C69C-4343-8929-33038993FB8E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969353" y="3806964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5B61243-FB61-9E4D-A5DF-2275F80DD1E7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6969353" y="4457103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30284561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E3FC6C-2F1E-FE41-BDBC-E6D440A602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5000" y="1704600"/>
            <a:ext cx="7902000" cy="3448800"/>
          </a:xfrm>
          <a:solidFill>
            <a:schemeClr val="bg1"/>
          </a:solidFill>
        </p:spPr>
        <p:txBody>
          <a:bodyPr lIns="360000" rIns="5184000" anchor="ctr">
            <a:norm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1"/>
            </a:lvl1pPr>
          </a:lstStyle>
          <a:p>
            <a:pPr lvl="0"/>
            <a:r>
              <a:rPr lang="en-GB"/>
              <a:t>Agenda slid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96E59D0-2D90-6947-A2A4-A20F81D620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94599" y="1704600"/>
            <a:ext cx="4752402" cy="3448800"/>
          </a:xfrm>
          <a:noFill/>
        </p:spPr>
        <p:txBody>
          <a:bodyPr lIns="90000" rIns="90000" anchor="ctr"/>
          <a:lstStyle>
            <a:lvl1pPr marL="622300" indent="-622300">
              <a:lnSpc>
                <a:spcPct val="80000"/>
              </a:lnSpc>
              <a:spcAft>
                <a:spcPts val="1800"/>
              </a:spcAft>
              <a:buClr>
                <a:schemeClr val="accent4"/>
              </a:buClr>
              <a:buFont typeface="+mj-lt"/>
              <a:buAutoNum type="arabicPeriod"/>
              <a:tabLst/>
              <a:defRPr sz="2400" b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824784972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461649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0 / 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55C9D7FD-4372-984B-82EC-1682388A058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86575" y="0"/>
            <a:ext cx="6905425" cy="6496050"/>
          </a:xfrm>
          <a:custGeom>
            <a:avLst/>
            <a:gdLst>
              <a:gd name="connsiteX0" fmla="*/ 1674037 w 6905425"/>
              <a:gd name="connsiteY0" fmla="*/ 0 h 6496050"/>
              <a:gd name="connsiteX1" fmla="*/ 6905425 w 6905425"/>
              <a:gd name="connsiteY1" fmla="*/ 0 h 6496050"/>
              <a:gd name="connsiteX2" fmla="*/ 6905425 w 6905425"/>
              <a:gd name="connsiteY2" fmla="*/ 6496050 h 6496050"/>
              <a:gd name="connsiteX3" fmla="*/ 1061425 w 6905425"/>
              <a:gd name="connsiteY3" fmla="*/ 6496050 h 6496050"/>
              <a:gd name="connsiteX4" fmla="*/ 809425 w 6905425"/>
              <a:gd name="connsiteY4" fmla="*/ 6244050 h 6496050"/>
              <a:gd name="connsiteX5" fmla="*/ 557425 w 6905425"/>
              <a:gd name="connsiteY5" fmla="*/ 6496050 h 6496050"/>
              <a:gd name="connsiteX6" fmla="*/ 0 w 6905425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05425" h="6496050">
                <a:moveTo>
                  <a:pt x="1674037" y="0"/>
                </a:moveTo>
                <a:lnTo>
                  <a:pt x="6905425" y="0"/>
                </a:lnTo>
                <a:lnTo>
                  <a:pt x="6905425" y="6496050"/>
                </a:lnTo>
                <a:lnTo>
                  <a:pt x="1061425" y="6496050"/>
                </a:lnTo>
                <a:cubicBezTo>
                  <a:pt x="1061425" y="6356874"/>
                  <a:pt x="948601" y="6244050"/>
                  <a:pt x="809425" y="6244050"/>
                </a:cubicBezTo>
                <a:cubicBezTo>
                  <a:pt x="670249" y="6244050"/>
                  <a:pt x="557425" y="6356874"/>
                  <a:pt x="557425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206A2BC-C7D2-1F4A-8EFA-C1457E5BF1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960612" cy="6497638"/>
          </a:xfrm>
          <a:custGeom>
            <a:avLst/>
            <a:gdLst>
              <a:gd name="connsiteX0" fmla="*/ 0 w 6960612"/>
              <a:gd name="connsiteY0" fmla="*/ 0 h 6497638"/>
              <a:gd name="connsiteX1" fmla="*/ 6960612 w 6960612"/>
              <a:gd name="connsiteY1" fmla="*/ 0 h 6497638"/>
              <a:gd name="connsiteX2" fmla="*/ 5286165 w 6960612"/>
              <a:gd name="connsiteY2" fmla="*/ 6497638 h 6497638"/>
              <a:gd name="connsiteX3" fmla="*/ 0 w 6960612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60612" h="6497638"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8697FE-A3E1-4148-AE49-9A90AB99A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9858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 w/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4973380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200" y="1620078"/>
            <a:ext cx="10965600" cy="3617843"/>
          </a:xfrm>
        </p:spPr>
        <p:txBody>
          <a:bodyPr anchor="ctr"/>
          <a:lstStyle>
            <a:lvl1pPr algn="ctr">
              <a:defRPr b="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3" name="Graphic 6">
            <a:extLst>
              <a:ext uri="{FF2B5EF4-FFF2-40B4-BE49-F238E27FC236}">
                <a16:creationId xmlns:a16="http://schemas.microsoft.com/office/drawing/2014/main" id="{6AFF0189-2B17-044A-95A5-0CE65C3B7CF9}"/>
              </a:ext>
            </a:extLst>
          </p:cNvPr>
          <p:cNvSpPr/>
          <p:nvPr/>
        </p:nvSpPr>
        <p:spPr>
          <a:xfrm>
            <a:off x="5877609" y="1210876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" name="Graphic 9">
            <a:extLst>
              <a:ext uri="{FF2B5EF4-FFF2-40B4-BE49-F238E27FC236}">
                <a16:creationId xmlns:a16="http://schemas.microsoft.com/office/drawing/2014/main" id="{8FDACD0F-927F-324F-81B7-9EB5A9A2FA9B}"/>
              </a:ext>
            </a:extLst>
          </p:cNvPr>
          <p:cNvSpPr/>
          <p:nvPr/>
        </p:nvSpPr>
        <p:spPr>
          <a:xfrm>
            <a:off x="5877608" y="5348453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196455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90D2185-5F86-7749-BB4E-183109B402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2192000 w 12192000"/>
              <a:gd name="connsiteY0" fmla="*/ 2425083 h 6497638"/>
              <a:gd name="connsiteX1" fmla="*/ 12192000 w 12192000"/>
              <a:gd name="connsiteY1" fmla="*/ 6496050 h 6497638"/>
              <a:gd name="connsiteX2" fmla="*/ 11143308 w 12192000"/>
              <a:gd name="connsiteY2" fmla="*/ 6496050 h 6497638"/>
              <a:gd name="connsiteX3" fmla="*/ 0 w 12192000"/>
              <a:gd name="connsiteY3" fmla="*/ 0 h 6497638"/>
              <a:gd name="connsiteX4" fmla="*/ 6960612 w 12192000"/>
              <a:gd name="connsiteY4" fmla="*/ 0 h 6497638"/>
              <a:gd name="connsiteX5" fmla="*/ 5286165 w 12192000"/>
              <a:gd name="connsiteY5" fmla="*/ 6497638 h 6497638"/>
              <a:gd name="connsiteX6" fmla="*/ 0 w 12192000"/>
              <a:gd name="connsiteY6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97638">
                <a:moveTo>
                  <a:pt x="12192000" y="2425083"/>
                </a:moveTo>
                <a:lnTo>
                  <a:pt x="12192000" y="6496050"/>
                </a:lnTo>
                <a:lnTo>
                  <a:pt x="11143308" y="6496050"/>
                </a:lnTo>
                <a:close/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781921-067E-D84A-964D-D16F6D724D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93766" y="0"/>
            <a:ext cx="6116546" cy="3249000"/>
          </a:xfrm>
        </p:spPr>
        <p:txBody>
          <a:bodyPr tIns="0" bIns="0" anchor="b">
            <a:noAutofit/>
          </a:bodyPr>
          <a:lstStyle>
            <a:lvl1pPr>
              <a:defRPr sz="200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892ADA3-681B-4848-8013-ACCCDEB5DE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7963" y="3081200"/>
            <a:ext cx="4852349" cy="3169219"/>
          </a:xfrm>
        </p:spPr>
        <p:txBody>
          <a:bodyPr>
            <a:noAutofit/>
          </a:bodyPr>
          <a:lstStyle>
            <a:lvl1pPr>
              <a:lnSpc>
                <a:spcPts val="6000"/>
              </a:lnSpc>
              <a:spcAft>
                <a:spcPts val="0"/>
              </a:spcAft>
              <a:defRPr sz="6000" b="1" i="1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3F26965-B205-DB42-AEAF-942D75F53F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69605" y="822037"/>
            <a:ext cx="3524708" cy="1865746"/>
          </a:xfrm>
          <a:custGeom>
            <a:avLst/>
            <a:gdLst>
              <a:gd name="connsiteX0" fmla="*/ 3242518 w 3524708"/>
              <a:gd name="connsiteY0" fmla="*/ 0 h 1865746"/>
              <a:gd name="connsiteX1" fmla="*/ 3524708 w 3524708"/>
              <a:gd name="connsiteY1" fmla="*/ 0 h 1865746"/>
              <a:gd name="connsiteX2" fmla="*/ 3044984 w 3524708"/>
              <a:gd name="connsiteY2" fmla="*/ 1865746 h 1865746"/>
              <a:gd name="connsiteX3" fmla="*/ 2762794 w 3524708"/>
              <a:gd name="connsiteY3" fmla="*/ 1865746 h 1865746"/>
              <a:gd name="connsiteX4" fmla="*/ 2689960 w 3524708"/>
              <a:gd name="connsiteY4" fmla="*/ 0 h 1865746"/>
              <a:gd name="connsiteX5" fmla="*/ 2972150 w 3524708"/>
              <a:gd name="connsiteY5" fmla="*/ 0 h 1865746"/>
              <a:gd name="connsiteX6" fmla="*/ 2492426 w 3524708"/>
              <a:gd name="connsiteY6" fmla="*/ 1865746 h 1865746"/>
              <a:gd name="connsiteX7" fmla="*/ 2210236 w 3524708"/>
              <a:gd name="connsiteY7" fmla="*/ 1865746 h 1865746"/>
              <a:gd name="connsiteX8" fmla="*/ 2137401 w 3524708"/>
              <a:gd name="connsiteY8" fmla="*/ 0 h 1865746"/>
              <a:gd name="connsiteX9" fmla="*/ 2419591 w 3524708"/>
              <a:gd name="connsiteY9" fmla="*/ 0 h 1865746"/>
              <a:gd name="connsiteX10" fmla="*/ 1939867 w 3524708"/>
              <a:gd name="connsiteY10" fmla="*/ 1865746 h 1865746"/>
              <a:gd name="connsiteX11" fmla="*/ 1657677 w 3524708"/>
              <a:gd name="connsiteY11" fmla="*/ 1865746 h 1865746"/>
              <a:gd name="connsiteX12" fmla="*/ 1584842 w 3524708"/>
              <a:gd name="connsiteY12" fmla="*/ 0 h 1865746"/>
              <a:gd name="connsiteX13" fmla="*/ 1867032 w 3524708"/>
              <a:gd name="connsiteY13" fmla="*/ 0 h 1865746"/>
              <a:gd name="connsiteX14" fmla="*/ 1387308 w 3524708"/>
              <a:gd name="connsiteY14" fmla="*/ 1865746 h 1865746"/>
              <a:gd name="connsiteX15" fmla="*/ 1105118 w 3524708"/>
              <a:gd name="connsiteY15" fmla="*/ 1865746 h 1865746"/>
              <a:gd name="connsiteX16" fmla="*/ 1032283 w 3524708"/>
              <a:gd name="connsiteY16" fmla="*/ 0 h 1865746"/>
              <a:gd name="connsiteX17" fmla="*/ 1314473 w 3524708"/>
              <a:gd name="connsiteY17" fmla="*/ 0 h 1865746"/>
              <a:gd name="connsiteX18" fmla="*/ 834749 w 3524708"/>
              <a:gd name="connsiteY18" fmla="*/ 1865746 h 1865746"/>
              <a:gd name="connsiteX19" fmla="*/ 552559 w 3524708"/>
              <a:gd name="connsiteY19" fmla="*/ 1865746 h 1865746"/>
              <a:gd name="connsiteX20" fmla="*/ 479724 w 3524708"/>
              <a:gd name="connsiteY20" fmla="*/ 0 h 1865746"/>
              <a:gd name="connsiteX21" fmla="*/ 761914 w 3524708"/>
              <a:gd name="connsiteY21" fmla="*/ 0 h 1865746"/>
              <a:gd name="connsiteX22" fmla="*/ 282190 w 3524708"/>
              <a:gd name="connsiteY22" fmla="*/ 1865746 h 1865746"/>
              <a:gd name="connsiteX23" fmla="*/ 0 w 3524708"/>
              <a:gd name="connsiteY23" fmla="*/ 1865746 h 1865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524708" h="1865746">
                <a:moveTo>
                  <a:pt x="3242518" y="0"/>
                </a:moveTo>
                <a:lnTo>
                  <a:pt x="3524708" y="0"/>
                </a:lnTo>
                <a:lnTo>
                  <a:pt x="3044984" y="1865746"/>
                </a:lnTo>
                <a:lnTo>
                  <a:pt x="2762794" y="1865746"/>
                </a:lnTo>
                <a:close/>
                <a:moveTo>
                  <a:pt x="2689960" y="0"/>
                </a:moveTo>
                <a:lnTo>
                  <a:pt x="2972150" y="0"/>
                </a:lnTo>
                <a:lnTo>
                  <a:pt x="2492426" y="1865746"/>
                </a:lnTo>
                <a:lnTo>
                  <a:pt x="2210236" y="1865746"/>
                </a:lnTo>
                <a:close/>
                <a:moveTo>
                  <a:pt x="2137401" y="0"/>
                </a:moveTo>
                <a:lnTo>
                  <a:pt x="2419591" y="0"/>
                </a:lnTo>
                <a:lnTo>
                  <a:pt x="1939867" y="1865746"/>
                </a:lnTo>
                <a:lnTo>
                  <a:pt x="1657677" y="1865746"/>
                </a:lnTo>
                <a:close/>
                <a:moveTo>
                  <a:pt x="1584842" y="0"/>
                </a:moveTo>
                <a:lnTo>
                  <a:pt x="1867032" y="0"/>
                </a:lnTo>
                <a:lnTo>
                  <a:pt x="1387308" y="1865746"/>
                </a:lnTo>
                <a:lnTo>
                  <a:pt x="1105118" y="1865746"/>
                </a:lnTo>
                <a:close/>
                <a:moveTo>
                  <a:pt x="1032283" y="0"/>
                </a:moveTo>
                <a:lnTo>
                  <a:pt x="1314473" y="0"/>
                </a:lnTo>
                <a:lnTo>
                  <a:pt x="834749" y="1865746"/>
                </a:lnTo>
                <a:lnTo>
                  <a:pt x="552559" y="1865746"/>
                </a:lnTo>
                <a:close/>
                <a:moveTo>
                  <a:pt x="479724" y="0"/>
                </a:moveTo>
                <a:lnTo>
                  <a:pt x="761914" y="0"/>
                </a:lnTo>
                <a:lnTo>
                  <a:pt x="282190" y="1865746"/>
                </a:lnTo>
                <a:lnTo>
                  <a:pt x="0" y="186574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61302693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072DD46-3F51-A748-8F94-B6F9001382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878904" y="-362"/>
            <a:ext cx="7974904" cy="6497638"/>
          </a:xfr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50000" b="1" spc="-30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54E8F8-3509-FA4A-84BE-D7B63C4C46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6257" y="609600"/>
            <a:ext cx="6762967" cy="5635625"/>
          </a:xfrm>
        </p:spPr>
        <p:txBody>
          <a:bodyPr anchor="ctr"/>
          <a:lstStyle>
            <a:lvl1pPr>
              <a:lnSpc>
                <a:spcPts val="6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519952474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>
            <a:extLst>
              <a:ext uri="{FF2B5EF4-FFF2-40B4-BE49-F238E27FC236}">
                <a16:creationId xmlns:a16="http://schemas.microsoft.com/office/drawing/2014/main" id="{7B3EDD58-5FA3-6140-B17B-40F7C1CD1135}"/>
              </a:ext>
            </a:extLst>
          </p:cNvPr>
          <p:cNvSpPr/>
          <p:nvPr/>
        </p:nvSpPr>
        <p:spPr>
          <a:xfrm>
            <a:off x="609600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235081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AF442D-09D5-E949-9926-48F727EB85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51C0B5-0FE4-AA45-86C1-CD72BD8791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EDC06073-822D-C148-9EA1-733BA6032B1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32CC8F85-F28A-DB4E-8753-4470623EA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62716F3C-0A12-0A43-AAAF-C19A6B6DA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3062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7698736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3138474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74D4A870-F17A-F442-8E79-D6593E5CEED2}"/>
              </a:ext>
            </a:extLst>
          </p:cNvPr>
          <p:cNvSpPr/>
          <p:nvPr/>
        </p:nvSpPr>
        <p:spPr>
          <a:xfrm flipH="1">
            <a:off x="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9480605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0318214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57532" y="0"/>
            <a:ext cx="4834469" cy="64980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66451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8071852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D3E5BD-E875-EE4C-9CB4-36F3C3D3E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46335" cy="97498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5ABFEEB8-51F9-0142-A050-4625F632551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98470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9E2A247-90BA-314A-BDCD-0A4AECB670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2325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3DB6A0-2E22-9F4E-8C30-ECA98F4FDBD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98470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C9E62EE-D701-B347-BBEF-F2599FBBA8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22325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945DC05E-C003-B74C-9DD3-11B31C7A2E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435679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15B1402-52BD-4944-86EC-993B6CCD1D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09233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38615044-966E-9341-99DF-7BCA47F3C02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35679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1E7B9924-E501-1945-9875-2CFFD003587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09233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4484039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CA9069D4-BBD5-6840-9646-5955E2C1E9C0}"/>
              </a:ext>
            </a:extLst>
          </p:cNvPr>
          <p:cNvSpPr/>
          <p:nvPr/>
        </p:nvSpPr>
        <p:spPr>
          <a:xfrm>
            <a:off x="0" y="3429000"/>
            <a:ext cx="12192000" cy="3069000"/>
          </a:xfrm>
          <a:custGeom>
            <a:avLst/>
            <a:gdLst>
              <a:gd name="connsiteX0" fmla="*/ 0 w 12192000"/>
              <a:gd name="connsiteY0" fmla="*/ 0 h 3069000"/>
              <a:gd name="connsiteX1" fmla="*/ 12192000 w 12192000"/>
              <a:gd name="connsiteY1" fmla="*/ 0 h 3069000"/>
              <a:gd name="connsiteX2" fmla="*/ 12192000 w 12192000"/>
              <a:gd name="connsiteY2" fmla="*/ 3069000 h 3069000"/>
              <a:gd name="connsiteX3" fmla="*/ 6347607 w 12192000"/>
              <a:gd name="connsiteY3" fmla="*/ 3069000 h 3069000"/>
              <a:gd name="connsiteX4" fmla="*/ 6348000 w 12192000"/>
              <a:gd name="connsiteY4" fmla="*/ 3067050 h 3069000"/>
              <a:gd name="connsiteX5" fmla="*/ 6096000 w 12192000"/>
              <a:gd name="connsiteY5" fmla="*/ 2815050 h 3069000"/>
              <a:gd name="connsiteX6" fmla="*/ 5844000 w 12192000"/>
              <a:gd name="connsiteY6" fmla="*/ 3067050 h 3069000"/>
              <a:gd name="connsiteX7" fmla="*/ 5844394 w 12192000"/>
              <a:gd name="connsiteY7" fmla="*/ 3069000 h 3069000"/>
              <a:gd name="connsiteX8" fmla="*/ 0 w 12192000"/>
              <a:gd name="connsiteY8" fmla="*/ 3069000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3069000">
                <a:moveTo>
                  <a:pt x="0" y="0"/>
                </a:moveTo>
                <a:lnTo>
                  <a:pt x="12192000" y="0"/>
                </a:lnTo>
                <a:lnTo>
                  <a:pt x="12192000" y="3069000"/>
                </a:lnTo>
                <a:lnTo>
                  <a:pt x="6347607" y="3069000"/>
                </a:lnTo>
                <a:lnTo>
                  <a:pt x="6348000" y="3067050"/>
                </a:lnTo>
                <a:cubicBezTo>
                  <a:pt x="6348000" y="2927874"/>
                  <a:pt x="6235176" y="2815050"/>
                  <a:pt x="6096000" y="2815050"/>
                </a:cubicBezTo>
                <a:cubicBezTo>
                  <a:pt x="5956825" y="2815050"/>
                  <a:pt x="5844000" y="2927874"/>
                  <a:pt x="5844000" y="3067050"/>
                </a:cubicBezTo>
                <a:lnTo>
                  <a:pt x="5844394" y="3069000"/>
                </a:lnTo>
                <a:lnTo>
                  <a:pt x="0" y="3069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88810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88810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04652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04652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20494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20494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36335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36335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92387795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29">
            <a:extLst>
              <a:ext uri="{FF2B5EF4-FFF2-40B4-BE49-F238E27FC236}">
                <a16:creationId xmlns:a16="http://schemas.microsoft.com/office/drawing/2014/main" id="{B4DB38A8-ED85-1347-B790-9A2BE1DBEF4C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71538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1784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8738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4762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03222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3468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1906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7930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571538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31784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8738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762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603222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63468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1906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7930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27974970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 33">
            <a:extLst>
              <a:ext uri="{FF2B5EF4-FFF2-40B4-BE49-F238E27FC236}">
                <a16:creationId xmlns:a16="http://schemas.microsoft.com/office/drawing/2014/main" id="{197B69D6-70A7-CE4F-9A01-697D3720C72F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7806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052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5155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1179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4530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554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39047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99293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7806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8052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05155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1179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34530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0554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39047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9293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133D25D3-41F4-CF45-B3FB-081FF3E957B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932794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02652BE-BCA5-5E41-A735-774F4FD0223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93040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Picture Placeholder 16">
            <a:extLst>
              <a:ext uri="{FF2B5EF4-FFF2-40B4-BE49-F238E27FC236}">
                <a16:creationId xmlns:a16="http://schemas.microsoft.com/office/drawing/2014/main" id="{3A70D29D-1742-1E42-A75A-59E3F307005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32794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120ECA6-14E8-FE4E-BFAC-0B4E36A588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3040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82505887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E02DB30E-67C0-3445-AA5E-A5CC215D9884}"/>
              </a:ext>
            </a:extLst>
          </p:cNvPr>
          <p:cNvSpPr/>
          <p:nvPr/>
        </p:nvSpPr>
        <p:spPr>
          <a:xfrm>
            <a:off x="0" y="0"/>
            <a:ext cx="6096000" cy="649605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244050 h 6496050"/>
              <a:gd name="connsiteX3" fmla="*/ 5844000 w 6096000"/>
              <a:gd name="connsiteY3" fmla="*/ 6496050 h 6496050"/>
              <a:gd name="connsiteX4" fmla="*/ 0 w 6096000"/>
              <a:gd name="connsiteY4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988FC3-040D-EF47-819D-2C866022ED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55600"/>
            <a:ext cx="3026526" cy="6140450"/>
          </a:xfrm>
          <a:custGeom>
            <a:avLst/>
            <a:gdLst>
              <a:gd name="connsiteX0" fmla="*/ 0 w 3026526"/>
              <a:gd name="connsiteY0" fmla="*/ 0 h 6140450"/>
              <a:gd name="connsiteX1" fmla="*/ 3026526 w 3026526"/>
              <a:gd name="connsiteY1" fmla="*/ 0 h 6140450"/>
              <a:gd name="connsiteX2" fmla="*/ 1491414 w 3026526"/>
              <a:gd name="connsiteY2" fmla="*/ 6140450 h 6140450"/>
              <a:gd name="connsiteX3" fmla="*/ 0 w 3026526"/>
              <a:gd name="connsiteY3" fmla="*/ 6140450 h 6140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6526" h="6140450">
                <a:moveTo>
                  <a:pt x="0" y="0"/>
                </a:moveTo>
                <a:lnTo>
                  <a:pt x="3026526" y="0"/>
                </a:lnTo>
                <a:lnTo>
                  <a:pt x="1491414" y="6140450"/>
                </a:lnTo>
                <a:lnTo>
                  <a:pt x="0" y="614045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9149" y="609600"/>
            <a:ext cx="8540076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9150" y="2436812"/>
            <a:ext cx="2963332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6726608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all ou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83C2CFA2-B26F-9B4B-99FF-BACD59C72A9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084580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221390 w 12192000"/>
              <a:gd name="connsiteY3" fmla="*/ 6497638 h 6497638"/>
              <a:gd name="connsiteX4" fmla="*/ 0 w 12192000"/>
              <a:gd name="connsiteY4" fmla="*/ 0 h 6497638"/>
              <a:gd name="connsiteX5" fmla="*/ 4267200 w 12192000"/>
              <a:gd name="connsiteY5" fmla="*/ 0 h 6497638"/>
              <a:gd name="connsiteX6" fmla="*/ 4267200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084580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221390" y="6497638"/>
                </a:lnTo>
                <a:close/>
                <a:moveTo>
                  <a:pt x="0" y="0"/>
                </a:moveTo>
                <a:lnTo>
                  <a:pt x="4267200" y="0"/>
                </a:lnTo>
                <a:lnTo>
                  <a:pt x="42672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34105" cy="2819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704764-5568-8B41-B513-A6931F8926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40239" y="1056612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EAE2D71-1538-5D46-A3E8-201696276C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9937" y="1056612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33C59DB6-68B7-5C4A-8106-D74E5DF19A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40239" y="2710048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D36210B-701B-D042-B701-14479EBE28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9937" y="2710048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C3F4854-7AB9-D14B-9695-E24C3E2F0F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40239" y="4363484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B0BC641-2F1D-BB47-ABAC-E5C26E2A8A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9937" y="4363484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5718346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7743081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 layout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5063118" cy="18463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609600"/>
            <a:ext cx="5487666" cy="563874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7704238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449044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979" y="3070253"/>
            <a:ext cx="2973600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4341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ECB1B2-4B29-F74A-823F-6BCFA66286D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37979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9023512-711F-0C4F-A156-FD720C66A3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9200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BA21B11-DA81-F149-A2C0-25651AB36E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64057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32162853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244910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428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9FA9E08D-EBBC-D74C-8F0C-DD8EE542819B}"/>
              </a:ext>
            </a:extLst>
          </p:cNvPr>
          <p:cNvSpPr/>
          <p:nvPr/>
        </p:nvSpPr>
        <p:spPr>
          <a:xfrm>
            <a:off x="4062000" y="3429000"/>
            <a:ext cx="4069800" cy="3069000"/>
          </a:xfrm>
          <a:custGeom>
            <a:avLst/>
            <a:gdLst>
              <a:gd name="connsiteX0" fmla="*/ 0 w 4069800"/>
              <a:gd name="connsiteY0" fmla="*/ 0 h 3069000"/>
              <a:gd name="connsiteX1" fmla="*/ 4068000 w 4069800"/>
              <a:gd name="connsiteY1" fmla="*/ 0 h 3069000"/>
              <a:gd name="connsiteX2" fmla="*/ 4069800 w 4069800"/>
              <a:gd name="connsiteY2" fmla="*/ 0 h 3069000"/>
              <a:gd name="connsiteX3" fmla="*/ 4069800 w 4069800"/>
              <a:gd name="connsiteY3" fmla="*/ 3069000 h 3069000"/>
              <a:gd name="connsiteX4" fmla="*/ 2287827 w 4069800"/>
              <a:gd name="connsiteY4" fmla="*/ 3069000 h 3069000"/>
              <a:gd name="connsiteX5" fmla="*/ 2288023 w 4069800"/>
              <a:gd name="connsiteY5" fmla="*/ 3067050 h 3069000"/>
              <a:gd name="connsiteX6" fmla="*/ 2035800 w 4069800"/>
              <a:gd name="connsiteY6" fmla="*/ 2815050 h 3069000"/>
              <a:gd name="connsiteX7" fmla="*/ 1783577 w 4069800"/>
              <a:gd name="connsiteY7" fmla="*/ 3067050 h 3069000"/>
              <a:gd name="connsiteX8" fmla="*/ 1783774 w 4069800"/>
              <a:gd name="connsiteY8" fmla="*/ 3069000 h 3069000"/>
              <a:gd name="connsiteX9" fmla="*/ 1800 w 4069800"/>
              <a:gd name="connsiteY9" fmla="*/ 3069000 h 3069000"/>
              <a:gd name="connsiteX10" fmla="*/ 1800 w 4069800"/>
              <a:gd name="connsiteY10" fmla="*/ 235974 h 3069000"/>
              <a:gd name="connsiteX11" fmla="*/ 0 w 4069800"/>
              <a:gd name="connsiteY11" fmla="*/ 235974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69800" h="3069000">
                <a:moveTo>
                  <a:pt x="0" y="0"/>
                </a:moveTo>
                <a:lnTo>
                  <a:pt x="4068000" y="0"/>
                </a:lnTo>
                <a:lnTo>
                  <a:pt x="4069800" y="0"/>
                </a:lnTo>
                <a:lnTo>
                  <a:pt x="4069800" y="3069000"/>
                </a:lnTo>
                <a:lnTo>
                  <a:pt x="2287827" y="3069000"/>
                </a:lnTo>
                <a:lnTo>
                  <a:pt x="2288023" y="3067050"/>
                </a:lnTo>
                <a:cubicBezTo>
                  <a:pt x="2288023" y="2927874"/>
                  <a:pt x="2175099" y="2815050"/>
                  <a:pt x="2035800" y="2815050"/>
                </a:cubicBezTo>
                <a:cubicBezTo>
                  <a:pt x="1896501" y="2815050"/>
                  <a:pt x="1783577" y="2927874"/>
                  <a:pt x="1783577" y="3067050"/>
                </a:cubicBezTo>
                <a:lnTo>
                  <a:pt x="1783774" y="3069000"/>
                </a:lnTo>
                <a:lnTo>
                  <a:pt x="1800" y="3069000"/>
                </a:lnTo>
                <a:lnTo>
                  <a:pt x="1800" y="235974"/>
                </a:lnTo>
                <a:lnTo>
                  <a:pt x="0" y="235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631013-65DA-1041-8C57-167C9C534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0E0DA3E-4AF8-B845-A89E-05FD19C066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B26C98B-BE8E-EA41-A524-6B126A418C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025497E-6F36-0141-BDA5-C0C567EDA4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FE8E897-71C0-C94C-839C-F99C35B92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4BA5F78-CC72-F644-9807-405760E5415F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427550E-A2A3-D34D-A752-8FBB32D00B2C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6196512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13BF868-2674-8347-88DF-930682D741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64000" y="0"/>
            <a:ext cx="8128000" cy="6496050"/>
          </a:xfrm>
          <a:custGeom>
            <a:avLst/>
            <a:gdLst>
              <a:gd name="connsiteX0" fmla="*/ 0 w 8128000"/>
              <a:gd name="connsiteY0" fmla="*/ 0 h 6496050"/>
              <a:gd name="connsiteX1" fmla="*/ 8128000 w 8128000"/>
              <a:gd name="connsiteY1" fmla="*/ 0 h 6496050"/>
              <a:gd name="connsiteX2" fmla="*/ 8128000 w 8128000"/>
              <a:gd name="connsiteY2" fmla="*/ 6496050 h 6496050"/>
              <a:gd name="connsiteX3" fmla="*/ 2284000 w 8128000"/>
              <a:gd name="connsiteY3" fmla="*/ 6496050 h 6496050"/>
              <a:gd name="connsiteX4" fmla="*/ 2032000 w 8128000"/>
              <a:gd name="connsiteY4" fmla="*/ 6244050 h 6496050"/>
              <a:gd name="connsiteX5" fmla="*/ 1780000 w 8128000"/>
              <a:gd name="connsiteY5" fmla="*/ 6496050 h 6496050"/>
              <a:gd name="connsiteX6" fmla="*/ 0 w 8128000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28000" h="6496050">
                <a:moveTo>
                  <a:pt x="0" y="0"/>
                </a:moveTo>
                <a:lnTo>
                  <a:pt x="8128000" y="0"/>
                </a:lnTo>
                <a:lnTo>
                  <a:pt x="8128000" y="6496050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0" y="649605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GB"/>
              <a:t>Click to add chart or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229316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3229316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6111126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1F44BA-467F-BE4D-A5C2-016062F34C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1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62AB0BE-6BC7-8849-AB16-35B14C0D9D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2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6257F5-DB36-8642-9B67-DCE0EA0BB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04959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3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18DF41C-28AB-DF43-913D-52E963D595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04959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4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D083FB-B098-954D-9DC4-850B3E001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7011782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805700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onten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eform 39">
            <a:extLst>
              <a:ext uri="{FF2B5EF4-FFF2-40B4-BE49-F238E27FC236}">
                <a16:creationId xmlns:a16="http://schemas.microsoft.com/office/drawing/2014/main" id="{D76F5CAF-A32B-7A49-875F-78FB038A9479}"/>
              </a:ext>
            </a:extLst>
          </p:cNvPr>
          <p:cNvSpPr/>
          <p:nvPr/>
        </p:nvSpPr>
        <p:spPr>
          <a:xfrm>
            <a:off x="4062000" y="0"/>
            <a:ext cx="4069800" cy="6498000"/>
          </a:xfrm>
          <a:custGeom>
            <a:avLst/>
            <a:gdLst>
              <a:gd name="connsiteX0" fmla="*/ 0 w 4069800"/>
              <a:gd name="connsiteY0" fmla="*/ 0 h 6498000"/>
              <a:gd name="connsiteX1" fmla="*/ 4068000 w 4069800"/>
              <a:gd name="connsiteY1" fmla="*/ 0 h 6498000"/>
              <a:gd name="connsiteX2" fmla="*/ 4068000 w 4069800"/>
              <a:gd name="connsiteY2" fmla="*/ 3429000 h 6498000"/>
              <a:gd name="connsiteX3" fmla="*/ 4069800 w 4069800"/>
              <a:gd name="connsiteY3" fmla="*/ 3429000 h 6498000"/>
              <a:gd name="connsiteX4" fmla="*/ 4069800 w 4069800"/>
              <a:gd name="connsiteY4" fmla="*/ 6498000 h 6498000"/>
              <a:gd name="connsiteX5" fmla="*/ 2287827 w 4069800"/>
              <a:gd name="connsiteY5" fmla="*/ 6498000 h 6498000"/>
              <a:gd name="connsiteX6" fmla="*/ 2288023 w 4069800"/>
              <a:gd name="connsiteY6" fmla="*/ 6496050 h 6498000"/>
              <a:gd name="connsiteX7" fmla="*/ 2035800 w 4069800"/>
              <a:gd name="connsiteY7" fmla="*/ 6244050 h 6498000"/>
              <a:gd name="connsiteX8" fmla="*/ 1783577 w 4069800"/>
              <a:gd name="connsiteY8" fmla="*/ 6496050 h 6498000"/>
              <a:gd name="connsiteX9" fmla="*/ 1783774 w 4069800"/>
              <a:gd name="connsiteY9" fmla="*/ 6498000 h 6498000"/>
              <a:gd name="connsiteX10" fmla="*/ 1800 w 4069800"/>
              <a:gd name="connsiteY10" fmla="*/ 6498000 h 6498000"/>
              <a:gd name="connsiteX11" fmla="*/ 1800 w 4069800"/>
              <a:gd name="connsiteY11" fmla="*/ 3664974 h 6498000"/>
              <a:gd name="connsiteX12" fmla="*/ 0 w 4069800"/>
              <a:gd name="connsiteY12" fmla="*/ 366497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069800" h="6498000">
                <a:moveTo>
                  <a:pt x="0" y="0"/>
                </a:moveTo>
                <a:lnTo>
                  <a:pt x="4068000" y="0"/>
                </a:lnTo>
                <a:lnTo>
                  <a:pt x="4068000" y="3429000"/>
                </a:lnTo>
                <a:lnTo>
                  <a:pt x="4069800" y="3429000"/>
                </a:lnTo>
                <a:lnTo>
                  <a:pt x="4069800" y="6498000"/>
                </a:lnTo>
                <a:lnTo>
                  <a:pt x="2287827" y="6498000"/>
                </a:lnTo>
                <a:lnTo>
                  <a:pt x="2288023" y="6496050"/>
                </a:lnTo>
                <a:cubicBezTo>
                  <a:pt x="2288023" y="6356874"/>
                  <a:pt x="2175099" y="6244050"/>
                  <a:pt x="2035800" y="6244050"/>
                </a:cubicBezTo>
                <a:cubicBezTo>
                  <a:pt x="1896501" y="6244050"/>
                  <a:pt x="1783577" y="6356874"/>
                  <a:pt x="1783577" y="6496050"/>
                </a:cubicBezTo>
                <a:lnTo>
                  <a:pt x="1783774" y="6498000"/>
                </a:lnTo>
                <a:lnTo>
                  <a:pt x="1800" y="6498000"/>
                </a:lnTo>
                <a:lnTo>
                  <a:pt x="1800" y="3664974"/>
                </a:lnTo>
                <a:lnTo>
                  <a:pt x="0" y="3664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4063800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2928" y="609599"/>
            <a:ext cx="3531201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6F666979-0ECE-B949-BA37-13C1BF6241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2928" y="2436814"/>
            <a:ext cx="3531201" cy="381152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0802668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2"/>
            <a:ext cx="29625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6A902-93DF-154B-893D-0DF72E2759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62050" y="1422000"/>
            <a:ext cx="6768000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B4AE55-198A-9245-9842-304475D1849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62294" y="1712514"/>
            <a:ext cx="6767512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C95FFF9-8E14-6A49-9689-F0419B544A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62050" y="5400000"/>
            <a:ext cx="6768000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C4594DC-56B1-CF41-9D14-1F429D8D88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28050" y="1541493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B8FE8A3-A2FB-2B45-BB88-4AB826079E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2200" y="2150333"/>
            <a:ext cx="1962204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9F22E1CA-D39E-CF4F-8BC3-E45962EB36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62444" y="2440847"/>
            <a:ext cx="1962063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0515B4EF-4C39-FA47-B386-295D0DE154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62200" y="6128333"/>
            <a:ext cx="1962204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428CB56-8DB8-424F-B8A1-7AD238B12D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07103" y="2271316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EECF6EC-E44D-3B4E-832E-79B18420F6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899178" y="2271316"/>
            <a:ext cx="182876" cy="36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25798678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920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FB7A9AC-BCBE-074D-9620-C5FAB2B9DA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7109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1CE8E07-4968-2149-AED9-530684741F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1501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66261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6473027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B46106E-6485-954E-BED7-0B3CFBD38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59DACD9E-3955-7B45-96B2-7D8BE4726AF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750970C-3138-B24B-B5BE-424C94FFCB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947B9FEA-9C3C-8144-BBAC-02AAECE365E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3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905D865-DB29-824B-83F4-98D1B8D13D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8685FA2-5439-8249-9C6F-580A601085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45E1A5-F9AA-8E45-87DA-48733FB44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7138177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callouts with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305D707-B941-E742-B3A1-EC33D25DD3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F1958CA4-4DE3-104F-87CF-B9883AE1372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F8530DE-535A-084C-8B5E-A85ECC159C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64000" y="0"/>
            <a:ext cx="8128000" cy="6497638"/>
          </a:xfrm>
          <a:custGeom>
            <a:avLst/>
            <a:gdLst>
              <a:gd name="connsiteX0" fmla="*/ 0 w 8128000"/>
              <a:gd name="connsiteY0" fmla="*/ 0 h 6497638"/>
              <a:gd name="connsiteX1" fmla="*/ 8128000 w 8128000"/>
              <a:gd name="connsiteY1" fmla="*/ 0 h 6497638"/>
              <a:gd name="connsiteX2" fmla="*/ 8128000 w 8128000"/>
              <a:gd name="connsiteY2" fmla="*/ 6497638 h 6497638"/>
              <a:gd name="connsiteX3" fmla="*/ 2283680 w 8128000"/>
              <a:gd name="connsiteY3" fmla="*/ 6497638 h 6497638"/>
              <a:gd name="connsiteX4" fmla="*/ 2284000 w 8128000"/>
              <a:gd name="connsiteY4" fmla="*/ 6496050 h 6497638"/>
              <a:gd name="connsiteX5" fmla="*/ 2032000 w 8128000"/>
              <a:gd name="connsiteY5" fmla="*/ 6244050 h 6497638"/>
              <a:gd name="connsiteX6" fmla="*/ 1780000 w 8128000"/>
              <a:gd name="connsiteY6" fmla="*/ 6496050 h 6497638"/>
              <a:gd name="connsiteX7" fmla="*/ 1780321 w 8128000"/>
              <a:gd name="connsiteY7" fmla="*/ 6497638 h 6497638"/>
              <a:gd name="connsiteX8" fmla="*/ 0 w 8128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28000" h="6497638">
                <a:moveTo>
                  <a:pt x="0" y="0"/>
                </a:moveTo>
                <a:lnTo>
                  <a:pt x="8128000" y="0"/>
                </a:lnTo>
                <a:lnTo>
                  <a:pt x="8128000" y="6497638"/>
                </a:lnTo>
                <a:lnTo>
                  <a:pt x="2283680" y="6497638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1780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3023302" cy="34983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B439116-0AC7-6E49-9EE3-FFE1BD1C3F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A3AD4B1-EF8E-F84F-8EB4-0633A7A509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6588301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11550055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>
                <a:solidFill>
                  <a:srgbClr val="404E5C"/>
                </a:solidFill>
              </a:rPr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#›</a:t>
            </a:fld>
            <a:endParaRPr lang="en-GB">
              <a:solidFill>
                <a:srgbClr val="404E5C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 txBox="1">
            <a:spLocks/>
          </p:cNvSpPr>
          <p:nvPr/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#›</a:t>
            </a:fld>
            <a:endParaRPr lang="en-GB">
              <a:solidFill>
                <a:srgbClr val="404E5C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EA482E0-B01C-F146-BA1B-F2A64B1E0F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093" y="6335850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398852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9D9B270-FE21-444E-AB80-6A52EC0C5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</p:spTree>
    <p:extLst>
      <p:ext uri="{BB962C8B-B14F-4D97-AF65-F5344CB8AC3E}">
        <p14:creationId xmlns:p14="http://schemas.microsoft.com/office/powerpoint/2010/main" val="506019198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9678254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titl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F43660B-81B2-B143-B11D-85302EECFDBE}"/>
              </a:ext>
            </a:extLst>
          </p:cNvPr>
          <p:cNvSpPr/>
          <p:nvPr/>
        </p:nvSpPr>
        <p:spPr>
          <a:xfrm>
            <a:off x="-1" y="169378"/>
            <a:ext cx="6096001" cy="65139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E9EEBBFB-5AFB-E546-B708-FD2A696F2A2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67241" y="346075"/>
            <a:ext cx="5124760" cy="6165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400" b="0">
                <a:solidFill>
                  <a:schemeClr val="accent3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4BCEEAE9-2632-734D-A333-1202EB0610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1" y="346075"/>
            <a:ext cx="7067241" cy="616585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r>
              <a:rPr lang="en-US"/>
              <a:t>Box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A09681D-22B5-6548-919F-52B5804608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473" y="572255"/>
            <a:ext cx="328492" cy="50392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/>
          <a:lstStyle>
            <a:lvl1pPr>
              <a:defRPr lang="en-US" sz="200" smtClean="0">
                <a:solidFill>
                  <a:schemeClr val="bg2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>
              <a:defRPr lang="en-US" sz="800" smtClean="0">
                <a:solidFill>
                  <a:schemeClr val="bg2"/>
                </a:solidFill>
              </a:defRPr>
            </a:lvl2pPr>
            <a:lvl3pPr>
              <a:defRPr lang="en-US" sz="800" smtClean="0">
                <a:solidFill>
                  <a:schemeClr val="bg2"/>
                </a:solidFill>
              </a:defRPr>
            </a:lvl3pPr>
            <a:lvl4pPr>
              <a:defRPr lang="en-US" sz="800" smtClean="0">
                <a:solidFill>
                  <a:schemeClr val="bg2"/>
                </a:solidFill>
              </a:defRPr>
            </a:lvl4pPr>
            <a:lvl5pPr>
              <a:defRPr lang="en-US" sz="800">
                <a:solidFill>
                  <a:schemeClr val="bg2"/>
                </a:solidFill>
              </a:defRPr>
            </a:lvl5pPr>
          </a:lstStyle>
          <a:p>
            <a:pPr marL="0" lvl="0" indent="0" algn="ctr">
              <a:buNone/>
            </a:pPr>
            <a:r>
              <a:rPr lang="en-US"/>
              <a:t>Line</a:t>
            </a:r>
          </a:p>
        </p:txBody>
      </p:sp>
      <p:sp>
        <p:nvSpPr>
          <p:cNvPr id="18" name="Slide Number Placeholder 11">
            <a:extLst>
              <a:ext uri="{FF2B5EF4-FFF2-40B4-BE49-F238E27FC236}">
                <a16:creationId xmlns:a16="http://schemas.microsoft.com/office/drawing/2014/main" id="{BF6D8E5A-A926-EA42-9DD8-56755A428205}"/>
              </a:ext>
            </a:extLst>
          </p:cNvPr>
          <p:cNvSpPr txBox="1">
            <a:spLocks/>
          </p:cNvSpPr>
          <p:nvPr/>
        </p:nvSpPr>
        <p:spPr>
          <a:xfrm>
            <a:off x="337856" y="6515474"/>
            <a:ext cx="612000" cy="17206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C3BBC56-5B77-964C-A5B4-F225189E1B1A}" type="slidenum">
              <a:rPr lang="en-US" sz="800" i="0" smtClean="0"/>
              <a:pPr algn="l"/>
              <a:t>‹#›</a:t>
            </a:fld>
            <a:endParaRPr lang="en-US" sz="800" i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F70018-73A1-A742-95B2-3D6B76F2D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728662"/>
            <a:ext cx="6367128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23E93F2-6A96-924E-ADF9-C3E512F7364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71475" y="2054225"/>
            <a:ext cx="6315075" cy="411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FF180C-B320-DC49-8D0B-5BC885F62D2C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41550334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2034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32163BD-71D9-E440-8A6E-95C8EB751FB7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203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81003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63591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46179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620333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302921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0E6ED9-CD03-A24A-A1BD-565AA6C21FF6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8985600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D686E51-941A-824E-AD7D-9E47C1DA30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728767" y="2980823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422603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015863517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577969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0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2603024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697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8264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4346240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2338546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236147671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986615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1818468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0201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58162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96535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5103391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102620449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0816815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27455290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052768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318075112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2138003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31BAC0FB-8425-952C-E9FB-4AAB84D080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60007816-5D90-B5EF-608E-A575A9A2E2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BF7E493-879D-DF38-3015-2B9322FA6D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0245149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85164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BB0C135-AA3A-2B51-3D0A-A562675CD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5039121" cy="1088701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4FAA0A8-6E7A-EA86-CF70-3DDC56A3FC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5039121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D52EF92-6D3F-EED1-FB49-C48294396BFC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47911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47720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C124FBD-F2C4-279C-F9B0-5ABF4EE883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00584" y="1852409"/>
            <a:ext cx="523573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itle Placeholder 9">
            <a:extLst>
              <a:ext uri="{FF2B5EF4-FFF2-40B4-BE49-F238E27FC236}">
                <a16:creationId xmlns:a16="http://schemas.microsoft.com/office/drawing/2014/main" id="{88A9F1BF-CE47-6154-1BCB-84E3E2ED9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584" y="630452"/>
            <a:ext cx="523573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0681E20-3F63-A276-39F5-6FCDBA23897B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D9B65896-BA90-975B-367C-AE317FB427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164257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 userDrawn="1"/>
        </p:nvSpPr>
        <p:spPr>
          <a:xfrm flipH="1">
            <a:off x="5130800" y="0"/>
            <a:ext cx="7061199" cy="6858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2B19E06-A5F5-02B6-EAB1-9993E81238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10" y="1852409"/>
            <a:ext cx="4020056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itle Placeholder 9">
            <a:extLst>
              <a:ext uri="{FF2B5EF4-FFF2-40B4-BE49-F238E27FC236}">
                <a16:creationId xmlns:a16="http://schemas.microsoft.com/office/drawing/2014/main" id="{465B5E1B-0BC4-9169-CF24-41BF34BB0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10" y="630452"/>
            <a:ext cx="4020056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ED96F9-7C1E-2BCC-F09E-85DB2B0AB95D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067361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0"/>
            <a:ext cx="11410790" cy="6076790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D61E84-1484-FF95-5252-3DAED36D35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10367067" cy="38414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AB740E27-A29F-492B-08E9-082B59BB4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445316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 alt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780262" y="1836110"/>
            <a:ext cx="10411738" cy="5021889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D61E84-1484-FF95-5252-3DAED36D35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10809" y="2204487"/>
            <a:ext cx="8769567" cy="38206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EA4AF-BA26-DF4A-4362-EA586B018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90B43A-1F1A-685A-AE3F-DF59CA6B9D6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E1D8233-0493-FA29-763F-F87F5DB8DC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15736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bleed image w/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EA4AF-BA26-DF4A-4362-EA586B018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90B43A-1F1A-685A-AE3F-DF59CA6B9D6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1D15AFB-5EB5-6859-330E-5D38D23ABE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799179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poi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0BA3780-E198-F9AC-0BB9-F1C2C8156E4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546917"/>
            <a:ext cx="4064000" cy="4401332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7DABD4B-2975-AE38-332F-5FDBF2D954D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4000" y="1546917"/>
            <a:ext cx="4064000" cy="4401332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7EFA4C51-582F-EAB4-E4E1-3A9AFC449FC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28000" y="1546917"/>
            <a:ext cx="4064000" cy="4401332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765382" cy="91646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04BD03F-89B5-2E4F-6F4D-D8F1192EC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4000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9738E54E-9756-7427-D2F0-6956A56C52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08260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0A1CE42A-F0CC-F889-601A-FF9A290D0E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78371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41011803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points al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7DABD4B-2975-AE38-332F-5FDBF2D954D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466563"/>
            <a:ext cx="12192000" cy="4391435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04BD03F-89B5-2E4F-6F4D-D8F1192EC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3309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04354D-1865-ED5F-009C-780CE8306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7ED6D24-311D-8481-73DE-B5F7E4C684D8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3C89EB02-D30D-DD07-85C6-CD7EF8EF47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6000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673BB639-2CF9-9BD7-315B-640082FF33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38691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3368FC9-3152-64DD-900A-43FF7BFBC8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592613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 userDrawn="1"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45720" y="0"/>
            <a:ext cx="4646279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2546238"/>
            <a:ext cx="5535806" cy="1428034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0681A36-BF63-97EC-72E9-BA871BF39F94}"/>
              </a:ext>
            </a:extLst>
          </p:cNvPr>
          <p:cNvCxnSpPr>
            <a:cxnSpLocks/>
          </p:cNvCxnSpPr>
          <p:nvPr userDrawn="1"/>
        </p:nvCxnSpPr>
        <p:spPr>
          <a:xfrm>
            <a:off x="980707" y="2233475"/>
            <a:ext cx="4751582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A907E154-177B-6875-738B-AA48E0B73B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0707" y="1219314"/>
            <a:ext cx="2993493" cy="84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185774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60B0975-048D-10A5-BE97-E820CA57CAE3}"/>
              </a:ext>
            </a:extLst>
          </p:cNvPr>
          <p:cNvSpPr/>
          <p:nvPr userDrawn="1"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B55C8373-2FAF-826F-6B5F-588CC4B9B8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646279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444A488-AA2C-F040-A0F8-D64B913E3D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1236" y="2546238"/>
            <a:ext cx="5535806" cy="1428034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 </a:t>
            </a:r>
            <a:br>
              <a:rPr lang="en-GB"/>
            </a:br>
            <a:r>
              <a:rPr lang="en-GB"/>
              <a:t>for listening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AC7785F-1C5C-463C-D340-DD1BA7A6320B}"/>
              </a:ext>
            </a:extLst>
          </p:cNvPr>
          <p:cNvCxnSpPr>
            <a:cxnSpLocks/>
          </p:cNvCxnSpPr>
          <p:nvPr userDrawn="1"/>
        </p:nvCxnSpPr>
        <p:spPr>
          <a:xfrm>
            <a:off x="5751074" y="2233475"/>
            <a:ext cx="4751582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ADD4D185-64C2-2715-B28D-7015374C88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02576" y="1219314"/>
            <a:ext cx="2993493" cy="84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737813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7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E42C7237-D665-9688-DBE0-D27B08E363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886B5C93-B384-FC1D-4932-B7A7BC910E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DDED54C-4D4D-2B68-0330-6775E74F73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54117" y="-1"/>
            <a:ext cx="8331866" cy="1882585"/>
          </a:xfrm>
          <a:solidFill>
            <a:schemeClr val="bg2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6218" y="708004"/>
            <a:ext cx="7965782" cy="1174580"/>
          </a:xfrm>
        </p:spPr>
        <p:txBody>
          <a:bodyPr anchor="t"/>
          <a:lstStyle>
            <a:lvl1pPr algn="l">
              <a:lnSpc>
                <a:spcPct val="90000"/>
              </a:lnSpc>
              <a:defRPr sz="60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D18BDCF-2CAA-0109-CDBB-C68EA25B6E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5" y="6362533"/>
            <a:ext cx="1169392" cy="306000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F79B367-394D-390C-B619-216A26D7CDD1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68CB876D-855A-C17A-648E-0C55580AA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60447"/>
          <a:stretch/>
        </p:blipFill>
        <p:spPr>
          <a:xfrm>
            <a:off x="0" y="664160"/>
            <a:ext cx="3470500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2865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4580112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6" y="3429000"/>
            <a:ext cx="12185983" cy="3429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2048400" y="-2481943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E42C7237-D665-9688-DBE0-D27B08E363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886B5C93-B384-FC1D-4932-B7A7BC910E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DDED54C-4D4D-2B68-0330-6775E74F73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-1"/>
            <a:ext cx="3430800" cy="3430800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0329" y="1"/>
            <a:ext cx="8211671" cy="3428998"/>
          </a:xfrm>
        </p:spPr>
        <p:txBody>
          <a:bodyPr anchor="ctr"/>
          <a:lstStyle>
            <a:lvl1pPr algn="l">
              <a:lnSpc>
                <a:spcPct val="90000"/>
              </a:lnSpc>
              <a:defRPr sz="60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vider or sec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EE6174C-8B75-B6C9-0C97-8F6809ED354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" y="0"/>
            <a:ext cx="3430800" cy="3428999"/>
          </a:xfrm>
          <a:noFill/>
        </p:spPr>
        <p:txBody>
          <a:bodyPr tIns="251999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5000" b="0" i="0">
                <a:gradFill>
                  <a:gsLst>
                    <a:gs pos="0">
                      <a:schemeClr val="accent2"/>
                    </a:gs>
                    <a:gs pos="99000">
                      <a:schemeClr val="accent1"/>
                    </a:gs>
                  </a:gsLst>
                  <a:lin ang="0" scaled="1"/>
                </a:gradFill>
                <a:latin typeface="Poppins Thin" pitchFamily="2" charset="77"/>
                <a:cs typeface="Poppins Thin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0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B09BA30-1DEC-1819-B3B4-4905A37F994A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8EA14BF4-7169-3089-97E5-F93D276913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14801" y="3428998"/>
            <a:ext cx="8774265" cy="101047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99AA912B-3510-54DE-244F-D9BBC5C30F2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842927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25637" y="830948"/>
            <a:ext cx="8340725" cy="4572003"/>
          </a:xfrm>
        </p:spPr>
        <p:txBody>
          <a:bodyPr anchor="ctr"/>
          <a:lstStyle>
            <a:lvl1pPr algn="ctr">
              <a:lnSpc>
                <a:spcPct val="90000"/>
              </a:lnSpc>
              <a:defRPr sz="60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</a:t>
            </a:r>
            <a:br>
              <a:rPr lang="en-GB"/>
            </a:br>
            <a:r>
              <a:rPr lang="en-GB"/>
              <a:t>goes her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E75ED0BB-E2C9-7C0C-26E2-BC1652112A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58746FD9-2940-C5E7-3A89-0B78583FFE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AFD14E3-0BA7-F7B6-B730-48F6007D9B9E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7258B20-4977-CDCF-4986-9219A221F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115858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6" y="1045036"/>
            <a:ext cx="12185983" cy="4767928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2741" y="1292535"/>
            <a:ext cx="9859424" cy="4272930"/>
          </a:xfrm>
        </p:spPr>
        <p:txBody>
          <a:bodyPr anchor="ctr"/>
          <a:lstStyle>
            <a:lvl1pPr algn="l">
              <a:lnSpc>
                <a:spcPct val="90000"/>
              </a:lnSpc>
              <a:defRPr sz="60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ig statement goes her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1C4C770-A668-E884-4124-234CC37016D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4FDA301-1BF5-380B-B3C4-E5F169DE9B7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82F51A6-2172-AC56-BF64-B833C8F9A7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4100"/>
          <a:stretch/>
        </p:blipFill>
        <p:spPr>
          <a:xfrm>
            <a:off x="7281207" y="303838"/>
            <a:ext cx="4904777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251197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 userDrawn="1"/>
        </p:nvSpPr>
        <p:spPr>
          <a:xfrm flipH="1">
            <a:off x="5130800" y="0"/>
            <a:ext cx="7061199" cy="6858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2B19E06-A5F5-02B6-EAB1-9993E81238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10" y="3033823"/>
            <a:ext cx="2725383" cy="2857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itle Placeholder 9">
            <a:extLst>
              <a:ext uri="{FF2B5EF4-FFF2-40B4-BE49-F238E27FC236}">
                <a16:creationId xmlns:a16="http://schemas.microsoft.com/office/drawing/2014/main" id="{465B5E1B-0BC4-9169-CF24-41BF34BB0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10" y="630452"/>
            <a:ext cx="2725383" cy="232687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ED96F9-7C1E-2BCC-F09E-85DB2B0AB95D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Browser">
            <a:extLst>
              <a:ext uri="{FF2B5EF4-FFF2-40B4-BE49-F238E27FC236}">
                <a16:creationId xmlns:a16="http://schemas.microsoft.com/office/drawing/2014/main" id="{4CC47954-EA8C-6B3D-7274-E5C0B3CAA158}"/>
              </a:ext>
            </a:extLst>
          </p:cNvPr>
          <p:cNvGrpSpPr/>
          <p:nvPr userDrawn="1"/>
        </p:nvGrpSpPr>
        <p:grpSpPr>
          <a:xfrm>
            <a:off x="3748254" y="904878"/>
            <a:ext cx="8107831" cy="4911542"/>
            <a:chOff x="3690548" y="429354"/>
            <a:chExt cx="7883614" cy="5425662"/>
          </a:xfrm>
        </p:grpSpPr>
        <p:sp>
          <p:nvSpPr>
            <p:cNvPr id="19" name="Wireframe dropshadow">
              <a:extLst>
                <a:ext uri="{FF2B5EF4-FFF2-40B4-BE49-F238E27FC236}">
                  <a16:creationId xmlns:a16="http://schemas.microsoft.com/office/drawing/2014/main" id="{D2354F2C-0E52-DF17-B18B-DB6A228FD3B1}"/>
                </a:ext>
              </a:extLst>
            </p:cNvPr>
            <p:cNvSpPr/>
            <p:nvPr/>
          </p:nvSpPr>
          <p:spPr>
            <a:xfrm>
              <a:off x="3690548" y="429354"/>
              <a:ext cx="7883611" cy="5425662"/>
            </a:xfrm>
            <a:prstGeom prst="roundRect">
              <a:avLst>
                <a:gd name="adj" fmla="val 1875"/>
              </a:avLst>
            </a:prstGeom>
            <a:solidFill>
              <a:srgbClr val="FFFFFF"/>
            </a:solidFill>
            <a:ln>
              <a:noFill/>
            </a:ln>
            <a:effectLst>
              <a:outerShdw blurRad="127000" sx="102000" sy="102000" algn="ctr" rotWithShape="0">
                <a:prstClr val="black">
                  <a:alpha val="1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 Pro Light"/>
                <a:ea typeface="+mn-ea"/>
                <a:cs typeface="+mn-cs"/>
              </a:endParaRPr>
            </a:p>
          </p:txBody>
        </p:sp>
        <p:sp>
          <p:nvSpPr>
            <p:cNvPr id="25" name="Browser menu top">
              <a:extLst>
                <a:ext uri="{FF2B5EF4-FFF2-40B4-BE49-F238E27FC236}">
                  <a16:creationId xmlns:a16="http://schemas.microsoft.com/office/drawing/2014/main" id="{51392A84-07DC-5BF7-D4F9-286803FF7B53}"/>
                </a:ext>
              </a:extLst>
            </p:cNvPr>
            <p:cNvSpPr/>
            <p:nvPr/>
          </p:nvSpPr>
          <p:spPr>
            <a:xfrm>
              <a:off x="3690551" y="429354"/>
              <a:ext cx="7883611" cy="318791"/>
            </a:xfrm>
            <a:prstGeom prst="round2SameRect">
              <a:avLst>
                <a:gd name="adj1" fmla="val 33321"/>
                <a:gd name="adj2" fmla="val 0"/>
              </a:avLst>
            </a:prstGeom>
            <a:gradFill>
              <a:gsLst>
                <a:gs pos="72000">
                  <a:srgbClr val="D8D8D8">
                    <a:lumMod val="85323"/>
                    <a:lumOff val="14677"/>
                  </a:srgbClr>
                </a:gs>
                <a:gs pos="0">
                  <a:srgbClr val="616161">
                    <a:lumMod val="5000"/>
                    <a:lumOff val="95000"/>
                  </a:srgbClr>
                </a:gs>
                <a:gs pos="99000">
                  <a:srgbClr val="616161">
                    <a:lumMod val="30000"/>
                    <a:lumOff val="70000"/>
                  </a:srgbClr>
                </a:gs>
              </a:gsLst>
              <a:lin ang="5400000" scaled="1"/>
            </a:gra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 Pro Light"/>
                <a:ea typeface="+mn-ea"/>
                <a:cs typeface="+mn-cs"/>
              </a:endParaRPr>
            </a:p>
          </p:txBody>
        </p:sp>
        <p:grpSp>
          <p:nvGrpSpPr>
            <p:cNvPr id="21" name="Browser menu circles">
              <a:extLst>
                <a:ext uri="{FF2B5EF4-FFF2-40B4-BE49-F238E27FC236}">
                  <a16:creationId xmlns:a16="http://schemas.microsoft.com/office/drawing/2014/main" id="{56819352-0518-3256-5831-86AEFC395DB9}"/>
                </a:ext>
              </a:extLst>
            </p:cNvPr>
            <p:cNvGrpSpPr/>
            <p:nvPr/>
          </p:nvGrpSpPr>
          <p:grpSpPr>
            <a:xfrm>
              <a:off x="3832208" y="546802"/>
              <a:ext cx="423588" cy="101090"/>
              <a:chOff x="3832208" y="546802"/>
              <a:chExt cx="423588" cy="101090"/>
            </a:xfrm>
            <a:solidFill>
              <a:srgbClr val="616161">
                <a:lumMod val="60000"/>
                <a:lumOff val="40000"/>
              </a:srgbClr>
            </a:solidFill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9C7C791C-90A1-FD07-7ED8-85597FADD868}"/>
                  </a:ext>
                </a:extLst>
              </p:cNvPr>
              <p:cNvSpPr/>
              <p:nvPr/>
            </p:nvSpPr>
            <p:spPr>
              <a:xfrm>
                <a:off x="3832208" y="546802"/>
                <a:ext cx="87182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F0B7C597-55B4-7457-91CB-118DB0906453}"/>
                  </a:ext>
                </a:extLst>
              </p:cNvPr>
              <p:cNvSpPr/>
              <p:nvPr/>
            </p:nvSpPr>
            <p:spPr>
              <a:xfrm>
                <a:off x="3997718" y="546802"/>
                <a:ext cx="87182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258CC4DC-5710-D193-135B-EE775BCDC5C6}"/>
                  </a:ext>
                </a:extLst>
              </p:cNvPr>
              <p:cNvSpPr/>
              <p:nvPr/>
            </p:nvSpPr>
            <p:spPr>
              <a:xfrm>
                <a:off x="4168613" y="546802"/>
                <a:ext cx="87183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</p:grpSp>
      </p:grp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A1D311B7-81CC-1BF0-F5E8-2C26CA54BCD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48088" y="1193800"/>
            <a:ext cx="8107362" cy="4622800"/>
          </a:xfrm>
          <a:prstGeom prst="round2SameRect">
            <a:avLst>
              <a:gd name="adj1" fmla="val 0"/>
              <a:gd name="adj2" fmla="val 2012"/>
            </a:avLst>
          </a:prstGeo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6863303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49074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41873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8395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7160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807775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9311165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3961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0017096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976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#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30701032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05518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9255351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8460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15984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13440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4269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9456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237278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892211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92341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03573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5660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8269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8576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696910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752668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26486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88531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953403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50437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21982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68443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5680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18932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4850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7077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28313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4541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52112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6852191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67925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4189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803395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177577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468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15713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160716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2603846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41380125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76858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72346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4858606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89781118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9043238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67366832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5765740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8254906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59268158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644602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60594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60093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62823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4262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526259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117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24777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2455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705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gi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1.xml"/><Relationship Id="rId13" Type="http://schemas.openxmlformats.org/officeDocument/2006/relationships/slideLayout" Target="../slideLayouts/slideLayout376.xml"/><Relationship Id="rId3" Type="http://schemas.openxmlformats.org/officeDocument/2006/relationships/slideLayout" Target="../slideLayouts/slideLayout366.xml"/><Relationship Id="rId7" Type="http://schemas.openxmlformats.org/officeDocument/2006/relationships/slideLayout" Target="../slideLayouts/slideLayout370.xml"/><Relationship Id="rId12" Type="http://schemas.openxmlformats.org/officeDocument/2006/relationships/slideLayout" Target="../slideLayouts/slideLayout375.xml"/><Relationship Id="rId2" Type="http://schemas.openxmlformats.org/officeDocument/2006/relationships/slideLayout" Target="../slideLayouts/slideLayout365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64.xml"/><Relationship Id="rId6" Type="http://schemas.openxmlformats.org/officeDocument/2006/relationships/slideLayout" Target="../slideLayouts/slideLayout369.xml"/><Relationship Id="rId11" Type="http://schemas.openxmlformats.org/officeDocument/2006/relationships/slideLayout" Target="../slideLayouts/slideLayout374.xml"/><Relationship Id="rId5" Type="http://schemas.openxmlformats.org/officeDocument/2006/relationships/slideLayout" Target="../slideLayouts/slideLayout368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373.xml"/><Relationship Id="rId4" Type="http://schemas.openxmlformats.org/officeDocument/2006/relationships/slideLayout" Target="../slideLayouts/slideLayout367.xml"/><Relationship Id="rId9" Type="http://schemas.openxmlformats.org/officeDocument/2006/relationships/slideLayout" Target="../slideLayouts/slideLayout372.xml"/><Relationship Id="rId14" Type="http://schemas.openxmlformats.org/officeDocument/2006/relationships/slideLayout" Target="../slideLayouts/slideLayout37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5.xml"/><Relationship Id="rId13" Type="http://schemas.openxmlformats.org/officeDocument/2006/relationships/slideLayout" Target="../slideLayouts/slideLayout390.xml"/><Relationship Id="rId18" Type="http://schemas.openxmlformats.org/officeDocument/2006/relationships/slideLayout" Target="../slideLayouts/slideLayout395.xml"/><Relationship Id="rId3" Type="http://schemas.openxmlformats.org/officeDocument/2006/relationships/slideLayout" Target="../slideLayouts/slideLayout380.xml"/><Relationship Id="rId21" Type="http://schemas.openxmlformats.org/officeDocument/2006/relationships/image" Target="../media/image24.svg"/><Relationship Id="rId7" Type="http://schemas.openxmlformats.org/officeDocument/2006/relationships/slideLayout" Target="../slideLayouts/slideLayout384.xml"/><Relationship Id="rId12" Type="http://schemas.openxmlformats.org/officeDocument/2006/relationships/slideLayout" Target="../slideLayouts/slideLayout389.xml"/><Relationship Id="rId17" Type="http://schemas.openxmlformats.org/officeDocument/2006/relationships/slideLayout" Target="../slideLayouts/slideLayout394.xml"/><Relationship Id="rId2" Type="http://schemas.openxmlformats.org/officeDocument/2006/relationships/slideLayout" Target="../slideLayouts/slideLayout379.xml"/><Relationship Id="rId16" Type="http://schemas.openxmlformats.org/officeDocument/2006/relationships/slideLayout" Target="../slideLayouts/slideLayout393.xml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378.xml"/><Relationship Id="rId6" Type="http://schemas.openxmlformats.org/officeDocument/2006/relationships/slideLayout" Target="../slideLayouts/slideLayout383.xml"/><Relationship Id="rId11" Type="http://schemas.openxmlformats.org/officeDocument/2006/relationships/slideLayout" Target="../slideLayouts/slideLayout388.xml"/><Relationship Id="rId5" Type="http://schemas.openxmlformats.org/officeDocument/2006/relationships/slideLayout" Target="../slideLayouts/slideLayout382.xml"/><Relationship Id="rId15" Type="http://schemas.openxmlformats.org/officeDocument/2006/relationships/slideLayout" Target="../slideLayouts/slideLayout392.xml"/><Relationship Id="rId10" Type="http://schemas.openxmlformats.org/officeDocument/2006/relationships/slideLayout" Target="../slideLayouts/slideLayout387.xml"/><Relationship Id="rId19" Type="http://schemas.openxmlformats.org/officeDocument/2006/relationships/theme" Target="../theme/theme11.xml"/><Relationship Id="rId4" Type="http://schemas.openxmlformats.org/officeDocument/2006/relationships/slideLayout" Target="../slideLayouts/slideLayout381.xml"/><Relationship Id="rId9" Type="http://schemas.openxmlformats.org/officeDocument/2006/relationships/slideLayout" Target="../slideLayouts/slideLayout386.xml"/><Relationship Id="rId14" Type="http://schemas.openxmlformats.org/officeDocument/2006/relationships/slideLayout" Target="../slideLayouts/slideLayout39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gi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42" Type="http://schemas.openxmlformats.org/officeDocument/2006/relationships/slideLayout" Target="../slideLayouts/slideLayout89.xml"/><Relationship Id="rId47" Type="http://schemas.openxmlformats.org/officeDocument/2006/relationships/slideLayout" Target="../slideLayouts/slideLayout94.xml"/><Relationship Id="rId50" Type="http://schemas.openxmlformats.org/officeDocument/2006/relationships/slideLayout" Target="../slideLayouts/slideLayout97.xml"/><Relationship Id="rId55" Type="http://schemas.openxmlformats.org/officeDocument/2006/relationships/slideLayout" Target="../slideLayouts/slideLayout102.xml"/><Relationship Id="rId6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45" Type="http://schemas.openxmlformats.org/officeDocument/2006/relationships/slideLayout" Target="../slideLayouts/slideLayout92.xml"/><Relationship Id="rId53" Type="http://schemas.openxmlformats.org/officeDocument/2006/relationships/slideLayout" Target="../slideLayouts/slideLayout100.xml"/><Relationship Id="rId58" Type="http://schemas.openxmlformats.org/officeDocument/2006/relationships/slideLayout" Target="../slideLayouts/slideLayout105.xml"/><Relationship Id="rId66" Type="http://schemas.openxmlformats.org/officeDocument/2006/relationships/image" Target="../media/image6.gif"/><Relationship Id="rId5" Type="http://schemas.openxmlformats.org/officeDocument/2006/relationships/slideLayout" Target="../slideLayouts/slideLayout52.xml"/><Relationship Id="rId61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43" Type="http://schemas.openxmlformats.org/officeDocument/2006/relationships/slideLayout" Target="../slideLayouts/slideLayout90.xml"/><Relationship Id="rId48" Type="http://schemas.openxmlformats.org/officeDocument/2006/relationships/slideLayout" Target="../slideLayouts/slideLayout95.xml"/><Relationship Id="rId56" Type="http://schemas.openxmlformats.org/officeDocument/2006/relationships/slideLayout" Target="../slideLayouts/slideLayout103.xml"/><Relationship Id="rId64" Type="http://schemas.openxmlformats.org/officeDocument/2006/relationships/slideLayout" Target="../slideLayouts/slideLayout111.xml"/><Relationship Id="rId8" Type="http://schemas.openxmlformats.org/officeDocument/2006/relationships/slideLayout" Target="../slideLayouts/slideLayout55.xml"/><Relationship Id="rId51" Type="http://schemas.openxmlformats.org/officeDocument/2006/relationships/slideLayout" Target="../slideLayouts/slideLayout98.xml"/><Relationship Id="rId3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46" Type="http://schemas.openxmlformats.org/officeDocument/2006/relationships/slideLayout" Target="../slideLayouts/slideLayout93.xml"/><Relationship Id="rId59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67.xml"/><Relationship Id="rId41" Type="http://schemas.openxmlformats.org/officeDocument/2006/relationships/slideLayout" Target="../slideLayouts/slideLayout88.xml"/><Relationship Id="rId54" Type="http://schemas.openxmlformats.org/officeDocument/2006/relationships/slideLayout" Target="../slideLayouts/slideLayout101.xml"/><Relationship Id="rId6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49" Type="http://schemas.openxmlformats.org/officeDocument/2006/relationships/slideLayout" Target="../slideLayouts/slideLayout96.xml"/><Relationship Id="rId57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78.xml"/><Relationship Id="rId44" Type="http://schemas.openxmlformats.org/officeDocument/2006/relationships/slideLayout" Target="../slideLayouts/slideLayout91.xml"/><Relationship Id="rId52" Type="http://schemas.openxmlformats.org/officeDocument/2006/relationships/slideLayout" Target="../slideLayouts/slideLayout99.xml"/><Relationship Id="rId60" Type="http://schemas.openxmlformats.org/officeDocument/2006/relationships/slideLayout" Target="../slideLayouts/slideLayout107.xml"/><Relationship Id="rId65" Type="http://schemas.openxmlformats.org/officeDocument/2006/relationships/theme" Target="../theme/theme4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86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26" Type="http://schemas.openxmlformats.org/officeDocument/2006/relationships/slideLayout" Target="../slideLayouts/slideLayout137.xml"/><Relationship Id="rId39" Type="http://schemas.openxmlformats.org/officeDocument/2006/relationships/slideLayout" Target="../slideLayouts/slideLayout150.xml"/><Relationship Id="rId21" Type="http://schemas.openxmlformats.org/officeDocument/2006/relationships/slideLayout" Target="../slideLayouts/slideLayout132.xml"/><Relationship Id="rId34" Type="http://schemas.openxmlformats.org/officeDocument/2006/relationships/slideLayout" Target="../slideLayouts/slideLayout145.xml"/><Relationship Id="rId42" Type="http://schemas.openxmlformats.org/officeDocument/2006/relationships/slideLayout" Target="../slideLayouts/slideLayout153.xml"/><Relationship Id="rId47" Type="http://schemas.openxmlformats.org/officeDocument/2006/relationships/slideLayout" Target="../slideLayouts/slideLayout158.xml"/><Relationship Id="rId50" Type="http://schemas.openxmlformats.org/officeDocument/2006/relationships/slideLayout" Target="../slideLayouts/slideLayout161.xml"/><Relationship Id="rId55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9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22.xml"/><Relationship Id="rId24" Type="http://schemas.openxmlformats.org/officeDocument/2006/relationships/slideLayout" Target="../slideLayouts/slideLayout135.xml"/><Relationship Id="rId32" Type="http://schemas.openxmlformats.org/officeDocument/2006/relationships/slideLayout" Target="../slideLayouts/slideLayout143.xml"/><Relationship Id="rId37" Type="http://schemas.openxmlformats.org/officeDocument/2006/relationships/slideLayout" Target="../slideLayouts/slideLayout148.xml"/><Relationship Id="rId40" Type="http://schemas.openxmlformats.org/officeDocument/2006/relationships/slideLayout" Target="../slideLayouts/slideLayout151.xml"/><Relationship Id="rId45" Type="http://schemas.openxmlformats.org/officeDocument/2006/relationships/slideLayout" Target="../slideLayouts/slideLayout156.xml"/><Relationship Id="rId53" Type="http://schemas.openxmlformats.org/officeDocument/2006/relationships/slideLayout" Target="../slideLayouts/slideLayout164.xml"/><Relationship Id="rId58" Type="http://schemas.openxmlformats.org/officeDocument/2006/relationships/image" Target="../media/image6.gif"/><Relationship Id="rId5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slideLayout" Target="../slideLayouts/slideLayout133.xml"/><Relationship Id="rId27" Type="http://schemas.openxmlformats.org/officeDocument/2006/relationships/slideLayout" Target="../slideLayouts/slideLayout138.xml"/><Relationship Id="rId30" Type="http://schemas.openxmlformats.org/officeDocument/2006/relationships/slideLayout" Target="../slideLayouts/slideLayout141.xml"/><Relationship Id="rId35" Type="http://schemas.openxmlformats.org/officeDocument/2006/relationships/slideLayout" Target="../slideLayouts/slideLayout146.xml"/><Relationship Id="rId43" Type="http://schemas.openxmlformats.org/officeDocument/2006/relationships/slideLayout" Target="../slideLayouts/slideLayout154.xml"/><Relationship Id="rId48" Type="http://schemas.openxmlformats.org/officeDocument/2006/relationships/slideLayout" Target="../slideLayouts/slideLayout159.xml"/><Relationship Id="rId56" Type="http://schemas.openxmlformats.org/officeDocument/2006/relationships/slideLayout" Target="../slideLayouts/slideLayout167.xml"/><Relationship Id="rId8" Type="http://schemas.openxmlformats.org/officeDocument/2006/relationships/slideLayout" Target="../slideLayouts/slideLayout119.xml"/><Relationship Id="rId51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5" Type="http://schemas.openxmlformats.org/officeDocument/2006/relationships/slideLayout" Target="../slideLayouts/slideLayout136.xml"/><Relationship Id="rId33" Type="http://schemas.openxmlformats.org/officeDocument/2006/relationships/slideLayout" Target="../slideLayouts/slideLayout144.xml"/><Relationship Id="rId38" Type="http://schemas.openxmlformats.org/officeDocument/2006/relationships/slideLayout" Target="../slideLayouts/slideLayout149.xml"/><Relationship Id="rId46" Type="http://schemas.openxmlformats.org/officeDocument/2006/relationships/slideLayout" Target="../slideLayouts/slideLayout157.xml"/><Relationship Id="rId20" Type="http://schemas.openxmlformats.org/officeDocument/2006/relationships/slideLayout" Target="../slideLayouts/slideLayout131.xml"/><Relationship Id="rId41" Type="http://schemas.openxmlformats.org/officeDocument/2006/relationships/slideLayout" Target="../slideLayouts/slideLayout152.xml"/><Relationship Id="rId54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6.xml"/><Relationship Id="rId23" Type="http://schemas.openxmlformats.org/officeDocument/2006/relationships/slideLayout" Target="../slideLayouts/slideLayout134.xml"/><Relationship Id="rId28" Type="http://schemas.openxmlformats.org/officeDocument/2006/relationships/slideLayout" Target="../slideLayouts/slideLayout139.xml"/><Relationship Id="rId36" Type="http://schemas.openxmlformats.org/officeDocument/2006/relationships/slideLayout" Target="../slideLayouts/slideLayout147.xml"/><Relationship Id="rId49" Type="http://schemas.openxmlformats.org/officeDocument/2006/relationships/slideLayout" Target="../slideLayouts/slideLayout160.xml"/><Relationship Id="rId57" Type="http://schemas.openxmlformats.org/officeDocument/2006/relationships/theme" Target="../theme/theme5.xml"/><Relationship Id="rId10" Type="http://schemas.openxmlformats.org/officeDocument/2006/relationships/slideLayout" Target="../slideLayouts/slideLayout121.xml"/><Relationship Id="rId31" Type="http://schemas.openxmlformats.org/officeDocument/2006/relationships/slideLayout" Target="../slideLayouts/slideLayout142.xml"/><Relationship Id="rId44" Type="http://schemas.openxmlformats.org/officeDocument/2006/relationships/slideLayout" Target="../slideLayouts/slideLayout155.xml"/><Relationship Id="rId52" Type="http://schemas.openxmlformats.org/officeDocument/2006/relationships/slideLayout" Target="../slideLayouts/slideLayout16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slideLayout" Target="../slideLayouts/slideLayout180.xml"/><Relationship Id="rId18" Type="http://schemas.openxmlformats.org/officeDocument/2006/relationships/slideLayout" Target="../slideLayouts/slideLayout185.xml"/><Relationship Id="rId3" Type="http://schemas.openxmlformats.org/officeDocument/2006/relationships/slideLayout" Target="../slideLayouts/slideLayout170.xml"/><Relationship Id="rId21" Type="http://schemas.openxmlformats.org/officeDocument/2006/relationships/image" Target="../media/image17.png"/><Relationship Id="rId7" Type="http://schemas.openxmlformats.org/officeDocument/2006/relationships/slideLayout" Target="../slideLayouts/slideLayout174.xml"/><Relationship Id="rId12" Type="http://schemas.openxmlformats.org/officeDocument/2006/relationships/slideLayout" Target="../slideLayouts/slideLayout179.xml"/><Relationship Id="rId17" Type="http://schemas.openxmlformats.org/officeDocument/2006/relationships/slideLayout" Target="../slideLayouts/slideLayout184.xml"/><Relationship Id="rId2" Type="http://schemas.openxmlformats.org/officeDocument/2006/relationships/slideLayout" Target="../slideLayouts/slideLayout169.xml"/><Relationship Id="rId16" Type="http://schemas.openxmlformats.org/officeDocument/2006/relationships/slideLayout" Target="../slideLayouts/slideLayout183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2.xml"/><Relationship Id="rId15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77.xml"/><Relationship Id="rId19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slideLayout" Target="../slideLayouts/slideLayout18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9.xml"/><Relationship Id="rId18" Type="http://schemas.openxmlformats.org/officeDocument/2006/relationships/slideLayout" Target="../slideLayouts/slideLayout204.xml"/><Relationship Id="rId26" Type="http://schemas.openxmlformats.org/officeDocument/2006/relationships/slideLayout" Target="../slideLayouts/slideLayout212.xml"/><Relationship Id="rId39" Type="http://schemas.openxmlformats.org/officeDocument/2006/relationships/slideLayout" Target="../slideLayouts/slideLayout225.xml"/><Relationship Id="rId21" Type="http://schemas.openxmlformats.org/officeDocument/2006/relationships/slideLayout" Target="../slideLayouts/slideLayout207.xml"/><Relationship Id="rId34" Type="http://schemas.openxmlformats.org/officeDocument/2006/relationships/slideLayout" Target="../slideLayouts/slideLayout220.xml"/><Relationship Id="rId42" Type="http://schemas.openxmlformats.org/officeDocument/2006/relationships/slideLayout" Target="../slideLayouts/slideLayout228.xml"/><Relationship Id="rId47" Type="http://schemas.openxmlformats.org/officeDocument/2006/relationships/slideLayout" Target="../slideLayouts/slideLayout233.xml"/><Relationship Id="rId50" Type="http://schemas.openxmlformats.org/officeDocument/2006/relationships/slideLayout" Target="../slideLayouts/slideLayout236.xml"/><Relationship Id="rId55" Type="http://schemas.openxmlformats.org/officeDocument/2006/relationships/slideLayout" Target="../slideLayouts/slideLayout241.xml"/><Relationship Id="rId7" Type="http://schemas.openxmlformats.org/officeDocument/2006/relationships/slideLayout" Target="../slideLayouts/slideLayout193.xml"/><Relationship Id="rId2" Type="http://schemas.openxmlformats.org/officeDocument/2006/relationships/slideLayout" Target="../slideLayouts/slideLayout188.xml"/><Relationship Id="rId16" Type="http://schemas.openxmlformats.org/officeDocument/2006/relationships/slideLayout" Target="../slideLayouts/slideLayout202.xml"/><Relationship Id="rId29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197.xml"/><Relationship Id="rId24" Type="http://schemas.openxmlformats.org/officeDocument/2006/relationships/slideLayout" Target="../slideLayouts/slideLayout210.xml"/><Relationship Id="rId32" Type="http://schemas.openxmlformats.org/officeDocument/2006/relationships/slideLayout" Target="../slideLayouts/slideLayout218.xml"/><Relationship Id="rId37" Type="http://schemas.openxmlformats.org/officeDocument/2006/relationships/slideLayout" Target="../slideLayouts/slideLayout223.xml"/><Relationship Id="rId40" Type="http://schemas.openxmlformats.org/officeDocument/2006/relationships/slideLayout" Target="../slideLayouts/slideLayout226.xml"/><Relationship Id="rId45" Type="http://schemas.openxmlformats.org/officeDocument/2006/relationships/slideLayout" Target="../slideLayouts/slideLayout231.xml"/><Relationship Id="rId53" Type="http://schemas.openxmlformats.org/officeDocument/2006/relationships/slideLayout" Target="../slideLayouts/slideLayout239.xml"/><Relationship Id="rId58" Type="http://schemas.openxmlformats.org/officeDocument/2006/relationships/image" Target="../media/image6.gif"/><Relationship Id="rId5" Type="http://schemas.openxmlformats.org/officeDocument/2006/relationships/slideLayout" Target="../slideLayouts/slideLayout191.xml"/><Relationship Id="rId19" Type="http://schemas.openxmlformats.org/officeDocument/2006/relationships/slideLayout" Target="../slideLayouts/slideLayout205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Relationship Id="rId14" Type="http://schemas.openxmlformats.org/officeDocument/2006/relationships/slideLayout" Target="../slideLayouts/slideLayout200.xml"/><Relationship Id="rId22" Type="http://schemas.openxmlformats.org/officeDocument/2006/relationships/slideLayout" Target="../slideLayouts/slideLayout208.xml"/><Relationship Id="rId27" Type="http://schemas.openxmlformats.org/officeDocument/2006/relationships/slideLayout" Target="../slideLayouts/slideLayout213.xml"/><Relationship Id="rId30" Type="http://schemas.openxmlformats.org/officeDocument/2006/relationships/slideLayout" Target="../slideLayouts/slideLayout216.xml"/><Relationship Id="rId35" Type="http://schemas.openxmlformats.org/officeDocument/2006/relationships/slideLayout" Target="../slideLayouts/slideLayout221.xml"/><Relationship Id="rId43" Type="http://schemas.openxmlformats.org/officeDocument/2006/relationships/slideLayout" Target="../slideLayouts/slideLayout229.xml"/><Relationship Id="rId48" Type="http://schemas.openxmlformats.org/officeDocument/2006/relationships/slideLayout" Target="../slideLayouts/slideLayout234.xml"/><Relationship Id="rId56" Type="http://schemas.openxmlformats.org/officeDocument/2006/relationships/slideLayout" Target="../slideLayouts/slideLayout242.xml"/><Relationship Id="rId8" Type="http://schemas.openxmlformats.org/officeDocument/2006/relationships/slideLayout" Target="../slideLayouts/slideLayout194.xml"/><Relationship Id="rId51" Type="http://schemas.openxmlformats.org/officeDocument/2006/relationships/slideLayout" Target="../slideLayouts/slideLayout237.xml"/><Relationship Id="rId3" Type="http://schemas.openxmlformats.org/officeDocument/2006/relationships/slideLayout" Target="../slideLayouts/slideLayout189.xml"/><Relationship Id="rId12" Type="http://schemas.openxmlformats.org/officeDocument/2006/relationships/slideLayout" Target="../slideLayouts/slideLayout198.xml"/><Relationship Id="rId17" Type="http://schemas.openxmlformats.org/officeDocument/2006/relationships/slideLayout" Target="../slideLayouts/slideLayout203.xml"/><Relationship Id="rId25" Type="http://schemas.openxmlformats.org/officeDocument/2006/relationships/slideLayout" Target="../slideLayouts/slideLayout211.xml"/><Relationship Id="rId33" Type="http://schemas.openxmlformats.org/officeDocument/2006/relationships/slideLayout" Target="../slideLayouts/slideLayout219.xml"/><Relationship Id="rId38" Type="http://schemas.openxmlformats.org/officeDocument/2006/relationships/slideLayout" Target="../slideLayouts/slideLayout224.xml"/><Relationship Id="rId4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206.xml"/><Relationship Id="rId41" Type="http://schemas.openxmlformats.org/officeDocument/2006/relationships/slideLayout" Target="../slideLayouts/slideLayout227.xml"/><Relationship Id="rId54" Type="http://schemas.openxmlformats.org/officeDocument/2006/relationships/slideLayout" Target="../slideLayouts/slideLayout240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5" Type="http://schemas.openxmlformats.org/officeDocument/2006/relationships/slideLayout" Target="../slideLayouts/slideLayout201.xml"/><Relationship Id="rId23" Type="http://schemas.openxmlformats.org/officeDocument/2006/relationships/slideLayout" Target="../slideLayouts/slideLayout209.xml"/><Relationship Id="rId28" Type="http://schemas.openxmlformats.org/officeDocument/2006/relationships/slideLayout" Target="../slideLayouts/slideLayout214.xml"/><Relationship Id="rId36" Type="http://schemas.openxmlformats.org/officeDocument/2006/relationships/slideLayout" Target="../slideLayouts/slideLayout222.xml"/><Relationship Id="rId49" Type="http://schemas.openxmlformats.org/officeDocument/2006/relationships/slideLayout" Target="../slideLayouts/slideLayout235.xml"/><Relationship Id="rId57" Type="http://schemas.openxmlformats.org/officeDocument/2006/relationships/theme" Target="../theme/theme7.xml"/><Relationship Id="rId10" Type="http://schemas.openxmlformats.org/officeDocument/2006/relationships/slideLayout" Target="../slideLayouts/slideLayout196.xml"/><Relationship Id="rId31" Type="http://schemas.openxmlformats.org/officeDocument/2006/relationships/slideLayout" Target="../slideLayouts/slideLayout217.xml"/><Relationship Id="rId44" Type="http://schemas.openxmlformats.org/officeDocument/2006/relationships/slideLayout" Target="../slideLayouts/slideLayout230.xml"/><Relationship Id="rId52" Type="http://schemas.openxmlformats.org/officeDocument/2006/relationships/slideLayout" Target="../slideLayouts/slideLayout238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5.xml"/><Relationship Id="rId18" Type="http://schemas.openxmlformats.org/officeDocument/2006/relationships/slideLayout" Target="../slideLayouts/slideLayout260.xml"/><Relationship Id="rId26" Type="http://schemas.openxmlformats.org/officeDocument/2006/relationships/slideLayout" Target="../slideLayouts/slideLayout268.xml"/><Relationship Id="rId39" Type="http://schemas.openxmlformats.org/officeDocument/2006/relationships/slideLayout" Target="../slideLayouts/slideLayout281.xml"/><Relationship Id="rId21" Type="http://schemas.openxmlformats.org/officeDocument/2006/relationships/slideLayout" Target="../slideLayouts/slideLayout263.xml"/><Relationship Id="rId34" Type="http://schemas.openxmlformats.org/officeDocument/2006/relationships/slideLayout" Target="../slideLayouts/slideLayout276.xml"/><Relationship Id="rId42" Type="http://schemas.openxmlformats.org/officeDocument/2006/relationships/slideLayout" Target="../slideLayouts/slideLayout284.xml"/><Relationship Id="rId47" Type="http://schemas.openxmlformats.org/officeDocument/2006/relationships/slideLayout" Target="../slideLayouts/slideLayout289.xml"/><Relationship Id="rId50" Type="http://schemas.openxmlformats.org/officeDocument/2006/relationships/slideLayout" Target="../slideLayouts/slideLayout292.xml"/><Relationship Id="rId55" Type="http://schemas.openxmlformats.org/officeDocument/2006/relationships/slideLayout" Target="../slideLayouts/slideLayout297.xml"/><Relationship Id="rId7" Type="http://schemas.openxmlformats.org/officeDocument/2006/relationships/slideLayout" Target="../slideLayouts/slideLayout249.xml"/><Relationship Id="rId2" Type="http://schemas.openxmlformats.org/officeDocument/2006/relationships/slideLayout" Target="../slideLayouts/slideLayout244.xml"/><Relationship Id="rId16" Type="http://schemas.openxmlformats.org/officeDocument/2006/relationships/slideLayout" Target="../slideLayouts/slideLayout258.xml"/><Relationship Id="rId29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53.xml"/><Relationship Id="rId24" Type="http://schemas.openxmlformats.org/officeDocument/2006/relationships/slideLayout" Target="../slideLayouts/slideLayout266.xml"/><Relationship Id="rId32" Type="http://schemas.openxmlformats.org/officeDocument/2006/relationships/slideLayout" Target="../slideLayouts/slideLayout274.xml"/><Relationship Id="rId37" Type="http://schemas.openxmlformats.org/officeDocument/2006/relationships/slideLayout" Target="../slideLayouts/slideLayout279.xml"/><Relationship Id="rId40" Type="http://schemas.openxmlformats.org/officeDocument/2006/relationships/slideLayout" Target="../slideLayouts/slideLayout282.xml"/><Relationship Id="rId45" Type="http://schemas.openxmlformats.org/officeDocument/2006/relationships/slideLayout" Target="../slideLayouts/slideLayout287.xml"/><Relationship Id="rId53" Type="http://schemas.openxmlformats.org/officeDocument/2006/relationships/slideLayout" Target="../slideLayouts/slideLayout295.xml"/><Relationship Id="rId58" Type="http://schemas.openxmlformats.org/officeDocument/2006/relationships/theme" Target="../theme/theme8.xml"/><Relationship Id="rId5" Type="http://schemas.openxmlformats.org/officeDocument/2006/relationships/slideLayout" Target="../slideLayouts/slideLayout247.xml"/><Relationship Id="rId19" Type="http://schemas.openxmlformats.org/officeDocument/2006/relationships/slideLayout" Target="../slideLayouts/slideLayout261.xml"/><Relationship Id="rId4" Type="http://schemas.openxmlformats.org/officeDocument/2006/relationships/slideLayout" Target="../slideLayouts/slideLayout246.xml"/><Relationship Id="rId9" Type="http://schemas.openxmlformats.org/officeDocument/2006/relationships/slideLayout" Target="../slideLayouts/slideLayout251.xml"/><Relationship Id="rId14" Type="http://schemas.openxmlformats.org/officeDocument/2006/relationships/slideLayout" Target="../slideLayouts/slideLayout256.xml"/><Relationship Id="rId22" Type="http://schemas.openxmlformats.org/officeDocument/2006/relationships/slideLayout" Target="../slideLayouts/slideLayout264.xml"/><Relationship Id="rId27" Type="http://schemas.openxmlformats.org/officeDocument/2006/relationships/slideLayout" Target="../slideLayouts/slideLayout269.xml"/><Relationship Id="rId30" Type="http://schemas.openxmlformats.org/officeDocument/2006/relationships/slideLayout" Target="../slideLayouts/slideLayout272.xml"/><Relationship Id="rId35" Type="http://schemas.openxmlformats.org/officeDocument/2006/relationships/slideLayout" Target="../slideLayouts/slideLayout277.xml"/><Relationship Id="rId43" Type="http://schemas.openxmlformats.org/officeDocument/2006/relationships/slideLayout" Target="../slideLayouts/slideLayout285.xml"/><Relationship Id="rId48" Type="http://schemas.openxmlformats.org/officeDocument/2006/relationships/slideLayout" Target="../slideLayouts/slideLayout290.xml"/><Relationship Id="rId56" Type="http://schemas.openxmlformats.org/officeDocument/2006/relationships/slideLayout" Target="../slideLayouts/slideLayout298.xml"/><Relationship Id="rId8" Type="http://schemas.openxmlformats.org/officeDocument/2006/relationships/slideLayout" Target="../slideLayouts/slideLayout250.xml"/><Relationship Id="rId51" Type="http://schemas.openxmlformats.org/officeDocument/2006/relationships/slideLayout" Target="../slideLayouts/slideLayout293.xml"/><Relationship Id="rId3" Type="http://schemas.openxmlformats.org/officeDocument/2006/relationships/slideLayout" Target="../slideLayouts/slideLayout245.xml"/><Relationship Id="rId12" Type="http://schemas.openxmlformats.org/officeDocument/2006/relationships/slideLayout" Target="../slideLayouts/slideLayout254.xml"/><Relationship Id="rId17" Type="http://schemas.openxmlformats.org/officeDocument/2006/relationships/slideLayout" Target="../slideLayouts/slideLayout259.xml"/><Relationship Id="rId25" Type="http://schemas.openxmlformats.org/officeDocument/2006/relationships/slideLayout" Target="../slideLayouts/slideLayout267.xml"/><Relationship Id="rId33" Type="http://schemas.openxmlformats.org/officeDocument/2006/relationships/slideLayout" Target="../slideLayouts/slideLayout275.xml"/><Relationship Id="rId38" Type="http://schemas.openxmlformats.org/officeDocument/2006/relationships/slideLayout" Target="../slideLayouts/slideLayout280.xml"/><Relationship Id="rId46" Type="http://schemas.openxmlformats.org/officeDocument/2006/relationships/slideLayout" Target="../slideLayouts/slideLayout288.xml"/><Relationship Id="rId59" Type="http://schemas.openxmlformats.org/officeDocument/2006/relationships/image" Target="../media/image6.gif"/><Relationship Id="rId20" Type="http://schemas.openxmlformats.org/officeDocument/2006/relationships/slideLayout" Target="../slideLayouts/slideLayout262.xml"/><Relationship Id="rId41" Type="http://schemas.openxmlformats.org/officeDocument/2006/relationships/slideLayout" Target="../slideLayouts/slideLayout283.xml"/><Relationship Id="rId54" Type="http://schemas.openxmlformats.org/officeDocument/2006/relationships/slideLayout" Target="../slideLayouts/slideLayout296.xml"/><Relationship Id="rId1" Type="http://schemas.openxmlformats.org/officeDocument/2006/relationships/slideLayout" Target="../slideLayouts/slideLayout243.xml"/><Relationship Id="rId6" Type="http://schemas.openxmlformats.org/officeDocument/2006/relationships/slideLayout" Target="../slideLayouts/slideLayout248.xml"/><Relationship Id="rId15" Type="http://schemas.openxmlformats.org/officeDocument/2006/relationships/slideLayout" Target="../slideLayouts/slideLayout257.xml"/><Relationship Id="rId23" Type="http://schemas.openxmlformats.org/officeDocument/2006/relationships/slideLayout" Target="../slideLayouts/slideLayout265.xml"/><Relationship Id="rId28" Type="http://schemas.openxmlformats.org/officeDocument/2006/relationships/slideLayout" Target="../slideLayouts/slideLayout270.xml"/><Relationship Id="rId36" Type="http://schemas.openxmlformats.org/officeDocument/2006/relationships/slideLayout" Target="../slideLayouts/slideLayout278.xml"/><Relationship Id="rId49" Type="http://schemas.openxmlformats.org/officeDocument/2006/relationships/slideLayout" Target="../slideLayouts/slideLayout291.xml"/><Relationship Id="rId57" Type="http://schemas.openxmlformats.org/officeDocument/2006/relationships/slideLayout" Target="../slideLayouts/slideLayout299.xml"/><Relationship Id="rId10" Type="http://schemas.openxmlformats.org/officeDocument/2006/relationships/slideLayout" Target="../slideLayouts/slideLayout252.xml"/><Relationship Id="rId31" Type="http://schemas.openxmlformats.org/officeDocument/2006/relationships/slideLayout" Target="../slideLayouts/slideLayout273.xml"/><Relationship Id="rId44" Type="http://schemas.openxmlformats.org/officeDocument/2006/relationships/slideLayout" Target="../slideLayouts/slideLayout286.xml"/><Relationship Id="rId52" Type="http://schemas.openxmlformats.org/officeDocument/2006/relationships/slideLayout" Target="../slideLayouts/slideLayout294.xml"/></Relationships>
</file>

<file path=ppt/slideMasters/_rels/slideMaster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25.xml"/><Relationship Id="rId21" Type="http://schemas.openxmlformats.org/officeDocument/2006/relationships/slideLayout" Target="../slideLayouts/slideLayout320.xml"/><Relationship Id="rId34" Type="http://schemas.openxmlformats.org/officeDocument/2006/relationships/slideLayout" Target="../slideLayouts/slideLayout333.xml"/><Relationship Id="rId42" Type="http://schemas.openxmlformats.org/officeDocument/2006/relationships/slideLayout" Target="../slideLayouts/slideLayout341.xml"/><Relationship Id="rId47" Type="http://schemas.openxmlformats.org/officeDocument/2006/relationships/slideLayout" Target="../slideLayouts/slideLayout346.xml"/><Relationship Id="rId50" Type="http://schemas.openxmlformats.org/officeDocument/2006/relationships/slideLayout" Target="../slideLayouts/slideLayout349.xml"/><Relationship Id="rId55" Type="http://schemas.openxmlformats.org/officeDocument/2006/relationships/slideLayout" Target="../slideLayouts/slideLayout354.xml"/><Relationship Id="rId63" Type="http://schemas.openxmlformats.org/officeDocument/2006/relationships/slideLayout" Target="../slideLayouts/slideLayout362.xml"/><Relationship Id="rId7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301.xml"/><Relationship Id="rId16" Type="http://schemas.openxmlformats.org/officeDocument/2006/relationships/slideLayout" Target="../slideLayouts/slideLayout315.xml"/><Relationship Id="rId29" Type="http://schemas.openxmlformats.org/officeDocument/2006/relationships/slideLayout" Target="../slideLayouts/slideLayout328.xml"/><Relationship Id="rId11" Type="http://schemas.openxmlformats.org/officeDocument/2006/relationships/slideLayout" Target="../slideLayouts/slideLayout310.xml"/><Relationship Id="rId24" Type="http://schemas.openxmlformats.org/officeDocument/2006/relationships/slideLayout" Target="../slideLayouts/slideLayout323.xml"/><Relationship Id="rId32" Type="http://schemas.openxmlformats.org/officeDocument/2006/relationships/slideLayout" Target="../slideLayouts/slideLayout331.xml"/><Relationship Id="rId37" Type="http://schemas.openxmlformats.org/officeDocument/2006/relationships/slideLayout" Target="../slideLayouts/slideLayout336.xml"/><Relationship Id="rId40" Type="http://schemas.openxmlformats.org/officeDocument/2006/relationships/slideLayout" Target="../slideLayouts/slideLayout339.xml"/><Relationship Id="rId45" Type="http://schemas.openxmlformats.org/officeDocument/2006/relationships/slideLayout" Target="../slideLayouts/slideLayout344.xml"/><Relationship Id="rId53" Type="http://schemas.openxmlformats.org/officeDocument/2006/relationships/slideLayout" Target="../slideLayouts/slideLayout352.xml"/><Relationship Id="rId58" Type="http://schemas.openxmlformats.org/officeDocument/2006/relationships/slideLayout" Target="../slideLayouts/slideLayout357.xml"/><Relationship Id="rId66" Type="http://schemas.openxmlformats.org/officeDocument/2006/relationships/image" Target="../media/image1.gif"/><Relationship Id="rId5" Type="http://schemas.openxmlformats.org/officeDocument/2006/relationships/slideLayout" Target="../slideLayouts/slideLayout304.xml"/><Relationship Id="rId61" Type="http://schemas.openxmlformats.org/officeDocument/2006/relationships/slideLayout" Target="../slideLayouts/slideLayout360.xml"/><Relationship Id="rId19" Type="http://schemas.openxmlformats.org/officeDocument/2006/relationships/slideLayout" Target="../slideLayouts/slideLayout318.xml"/><Relationship Id="rId14" Type="http://schemas.openxmlformats.org/officeDocument/2006/relationships/slideLayout" Target="../slideLayouts/slideLayout313.xml"/><Relationship Id="rId22" Type="http://schemas.openxmlformats.org/officeDocument/2006/relationships/slideLayout" Target="../slideLayouts/slideLayout321.xml"/><Relationship Id="rId27" Type="http://schemas.openxmlformats.org/officeDocument/2006/relationships/slideLayout" Target="../slideLayouts/slideLayout326.xml"/><Relationship Id="rId30" Type="http://schemas.openxmlformats.org/officeDocument/2006/relationships/slideLayout" Target="../slideLayouts/slideLayout329.xml"/><Relationship Id="rId35" Type="http://schemas.openxmlformats.org/officeDocument/2006/relationships/slideLayout" Target="../slideLayouts/slideLayout334.xml"/><Relationship Id="rId43" Type="http://schemas.openxmlformats.org/officeDocument/2006/relationships/slideLayout" Target="../slideLayouts/slideLayout342.xml"/><Relationship Id="rId48" Type="http://schemas.openxmlformats.org/officeDocument/2006/relationships/slideLayout" Target="../slideLayouts/slideLayout347.xml"/><Relationship Id="rId56" Type="http://schemas.openxmlformats.org/officeDocument/2006/relationships/slideLayout" Target="../slideLayouts/slideLayout355.xml"/><Relationship Id="rId64" Type="http://schemas.openxmlformats.org/officeDocument/2006/relationships/slideLayout" Target="../slideLayouts/slideLayout363.xml"/><Relationship Id="rId8" Type="http://schemas.openxmlformats.org/officeDocument/2006/relationships/slideLayout" Target="../slideLayouts/slideLayout307.xml"/><Relationship Id="rId51" Type="http://schemas.openxmlformats.org/officeDocument/2006/relationships/slideLayout" Target="../slideLayouts/slideLayout350.xml"/><Relationship Id="rId3" Type="http://schemas.openxmlformats.org/officeDocument/2006/relationships/slideLayout" Target="../slideLayouts/slideLayout302.xml"/><Relationship Id="rId12" Type="http://schemas.openxmlformats.org/officeDocument/2006/relationships/slideLayout" Target="../slideLayouts/slideLayout311.xml"/><Relationship Id="rId17" Type="http://schemas.openxmlformats.org/officeDocument/2006/relationships/slideLayout" Target="../slideLayouts/slideLayout316.xml"/><Relationship Id="rId25" Type="http://schemas.openxmlformats.org/officeDocument/2006/relationships/slideLayout" Target="../slideLayouts/slideLayout324.xml"/><Relationship Id="rId33" Type="http://schemas.openxmlformats.org/officeDocument/2006/relationships/slideLayout" Target="../slideLayouts/slideLayout332.xml"/><Relationship Id="rId38" Type="http://schemas.openxmlformats.org/officeDocument/2006/relationships/slideLayout" Target="../slideLayouts/slideLayout337.xml"/><Relationship Id="rId46" Type="http://schemas.openxmlformats.org/officeDocument/2006/relationships/slideLayout" Target="../slideLayouts/slideLayout345.xml"/><Relationship Id="rId59" Type="http://schemas.openxmlformats.org/officeDocument/2006/relationships/slideLayout" Target="../slideLayouts/slideLayout358.xml"/><Relationship Id="rId20" Type="http://schemas.openxmlformats.org/officeDocument/2006/relationships/slideLayout" Target="../slideLayouts/slideLayout319.xml"/><Relationship Id="rId41" Type="http://schemas.openxmlformats.org/officeDocument/2006/relationships/slideLayout" Target="../slideLayouts/slideLayout340.xml"/><Relationship Id="rId54" Type="http://schemas.openxmlformats.org/officeDocument/2006/relationships/slideLayout" Target="../slideLayouts/slideLayout353.xml"/><Relationship Id="rId62" Type="http://schemas.openxmlformats.org/officeDocument/2006/relationships/slideLayout" Target="../slideLayouts/slideLayout361.xml"/><Relationship Id="rId1" Type="http://schemas.openxmlformats.org/officeDocument/2006/relationships/slideLayout" Target="../slideLayouts/slideLayout300.xml"/><Relationship Id="rId6" Type="http://schemas.openxmlformats.org/officeDocument/2006/relationships/slideLayout" Target="../slideLayouts/slideLayout305.xml"/><Relationship Id="rId15" Type="http://schemas.openxmlformats.org/officeDocument/2006/relationships/slideLayout" Target="../slideLayouts/slideLayout314.xml"/><Relationship Id="rId23" Type="http://schemas.openxmlformats.org/officeDocument/2006/relationships/slideLayout" Target="../slideLayouts/slideLayout322.xml"/><Relationship Id="rId28" Type="http://schemas.openxmlformats.org/officeDocument/2006/relationships/slideLayout" Target="../slideLayouts/slideLayout327.xml"/><Relationship Id="rId36" Type="http://schemas.openxmlformats.org/officeDocument/2006/relationships/slideLayout" Target="../slideLayouts/slideLayout335.xml"/><Relationship Id="rId49" Type="http://schemas.openxmlformats.org/officeDocument/2006/relationships/slideLayout" Target="../slideLayouts/slideLayout348.xml"/><Relationship Id="rId57" Type="http://schemas.openxmlformats.org/officeDocument/2006/relationships/slideLayout" Target="../slideLayouts/slideLayout356.xml"/><Relationship Id="rId10" Type="http://schemas.openxmlformats.org/officeDocument/2006/relationships/slideLayout" Target="../slideLayouts/slideLayout309.xml"/><Relationship Id="rId31" Type="http://schemas.openxmlformats.org/officeDocument/2006/relationships/slideLayout" Target="../slideLayouts/slideLayout330.xml"/><Relationship Id="rId44" Type="http://schemas.openxmlformats.org/officeDocument/2006/relationships/slideLayout" Target="../slideLayouts/slideLayout343.xml"/><Relationship Id="rId52" Type="http://schemas.openxmlformats.org/officeDocument/2006/relationships/slideLayout" Target="../slideLayouts/slideLayout351.xml"/><Relationship Id="rId60" Type="http://schemas.openxmlformats.org/officeDocument/2006/relationships/slideLayout" Target="../slideLayouts/slideLayout359.xml"/><Relationship Id="rId65" Type="http://schemas.openxmlformats.org/officeDocument/2006/relationships/theme" Target="../theme/theme9.xml"/><Relationship Id="rId4" Type="http://schemas.openxmlformats.org/officeDocument/2006/relationships/slideLayout" Target="../slideLayouts/slideLayout303.xml"/><Relationship Id="rId9" Type="http://schemas.openxmlformats.org/officeDocument/2006/relationships/slideLayout" Target="../slideLayouts/slideLayout308.xml"/><Relationship Id="rId13" Type="http://schemas.openxmlformats.org/officeDocument/2006/relationships/slideLayout" Target="../slideLayouts/slideLayout312.xml"/><Relationship Id="rId18" Type="http://schemas.openxmlformats.org/officeDocument/2006/relationships/slideLayout" Target="../slideLayouts/slideLayout317.xml"/><Relationship Id="rId39" Type="http://schemas.openxmlformats.org/officeDocument/2006/relationships/slideLayout" Target="../slideLayouts/slideLayout3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7322826-FB53-4EA8-B4DD-786783600E55}" type="slidenum">
              <a:rPr lang="es-MX" smtClean="0"/>
              <a:t>‹#›</a:t>
            </a:fld>
            <a:endParaRPr lang="es-MX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046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7" r:id="rId1"/>
    <p:sldLayoutId id="2147484038" r:id="rId2"/>
    <p:sldLayoutId id="2147484039" r:id="rId3"/>
    <p:sldLayoutId id="2147484040" r:id="rId4"/>
    <p:sldLayoutId id="2147484041" r:id="rId5"/>
    <p:sldLayoutId id="2147484042" r:id="rId6"/>
    <p:sldLayoutId id="2147484043" r:id="rId7"/>
    <p:sldLayoutId id="2147484044" r:id="rId8"/>
    <p:sldLayoutId id="2147484045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573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0" y="6296425"/>
            <a:ext cx="5382691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1">
                <a:solidFill>
                  <a:schemeClr val="tx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3309" y="1852409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8F0974E-49C5-B960-B4F8-5964DD923856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>
            <a:extLst>
              <a:ext uri="{FF2B5EF4-FFF2-40B4-BE49-F238E27FC236}">
                <a16:creationId xmlns:a16="http://schemas.microsoft.com/office/drawing/2014/main" id="{1A196204-FC1A-5216-AF83-73D0AFFCAFA0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1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  <p:sldLayoutId id="2147484059" r:id="rId12"/>
    <p:sldLayoutId id="2147484060" r:id="rId13"/>
    <p:sldLayoutId id="2147484061" r:id="rId14"/>
    <p:sldLayoutId id="2147484062" r:id="rId15"/>
    <p:sldLayoutId id="2147484063" r:id="rId16"/>
    <p:sldLayoutId id="2147484064" r:id="rId17"/>
    <p:sldLayoutId id="2147484065" r:id="rId18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i="0" kern="1200" cap="none" baseline="0">
          <a:solidFill>
            <a:schemeClr val="tx1"/>
          </a:solidFill>
          <a:latin typeface="+mj-lt"/>
          <a:ea typeface="Poppins Medium" pitchFamily="2" charset="77"/>
          <a:cs typeface="Poppins Medium" pitchFamily="2" charset="77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i="0" kern="1200">
          <a:gradFill>
            <a:gsLst>
              <a:gs pos="0">
                <a:schemeClr val="accent2"/>
              </a:gs>
              <a:gs pos="100000">
                <a:schemeClr val="tx2"/>
              </a:gs>
            </a:gsLst>
            <a:lin ang="0" scaled="1"/>
          </a:gradFill>
          <a:latin typeface="+mj-lt"/>
          <a:ea typeface="+mn-ea"/>
          <a:cs typeface="Poppins Medium" pitchFamily="2" charset="77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j-lt"/>
          <a:ea typeface="+mn-ea"/>
          <a:cs typeface="Poppins" pitchFamily="2" charset="77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2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32">
          <p15:clr>
            <a:srgbClr val="FDE53C"/>
          </p15:clr>
        </p15:guide>
        <p15:guide id="67" orient="horz" pos="1160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922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509">
          <p15:clr>
            <a:srgbClr val="A4A3A4"/>
          </p15:clr>
        </p15:guide>
        <p15:guide id="77" orient="horz" pos="391">
          <p15:clr>
            <a:srgbClr val="FDE53C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69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281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#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6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513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746" r:id="rId36"/>
    <p:sldLayoutId id="2147483747" r:id="rId37"/>
    <p:sldLayoutId id="2147483748" r:id="rId38"/>
    <p:sldLayoutId id="2147483749" r:id="rId39"/>
    <p:sldLayoutId id="2147483750" r:id="rId40"/>
    <p:sldLayoutId id="2147483751" r:id="rId41"/>
    <p:sldLayoutId id="2147483752" r:id="rId42"/>
    <p:sldLayoutId id="2147483753" r:id="rId43"/>
    <p:sldLayoutId id="2147483754" r:id="rId44"/>
    <p:sldLayoutId id="2147483755" r:id="rId45"/>
    <p:sldLayoutId id="2147483756" r:id="rId46"/>
    <p:sldLayoutId id="2147483757" r:id="rId47"/>
    <p:sldLayoutId id="2147483758" r:id="rId48"/>
    <p:sldLayoutId id="2147483759" r:id="rId49"/>
    <p:sldLayoutId id="2147483760" r:id="rId50"/>
    <p:sldLayoutId id="2147483761" r:id="rId51"/>
    <p:sldLayoutId id="2147483762" r:id="rId52"/>
    <p:sldLayoutId id="2147483763" r:id="rId53"/>
    <p:sldLayoutId id="2147483764" r:id="rId54"/>
    <p:sldLayoutId id="2147483765" r:id="rId55"/>
    <p:sldLayoutId id="2147483766" r:id="rId56"/>
    <p:sldLayoutId id="2147483768" r:id="rId57"/>
    <p:sldLayoutId id="2147483770" r:id="rId58"/>
    <p:sldLayoutId id="2147483771" r:id="rId59"/>
    <p:sldLayoutId id="2147483775" r:id="rId60"/>
    <p:sldLayoutId id="2147483776" r:id="rId61"/>
    <p:sldLayoutId id="2147484035" r:id="rId62"/>
    <p:sldLayoutId id="2147484046" r:id="rId63"/>
    <p:sldLayoutId id="2147484066" r:id="rId64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58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91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  <p:sldLayoutId id="2147483802" r:id="rId25"/>
    <p:sldLayoutId id="2147483803" r:id="rId26"/>
    <p:sldLayoutId id="2147483804" r:id="rId27"/>
    <p:sldLayoutId id="2147483805" r:id="rId28"/>
    <p:sldLayoutId id="2147483806" r:id="rId29"/>
    <p:sldLayoutId id="2147483807" r:id="rId30"/>
    <p:sldLayoutId id="2147483808" r:id="rId31"/>
    <p:sldLayoutId id="2147483809" r:id="rId32"/>
    <p:sldLayoutId id="2147483810" r:id="rId33"/>
    <p:sldLayoutId id="2147483811" r:id="rId34"/>
    <p:sldLayoutId id="2147483812" r:id="rId35"/>
    <p:sldLayoutId id="2147483813" r:id="rId36"/>
    <p:sldLayoutId id="2147483814" r:id="rId37"/>
    <p:sldLayoutId id="2147483815" r:id="rId38"/>
    <p:sldLayoutId id="2147483816" r:id="rId39"/>
    <p:sldLayoutId id="2147483817" r:id="rId40"/>
    <p:sldLayoutId id="2147483818" r:id="rId41"/>
    <p:sldLayoutId id="2147483819" r:id="rId42"/>
    <p:sldLayoutId id="2147483820" r:id="rId43"/>
    <p:sldLayoutId id="2147483821" r:id="rId44"/>
    <p:sldLayoutId id="2147483822" r:id="rId45"/>
    <p:sldLayoutId id="2147483823" r:id="rId46"/>
    <p:sldLayoutId id="2147483824" r:id="rId47"/>
    <p:sldLayoutId id="2147483825" r:id="rId48"/>
    <p:sldLayoutId id="2147483826" r:id="rId49"/>
    <p:sldLayoutId id="2147483827" r:id="rId50"/>
    <p:sldLayoutId id="2147483828" r:id="rId51"/>
    <p:sldLayoutId id="2147483829" r:id="rId52"/>
    <p:sldLayoutId id="2147483830" r:id="rId53"/>
    <p:sldLayoutId id="2147483831" r:id="rId54"/>
    <p:sldLayoutId id="2147483832" r:id="rId55"/>
    <p:sldLayoutId id="2147483833" r:id="rId56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1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1"/>
            <a:ext cx="10965600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7" y="1802341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5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BD2AA0BE-0C0E-F642-AB39-96F9643DA115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936697" y="6327669"/>
            <a:ext cx="318609" cy="318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82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tabLst>
          <a:tab pos="1777956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1" indent="-285744" algn="l" defTabSz="914377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08B8E3A7-8156-2674-4383-E2F8B5FFEE01}"/>
              </a:ext>
            </a:extLst>
          </p:cNvPr>
          <p:cNvPicPr>
            <a:picLocks noChangeAspect="1"/>
          </p:cNvPicPr>
          <p:nvPr/>
        </p:nvPicPr>
        <p:blipFill>
          <a:blip r:embed="rId58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085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  <p:sldLayoutId id="2147483879" r:id="rId25"/>
    <p:sldLayoutId id="2147483880" r:id="rId26"/>
    <p:sldLayoutId id="2147483881" r:id="rId27"/>
    <p:sldLayoutId id="2147483882" r:id="rId28"/>
    <p:sldLayoutId id="2147483883" r:id="rId29"/>
    <p:sldLayoutId id="2147483884" r:id="rId30"/>
    <p:sldLayoutId id="2147483885" r:id="rId31"/>
    <p:sldLayoutId id="2147483886" r:id="rId32"/>
    <p:sldLayoutId id="2147483887" r:id="rId33"/>
    <p:sldLayoutId id="2147483888" r:id="rId34"/>
    <p:sldLayoutId id="2147483889" r:id="rId35"/>
    <p:sldLayoutId id="2147483890" r:id="rId36"/>
    <p:sldLayoutId id="2147483891" r:id="rId37"/>
    <p:sldLayoutId id="2147483892" r:id="rId38"/>
    <p:sldLayoutId id="2147483893" r:id="rId39"/>
    <p:sldLayoutId id="2147483894" r:id="rId40"/>
    <p:sldLayoutId id="2147483895" r:id="rId41"/>
    <p:sldLayoutId id="2147483896" r:id="rId42"/>
    <p:sldLayoutId id="2147483897" r:id="rId43"/>
    <p:sldLayoutId id="2147483898" r:id="rId44"/>
    <p:sldLayoutId id="2147483899" r:id="rId45"/>
    <p:sldLayoutId id="2147483900" r:id="rId46"/>
    <p:sldLayoutId id="2147483901" r:id="rId47"/>
    <p:sldLayoutId id="2147483902" r:id="rId48"/>
    <p:sldLayoutId id="2147483903" r:id="rId49"/>
    <p:sldLayoutId id="2147483904" r:id="rId50"/>
    <p:sldLayoutId id="2147483905" r:id="rId51"/>
    <p:sldLayoutId id="2147483906" r:id="rId52"/>
    <p:sldLayoutId id="2147483907" r:id="rId53"/>
    <p:sldLayoutId id="2147483908" r:id="rId54"/>
    <p:sldLayoutId id="2147483909" r:id="rId55"/>
    <p:sldLayoutId id="2147483910" r:id="rId56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59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069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  <p:sldLayoutId id="2147483923" r:id="rId12"/>
    <p:sldLayoutId id="2147483924" r:id="rId13"/>
    <p:sldLayoutId id="2147483925" r:id="rId14"/>
    <p:sldLayoutId id="2147483926" r:id="rId15"/>
    <p:sldLayoutId id="2147483927" r:id="rId16"/>
    <p:sldLayoutId id="2147483928" r:id="rId17"/>
    <p:sldLayoutId id="2147483929" r:id="rId18"/>
    <p:sldLayoutId id="2147483930" r:id="rId19"/>
    <p:sldLayoutId id="2147483931" r:id="rId20"/>
    <p:sldLayoutId id="2147483932" r:id="rId21"/>
    <p:sldLayoutId id="2147483933" r:id="rId22"/>
    <p:sldLayoutId id="2147483934" r:id="rId23"/>
    <p:sldLayoutId id="2147483935" r:id="rId24"/>
    <p:sldLayoutId id="2147483936" r:id="rId25"/>
    <p:sldLayoutId id="2147483937" r:id="rId26"/>
    <p:sldLayoutId id="2147483938" r:id="rId27"/>
    <p:sldLayoutId id="2147483939" r:id="rId28"/>
    <p:sldLayoutId id="2147483940" r:id="rId29"/>
    <p:sldLayoutId id="2147483941" r:id="rId30"/>
    <p:sldLayoutId id="2147483942" r:id="rId31"/>
    <p:sldLayoutId id="2147483943" r:id="rId32"/>
    <p:sldLayoutId id="2147483944" r:id="rId33"/>
    <p:sldLayoutId id="2147483945" r:id="rId34"/>
    <p:sldLayoutId id="2147483946" r:id="rId35"/>
    <p:sldLayoutId id="2147483947" r:id="rId36"/>
    <p:sldLayoutId id="2147483948" r:id="rId37"/>
    <p:sldLayoutId id="2147483949" r:id="rId38"/>
    <p:sldLayoutId id="2147483950" r:id="rId39"/>
    <p:sldLayoutId id="2147483951" r:id="rId40"/>
    <p:sldLayoutId id="2147483952" r:id="rId41"/>
    <p:sldLayoutId id="2147483953" r:id="rId42"/>
    <p:sldLayoutId id="2147483954" r:id="rId43"/>
    <p:sldLayoutId id="2147483955" r:id="rId44"/>
    <p:sldLayoutId id="2147483956" r:id="rId45"/>
    <p:sldLayoutId id="2147483957" r:id="rId46"/>
    <p:sldLayoutId id="2147483958" r:id="rId47"/>
    <p:sldLayoutId id="2147483959" r:id="rId48"/>
    <p:sldLayoutId id="2147483960" r:id="rId49"/>
    <p:sldLayoutId id="2147483961" r:id="rId50"/>
    <p:sldLayoutId id="2147483962" r:id="rId51"/>
    <p:sldLayoutId id="2147483963" r:id="rId52"/>
    <p:sldLayoutId id="2147483964" r:id="rId53"/>
    <p:sldLayoutId id="2147483965" r:id="rId54"/>
    <p:sldLayoutId id="2147483966" r:id="rId55"/>
    <p:sldLayoutId id="2147483967" r:id="rId56"/>
    <p:sldLayoutId id="2147483968" r:id="rId57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AAEED16-C424-F848-A022-D919E32FEDB0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077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3" r:id="rId14"/>
    <p:sldLayoutId id="2147483984" r:id="rId15"/>
    <p:sldLayoutId id="2147483985" r:id="rId16"/>
    <p:sldLayoutId id="2147483986" r:id="rId17"/>
    <p:sldLayoutId id="2147483987" r:id="rId18"/>
    <p:sldLayoutId id="2147483988" r:id="rId19"/>
    <p:sldLayoutId id="2147483989" r:id="rId20"/>
    <p:sldLayoutId id="2147483990" r:id="rId21"/>
    <p:sldLayoutId id="2147483991" r:id="rId22"/>
    <p:sldLayoutId id="2147483992" r:id="rId23"/>
    <p:sldLayoutId id="2147483993" r:id="rId24"/>
    <p:sldLayoutId id="2147483994" r:id="rId25"/>
    <p:sldLayoutId id="2147483995" r:id="rId26"/>
    <p:sldLayoutId id="2147483996" r:id="rId27"/>
    <p:sldLayoutId id="2147483997" r:id="rId28"/>
    <p:sldLayoutId id="2147483998" r:id="rId29"/>
    <p:sldLayoutId id="2147483999" r:id="rId30"/>
    <p:sldLayoutId id="2147484000" r:id="rId31"/>
    <p:sldLayoutId id="2147484001" r:id="rId32"/>
    <p:sldLayoutId id="2147484002" r:id="rId33"/>
    <p:sldLayoutId id="2147484003" r:id="rId34"/>
    <p:sldLayoutId id="2147484004" r:id="rId35"/>
    <p:sldLayoutId id="2147484005" r:id="rId36"/>
    <p:sldLayoutId id="2147484006" r:id="rId37"/>
    <p:sldLayoutId id="2147484007" r:id="rId38"/>
    <p:sldLayoutId id="2147484008" r:id="rId39"/>
    <p:sldLayoutId id="2147484009" r:id="rId40"/>
    <p:sldLayoutId id="2147484010" r:id="rId41"/>
    <p:sldLayoutId id="2147484011" r:id="rId42"/>
    <p:sldLayoutId id="2147484012" r:id="rId43"/>
    <p:sldLayoutId id="2147484013" r:id="rId44"/>
    <p:sldLayoutId id="2147484014" r:id="rId45"/>
    <p:sldLayoutId id="2147484015" r:id="rId46"/>
    <p:sldLayoutId id="2147484016" r:id="rId47"/>
    <p:sldLayoutId id="2147484017" r:id="rId48"/>
    <p:sldLayoutId id="2147484018" r:id="rId49"/>
    <p:sldLayoutId id="2147484019" r:id="rId50"/>
    <p:sldLayoutId id="2147484020" r:id="rId51"/>
    <p:sldLayoutId id="2147484021" r:id="rId52"/>
    <p:sldLayoutId id="2147484022" r:id="rId53"/>
    <p:sldLayoutId id="2147484023" r:id="rId54"/>
    <p:sldLayoutId id="2147484024" r:id="rId55"/>
    <p:sldLayoutId id="2147484025" r:id="rId56"/>
    <p:sldLayoutId id="2147484026" r:id="rId57"/>
    <p:sldLayoutId id="2147484027" r:id="rId58"/>
    <p:sldLayoutId id="2147484028" r:id="rId59"/>
    <p:sldLayoutId id="2147484029" r:id="rId60"/>
    <p:sldLayoutId id="2147484030" r:id="rId61"/>
    <p:sldLayoutId id="2147484031" r:id="rId62"/>
    <p:sldLayoutId id="2147484032" r:id="rId63"/>
    <p:sldLayoutId id="2147484033" r:id="rId6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0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91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78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Relationship Id="rId9" Type="http://schemas.openxmlformats.org/officeDocument/2006/relationships/image" Target="../media/image49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8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13" Type="http://schemas.openxmlformats.org/officeDocument/2006/relationships/image" Target="../media/image52.png"/><Relationship Id="rId3" Type="http://schemas.openxmlformats.org/officeDocument/2006/relationships/image" Target="../media/image51.jpeg"/><Relationship Id="rId7" Type="http://schemas.openxmlformats.org/officeDocument/2006/relationships/chart" Target="../charts/chart8.xml"/><Relationship Id="rId12" Type="http://schemas.openxmlformats.org/officeDocument/2006/relationships/chart" Target="../charts/chart1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78.xml"/><Relationship Id="rId6" Type="http://schemas.openxmlformats.org/officeDocument/2006/relationships/chart" Target="../charts/chart7.xml"/><Relationship Id="rId11" Type="http://schemas.openxmlformats.org/officeDocument/2006/relationships/chart" Target="../charts/chart12.xml"/><Relationship Id="rId5" Type="http://schemas.openxmlformats.org/officeDocument/2006/relationships/chart" Target="../charts/chart6.xml"/><Relationship Id="rId10" Type="http://schemas.openxmlformats.org/officeDocument/2006/relationships/chart" Target="../charts/chart11.xml"/><Relationship Id="rId4" Type="http://schemas.openxmlformats.org/officeDocument/2006/relationships/chart" Target="../charts/chart5.xml"/><Relationship Id="rId9" Type="http://schemas.openxmlformats.org/officeDocument/2006/relationships/chart" Target="../charts/chart10.xml"/><Relationship Id="rId14" Type="http://schemas.openxmlformats.org/officeDocument/2006/relationships/chart" Target="../charts/char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37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7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7" Type="http://schemas.openxmlformats.org/officeDocument/2006/relationships/image" Target="../media/image37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84.xml"/><Relationship Id="rId6" Type="http://schemas.openxmlformats.org/officeDocument/2006/relationships/image" Target="../media/image36.png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7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38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78.xml"/><Relationship Id="rId4" Type="http://schemas.openxmlformats.org/officeDocument/2006/relationships/image" Target="../media/image54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8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7" Type="http://schemas.openxmlformats.org/officeDocument/2006/relationships/image" Target="../media/image37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84.xml"/><Relationship Id="rId6" Type="http://schemas.openxmlformats.org/officeDocument/2006/relationships/image" Target="../media/image36.png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378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7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8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13" Type="http://schemas.openxmlformats.org/officeDocument/2006/relationships/image" Target="../media/image71.png"/><Relationship Id="rId18" Type="http://schemas.openxmlformats.org/officeDocument/2006/relationships/image" Target="../media/image76.png"/><Relationship Id="rId26" Type="http://schemas.openxmlformats.org/officeDocument/2006/relationships/image" Target="../media/image84.png"/><Relationship Id="rId3" Type="http://schemas.openxmlformats.org/officeDocument/2006/relationships/image" Target="../media/image61.png"/><Relationship Id="rId21" Type="http://schemas.openxmlformats.org/officeDocument/2006/relationships/image" Target="../media/image79.png"/><Relationship Id="rId7" Type="http://schemas.openxmlformats.org/officeDocument/2006/relationships/image" Target="../media/image65.png"/><Relationship Id="rId12" Type="http://schemas.openxmlformats.org/officeDocument/2006/relationships/image" Target="../media/image70.png"/><Relationship Id="rId17" Type="http://schemas.openxmlformats.org/officeDocument/2006/relationships/image" Target="../media/image75.png"/><Relationship Id="rId25" Type="http://schemas.openxmlformats.org/officeDocument/2006/relationships/image" Target="../media/image83.pn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74.png"/><Relationship Id="rId20" Type="http://schemas.openxmlformats.org/officeDocument/2006/relationships/image" Target="../media/image78.png"/><Relationship Id="rId1" Type="http://schemas.openxmlformats.org/officeDocument/2006/relationships/slideLayout" Target="../slideLayouts/slideLayout378.xml"/><Relationship Id="rId6" Type="http://schemas.openxmlformats.org/officeDocument/2006/relationships/image" Target="../media/image64.png"/><Relationship Id="rId11" Type="http://schemas.openxmlformats.org/officeDocument/2006/relationships/image" Target="../media/image69.jpeg"/><Relationship Id="rId24" Type="http://schemas.openxmlformats.org/officeDocument/2006/relationships/image" Target="../media/image82.png"/><Relationship Id="rId5" Type="http://schemas.openxmlformats.org/officeDocument/2006/relationships/image" Target="../media/image63.png"/><Relationship Id="rId15" Type="http://schemas.openxmlformats.org/officeDocument/2006/relationships/image" Target="../media/image73.jpeg"/><Relationship Id="rId23" Type="http://schemas.openxmlformats.org/officeDocument/2006/relationships/image" Target="../media/image81.png"/><Relationship Id="rId28" Type="http://schemas.openxmlformats.org/officeDocument/2006/relationships/image" Target="../media/image86.png"/><Relationship Id="rId10" Type="http://schemas.openxmlformats.org/officeDocument/2006/relationships/image" Target="../media/image68.png"/><Relationship Id="rId19" Type="http://schemas.openxmlformats.org/officeDocument/2006/relationships/image" Target="../media/image77.jpeg"/><Relationship Id="rId4" Type="http://schemas.openxmlformats.org/officeDocument/2006/relationships/image" Target="../media/image62.png"/><Relationship Id="rId9" Type="http://schemas.openxmlformats.org/officeDocument/2006/relationships/image" Target="../media/image67.png"/><Relationship Id="rId14" Type="http://schemas.openxmlformats.org/officeDocument/2006/relationships/image" Target="../media/image72.png"/><Relationship Id="rId22" Type="http://schemas.openxmlformats.org/officeDocument/2006/relationships/image" Target="../media/image80.png"/><Relationship Id="rId27" Type="http://schemas.openxmlformats.org/officeDocument/2006/relationships/image" Target="../media/image8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0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7" Type="http://schemas.openxmlformats.org/officeDocument/2006/relationships/image" Target="../media/image37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84.xml"/><Relationship Id="rId6" Type="http://schemas.openxmlformats.org/officeDocument/2006/relationships/image" Target="../media/image36.png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13" Type="http://schemas.openxmlformats.org/officeDocument/2006/relationships/image" Target="../media/image99.png"/><Relationship Id="rId18" Type="http://schemas.openxmlformats.org/officeDocument/2006/relationships/image" Target="../media/image104.svg"/><Relationship Id="rId3" Type="http://schemas.openxmlformats.org/officeDocument/2006/relationships/image" Target="../media/image89.svg"/><Relationship Id="rId7" Type="http://schemas.openxmlformats.org/officeDocument/2006/relationships/image" Target="../media/image93.svg"/><Relationship Id="rId12" Type="http://schemas.openxmlformats.org/officeDocument/2006/relationships/image" Target="../media/image98.png"/><Relationship Id="rId17" Type="http://schemas.openxmlformats.org/officeDocument/2006/relationships/image" Target="../media/image103.svg"/><Relationship Id="rId2" Type="http://schemas.openxmlformats.org/officeDocument/2006/relationships/image" Target="../media/image88.png"/><Relationship Id="rId16" Type="http://schemas.openxmlformats.org/officeDocument/2006/relationships/image" Target="../media/image102.svg"/><Relationship Id="rId20" Type="http://schemas.openxmlformats.org/officeDocument/2006/relationships/image" Target="../media/image106.png"/><Relationship Id="rId1" Type="http://schemas.openxmlformats.org/officeDocument/2006/relationships/slideLayout" Target="../slideLayouts/slideLayout392.xml"/><Relationship Id="rId6" Type="http://schemas.openxmlformats.org/officeDocument/2006/relationships/image" Target="../media/image92.png"/><Relationship Id="rId11" Type="http://schemas.openxmlformats.org/officeDocument/2006/relationships/image" Target="../media/image97.png"/><Relationship Id="rId5" Type="http://schemas.openxmlformats.org/officeDocument/2006/relationships/image" Target="../media/image91.svg"/><Relationship Id="rId15" Type="http://schemas.openxmlformats.org/officeDocument/2006/relationships/image" Target="../media/image101.svg"/><Relationship Id="rId10" Type="http://schemas.openxmlformats.org/officeDocument/2006/relationships/image" Target="../media/image96.png"/><Relationship Id="rId19" Type="http://schemas.openxmlformats.org/officeDocument/2006/relationships/image" Target="../media/image105.png"/><Relationship Id="rId4" Type="http://schemas.openxmlformats.org/officeDocument/2006/relationships/image" Target="../media/image90.png"/><Relationship Id="rId9" Type="http://schemas.openxmlformats.org/officeDocument/2006/relationships/image" Target="../media/image95.svg"/><Relationship Id="rId14" Type="http://schemas.openxmlformats.org/officeDocument/2006/relationships/image" Target="../media/image100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3" Type="http://schemas.openxmlformats.org/officeDocument/2006/relationships/image" Target="../media/image53.png"/><Relationship Id="rId7" Type="http://schemas.openxmlformats.org/officeDocument/2006/relationships/image" Target="../media/image10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78.xml"/><Relationship Id="rId6" Type="http://schemas.openxmlformats.org/officeDocument/2006/relationships/image" Target="../media/image108.png"/><Relationship Id="rId5" Type="http://schemas.openxmlformats.org/officeDocument/2006/relationships/image" Target="../media/image107.png"/><Relationship Id="rId10" Type="http://schemas.openxmlformats.org/officeDocument/2006/relationships/image" Target="../media/image112.svg"/><Relationship Id="rId4" Type="http://schemas.openxmlformats.org/officeDocument/2006/relationships/image" Target="../media/image54.svg"/><Relationship Id="rId9" Type="http://schemas.openxmlformats.org/officeDocument/2006/relationships/image" Target="../media/image111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3" Type="http://schemas.openxmlformats.org/officeDocument/2006/relationships/image" Target="../media/image114.png"/><Relationship Id="rId7" Type="http://schemas.openxmlformats.org/officeDocument/2006/relationships/image" Target="../media/image117.jpe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378.xml"/><Relationship Id="rId6" Type="http://schemas.openxmlformats.org/officeDocument/2006/relationships/image" Target="../media/image116.png"/><Relationship Id="rId11" Type="http://schemas.openxmlformats.org/officeDocument/2006/relationships/image" Target="../media/image121.png"/><Relationship Id="rId5" Type="http://schemas.microsoft.com/office/2007/relationships/hdphoto" Target="../media/hdphoto1.wdp"/><Relationship Id="rId10" Type="http://schemas.openxmlformats.org/officeDocument/2006/relationships/image" Target="../media/image120.jpeg"/><Relationship Id="rId4" Type="http://schemas.openxmlformats.org/officeDocument/2006/relationships/image" Target="../media/image115.png"/><Relationship Id="rId9" Type="http://schemas.openxmlformats.org/officeDocument/2006/relationships/image" Target="../media/image119.emf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8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87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123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0.xml"/><Relationship Id="rId3" Type="http://schemas.openxmlformats.org/officeDocument/2006/relationships/image" Target="../media/image125.png"/><Relationship Id="rId7" Type="http://schemas.openxmlformats.org/officeDocument/2006/relationships/chart" Target="../charts/chart19.xml"/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378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chart" Target="../charts/chart16.xml"/><Relationship Id="rId9" Type="http://schemas.openxmlformats.org/officeDocument/2006/relationships/chart" Target="../charts/chart21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5.xml"/><Relationship Id="rId3" Type="http://schemas.microsoft.com/office/2007/relationships/hdphoto" Target="../media/hdphoto2.wdp"/><Relationship Id="rId7" Type="http://schemas.openxmlformats.org/officeDocument/2006/relationships/chart" Target="../charts/chart24.xml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378.xml"/><Relationship Id="rId6" Type="http://schemas.openxmlformats.org/officeDocument/2006/relationships/chart" Target="../charts/chart23.xml"/><Relationship Id="rId5" Type="http://schemas.openxmlformats.org/officeDocument/2006/relationships/chart" Target="../charts/chart22.xml"/><Relationship Id="rId10" Type="http://schemas.openxmlformats.org/officeDocument/2006/relationships/chart" Target="../charts/chart27.xml"/><Relationship Id="rId4" Type="http://schemas.openxmlformats.org/officeDocument/2006/relationships/image" Target="../media/image127.png"/><Relationship Id="rId9" Type="http://schemas.openxmlformats.org/officeDocument/2006/relationships/chart" Target="../charts/char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78.xml"/><Relationship Id="rId4" Type="http://schemas.openxmlformats.org/officeDocument/2006/relationships/image" Target="../media/image38.sv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378.xml"/><Relationship Id="rId5" Type="http://schemas.openxmlformats.org/officeDocument/2006/relationships/image" Target="../media/image125.png"/><Relationship Id="rId4" Type="http://schemas.openxmlformats.org/officeDocument/2006/relationships/image" Target="../media/image12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87.xml"/><Relationship Id="rId6" Type="http://schemas.openxmlformats.org/officeDocument/2006/relationships/image" Target="../media/image123.png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87.xml"/><Relationship Id="rId6" Type="http://schemas.openxmlformats.org/officeDocument/2006/relationships/image" Target="../media/image123.png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7.png"/><Relationship Id="rId13" Type="http://schemas.openxmlformats.org/officeDocument/2006/relationships/image" Target="../media/image128.png"/><Relationship Id="rId3" Type="http://schemas.openxmlformats.org/officeDocument/2006/relationships/image" Target="../media/image132.png"/><Relationship Id="rId7" Type="http://schemas.openxmlformats.org/officeDocument/2006/relationships/image" Target="../media/image136.png"/><Relationship Id="rId12" Type="http://schemas.openxmlformats.org/officeDocument/2006/relationships/image" Target="../media/image141.jpeg"/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378.xml"/><Relationship Id="rId6" Type="http://schemas.openxmlformats.org/officeDocument/2006/relationships/image" Target="../media/image135.jpeg"/><Relationship Id="rId11" Type="http://schemas.openxmlformats.org/officeDocument/2006/relationships/image" Target="../media/image140.jpeg"/><Relationship Id="rId5" Type="http://schemas.openxmlformats.org/officeDocument/2006/relationships/image" Target="../media/image134.png"/><Relationship Id="rId10" Type="http://schemas.openxmlformats.org/officeDocument/2006/relationships/image" Target="../media/image139.png"/><Relationship Id="rId4" Type="http://schemas.openxmlformats.org/officeDocument/2006/relationships/image" Target="../media/image133.png"/><Relationship Id="rId9" Type="http://schemas.openxmlformats.org/officeDocument/2006/relationships/image" Target="../media/image138.jpeg"/><Relationship Id="rId14" Type="http://schemas.openxmlformats.org/officeDocument/2006/relationships/image" Target="../media/image127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42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9.xml"/><Relationship Id="rId2" Type="http://schemas.openxmlformats.org/officeDocument/2006/relationships/audio" Target="../media/media2.wav"/><Relationship Id="rId1" Type="http://schemas.microsoft.com/office/2007/relationships/media" Target="../media/media2.wav"/><Relationship Id="rId6" Type="http://schemas.openxmlformats.org/officeDocument/2006/relationships/image" Target="../media/image144.png"/><Relationship Id="rId5" Type="http://schemas.openxmlformats.org/officeDocument/2006/relationships/image" Target="../media/image125.png"/><Relationship Id="rId4" Type="http://schemas.openxmlformats.org/officeDocument/2006/relationships/image" Target="../media/image143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87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146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87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146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87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146.jpe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87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14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8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87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146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87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146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7" Type="http://schemas.openxmlformats.org/officeDocument/2006/relationships/image" Target="../media/image37.sv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84.xml"/><Relationship Id="rId6" Type="http://schemas.openxmlformats.org/officeDocument/2006/relationships/image" Target="../media/image36.png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svg"/><Relationship Id="rId2" Type="http://schemas.openxmlformats.org/officeDocument/2006/relationships/image" Target="../media/image152.png"/><Relationship Id="rId1" Type="http://schemas.openxmlformats.org/officeDocument/2006/relationships/slideLayout" Target="../slideLayouts/slideLayout378.xml"/><Relationship Id="rId5" Type="http://schemas.openxmlformats.org/officeDocument/2006/relationships/image" Target="../media/image155.svg"/><Relationship Id="rId4" Type="http://schemas.openxmlformats.org/officeDocument/2006/relationships/image" Target="../media/image154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9.svg"/><Relationship Id="rId3" Type="http://schemas.openxmlformats.org/officeDocument/2006/relationships/image" Target="../media/image115.png"/><Relationship Id="rId7" Type="http://schemas.openxmlformats.org/officeDocument/2006/relationships/image" Target="../media/image158.pn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378.xml"/><Relationship Id="rId6" Type="http://schemas.openxmlformats.org/officeDocument/2006/relationships/image" Target="../media/image157.png"/><Relationship Id="rId5" Type="http://schemas.openxmlformats.org/officeDocument/2006/relationships/image" Target="../media/image156.png"/><Relationship Id="rId10" Type="http://schemas.openxmlformats.org/officeDocument/2006/relationships/image" Target="../media/image161.svg"/><Relationship Id="rId4" Type="http://schemas.microsoft.com/office/2007/relationships/hdphoto" Target="../media/hdphoto1.wdp"/><Relationship Id="rId9" Type="http://schemas.openxmlformats.org/officeDocument/2006/relationships/image" Target="../media/image160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8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62.jpeg"/><Relationship Id="rId1" Type="http://schemas.openxmlformats.org/officeDocument/2006/relationships/slideLayout" Target="../slideLayouts/slideLayout111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63.svg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7" Type="http://schemas.openxmlformats.org/officeDocument/2006/relationships/image" Target="../media/image38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8.xml"/><Relationship Id="rId6" Type="http://schemas.openxmlformats.org/officeDocument/2006/relationships/image" Target="../media/image36.png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8.xml"/><Relationship Id="rId5" Type="http://schemas.openxmlformats.org/officeDocument/2006/relationships/image" Target="../media/image38.svg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386.xml"/><Relationship Id="rId4" Type="http://schemas.openxmlformats.org/officeDocument/2006/relationships/image" Target="../media/image38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7" Type="http://schemas.openxmlformats.org/officeDocument/2006/relationships/image" Target="../media/image37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4.xml"/><Relationship Id="rId6" Type="http://schemas.openxmlformats.org/officeDocument/2006/relationships/image" Target="../media/image36.png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La Bodeguita (Chihuahua) Menú a Domicilio【Menú y Precios】Chihuahua ...">
            <a:extLst>
              <a:ext uri="{FF2B5EF4-FFF2-40B4-BE49-F238E27FC236}">
                <a16:creationId xmlns:a16="http://schemas.microsoft.com/office/drawing/2014/main" id="{9414E3E0-3BFF-9994-087D-34A4652BB93F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98" r="22898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955D7F7-FCF9-A93A-3DC7-DD6304753E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en-GB" sz="4400" dirty="0"/>
              <a:t>Alka-Seltzer</a:t>
            </a:r>
          </a:p>
          <a:p>
            <a:pPr lvl="0"/>
            <a:r>
              <a:rPr lang="en-GB" sz="4400" dirty="0"/>
              <a:t>Blueprint 2025</a:t>
            </a:r>
          </a:p>
          <a:p>
            <a:pPr lvl="0"/>
            <a:r>
              <a:rPr lang="en-GB" sz="4400" dirty="0"/>
              <a:t>Centro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282E3B8-42B8-09BF-771A-71CE3A56B1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6480" y="5250510"/>
            <a:ext cx="8774265" cy="1010472"/>
          </a:xfrm>
          <a:prstGeom prst="rect">
            <a:avLst/>
          </a:prstGeom>
        </p:spPr>
      </p:pic>
      <p:sp>
        <p:nvSpPr>
          <p:cNvPr id="2" name="Text Placeholder 24">
            <a:extLst>
              <a:ext uri="{FF2B5EF4-FFF2-40B4-BE49-F238E27FC236}">
                <a16:creationId xmlns:a16="http://schemas.microsoft.com/office/drawing/2014/main" id="{A8DD16A8-73D3-FF3C-DA00-5B7032DD8AB4}"/>
              </a:ext>
            </a:extLst>
          </p:cNvPr>
          <p:cNvSpPr txBox="1">
            <a:spLocks/>
          </p:cNvSpPr>
          <p:nvPr/>
        </p:nvSpPr>
        <p:spPr>
          <a:xfrm>
            <a:off x="880868" y="4653492"/>
            <a:ext cx="6574031" cy="7488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363702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5400" b="0" i="0" kern="1200">
                <a:solidFill>
                  <a:schemeClr val="tx1"/>
                </a:solidFill>
                <a:latin typeface="Poppins ExtraLight" pitchFamily="2" charset="77"/>
                <a:ea typeface="+mn-ea"/>
                <a:cs typeface="Poppins ExtraLight" pitchFamily="2" charset="77"/>
              </a:defRPr>
            </a:lvl1pPr>
            <a:lvl2pPr marL="0" indent="0" algn="l" defTabSz="363702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/>
              <a:buNone/>
              <a:tabLst/>
              <a:defRPr sz="3600" b="0" i="0" kern="1200">
                <a:solidFill>
                  <a:schemeClr val="bg1"/>
                </a:solidFill>
                <a:latin typeface="+mj-lt"/>
                <a:ea typeface="+mn-ea"/>
                <a:cs typeface="Poppins Medium" pitchFamily="2" charset="77"/>
              </a:defRPr>
            </a:lvl2pPr>
            <a:lvl3pPr marL="0" indent="0" algn="r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b="0" i="0" kern="1200">
                <a:solidFill>
                  <a:schemeClr val="bg1"/>
                </a:solidFill>
                <a:latin typeface="+mn-lt"/>
                <a:ea typeface="+mn-ea"/>
                <a:cs typeface="Poppins ExtraLight" pitchFamily="2" charset="77"/>
              </a:defRPr>
            </a:lvl3pPr>
            <a:lvl4pPr marL="680400" indent="-320400" algn="r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bg1"/>
                </a:solidFill>
                <a:latin typeface="+mn-lt"/>
                <a:ea typeface="+mn-ea"/>
                <a:cs typeface="Poppins ExtraLight" pitchFamily="2" charset="77"/>
              </a:defRPr>
            </a:lvl4pPr>
            <a:lvl5pPr marL="3055" indent="0" algn="r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None/>
              <a:tabLst/>
              <a:defRPr sz="1600" b="1" kern="1200">
                <a:solidFill>
                  <a:schemeClr val="bg1"/>
                </a:solidFill>
                <a:latin typeface="+mj-lt"/>
                <a:ea typeface="+mn-ea"/>
                <a:cs typeface="Poppins" pitchFamily="2" charset="77"/>
              </a:defRPr>
            </a:lvl5pPr>
            <a:lvl6pPr marL="1000180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2032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3883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5734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3702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8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SemiBold" pitchFamily="2" charset="77"/>
                <a:ea typeface="+mn-ea"/>
                <a:cs typeface="Poppins SemiBold" pitchFamily="2" charset="77"/>
              </a:rPr>
              <a:t>Octubre</a:t>
            </a:r>
            <a:r>
              <a:rPr kumimoji="0" lang="en-GB" sz="2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SemiBold" pitchFamily="2" charset="77"/>
                <a:ea typeface="+mn-ea"/>
                <a:cs typeface="Poppins SemiBold" pitchFamily="2" charset="77"/>
              </a:rPr>
              <a:t> xx</a:t>
            </a:r>
          </a:p>
        </p:txBody>
      </p:sp>
    </p:spTree>
    <p:extLst>
      <p:ext uri="{BB962C8B-B14F-4D97-AF65-F5344CB8AC3E}">
        <p14:creationId xmlns:p14="http://schemas.microsoft.com/office/powerpoint/2010/main" val="17339376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 descr="A person with her arms raised in the air&#10;&#10;Description automatically generated">
            <a:extLst>
              <a:ext uri="{FF2B5EF4-FFF2-40B4-BE49-F238E27FC236}">
                <a16:creationId xmlns:a16="http://schemas.microsoft.com/office/drawing/2014/main" id="{CFA9DC58-51FD-AD32-18C0-7EBF015CBEA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/>
          <a:srcRect l="7095" t="26410" r="38329" b="18999"/>
          <a:stretch/>
        </p:blipFill>
        <p:spPr>
          <a:xfrm>
            <a:off x="0" y="0"/>
            <a:ext cx="12193199" cy="6857999"/>
          </a:xfrm>
          <a:noFill/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119805FB-1BA4-2BA0-16BE-5DE3657A8E67}"/>
              </a:ext>
            </a:extLst>
          </p:cNvPr>
          <p:cNvSpPr/>
          <p:nvPr/>
        </p:nvSpPr>
        <p:spPr>
          <a:xfrm>
            <a:off x="-15240" y="-1"/>
            <a:ext cx="12192000" cy="6858000"/>
          </a:xfrm>
          <a:prstGeom prst="rect">
            <a:avLst/>
          </a:prstGeom>
          <a:gradFill>
            <a:gsLst>
              <a:gs pos="0">
                <a:schemeClr val="bg1">
                  <a:alpha val="65467"/>
                </a:schemeClr>
              </a:gs>
              <a:gs pos="99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396B01-C3ED-A83C-685F-8A97488D832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50455" y="830948"/>
            <a:ext cx="6981123" cy="4572003"/>
          </a:xfrm>
        </p:spPr>
        <p:txBody>
          <a:bodyPr anchor="ctr"/>
          <a:lstStyle/>
          <a:p>
            <a:pPr algn="l"/>
            <a:r>
              <a:rPr lang="en-US">
                <a:solidFill>
                  <a:schemeClr val="tx1"/>
                </a:solidFill>
              </a:rPr>
              <a:t>¿</a:t>
            </a:r>
            <a:r>
              <a:rPr lang="en-US" err="1">
                <a:solidFill>
                  <a:schemeClr val="tx1"/>
                </a:solidFill>
              </a:rPr>
              <a:t>Cuáles</a:t>
            </a:r>
            <a:r>
              <a:rPr lang="en-US">
                <a:solidFill>
                  <a:schemeClr val="tx1"/>
                </a:solidFill>
              </a:rPr>
              <a:t> son las </a:t>
            </a:r>
            <a:r>
              <a:rPr lang="en-US">
                <a:gradFill>
                  <a:gsLst>
                    <a:gs pos="0">
                      <a:schemeClr val="accent2"/>
                    </a:gs>
                    <a:gs pos="99000">
                      <a:schemeClr val="tx2"/>
                    </a:gs>
                  </a:gsLst>
                  <a:lin ang="0" scaled="1"/>
                </a:gradFill>
              </a:rPr>
              <a:t>audiencias de valor </a:t>
            </a:r>
            <a:r>
              <a:rPr lang="en-US">
                <a:solidFill>
                  <a:schemeClr val="tx1"/>
                </a:solidFill>
              </a:rPr>
              <a:t>que </a:t>
            </a:r>
            <a:r>
              <a:rPr lang="en-US" err="1">
                <a:solidFill>
                  <a:schemeClr val="tx1"/>
                </a:solidFill>
              </a:rPr>
              <a:t>necesitamos</a:t>
            </a:r>
            <a:r>
              <a:rPr lang="en-US">
                <a:solidFill>
                  <a:schemeClr val="tx1"/>
                </a:solidFill>
              </a:rPr>
              <a:t> </a:t>
            </a:r>
            <a:r>
              <a:rPr lang="en-US" err="1">
                <a:solidFill>
                  <a:schemeClr val="tx1"/>
                </a:solidFill>
              </a:rPr>
              <a:t>capturar</a:t>
            </a:r>
            <a:r>
              <a:rPr lang="en-US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81A1FF-A097-549F-2A32-E5208EB8CB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ExtraLight" pitchFamily="2" charset="77"/>
                <a:ea typeface="+mn-ea"/>
                <a:cs typeface="Poppins Extra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ExtraLight" pitchFamily="2" charset="77"/>
              <a:ea typeface="+mn-ea"/>
              <a:cs typeface="Poppins ExtraLight" pitchFamily="2" charset="77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BAD894D5-B9EE-1E2F-A069-0D2B13FAAA41}"/>
              </a:ext>
            </a:extLst>
          </p:cNvPr>
          <p:cNvCxnSpPr>
            <a:cxnSpLocks/>
          </p:cNvCxnSpPr>
          <p:nvPr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CF76A519-6102-282F-930B-2D55C7FFA4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0915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E64896-5537-85B7-66EC-F1397E4D5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2400" b="1"/>
              <a:t>2024 HVA - APRENDIZAJES</a:t>
            </a:r>
          </a:p>
        </p:txBody>
      </p:sp>
      <p:sp>
        <p:nvSpPr>
          <p:cNvPr id="36" name="Marcador de pie de página 35">
            <a:extLst>
              <a:ext uri="{FF2B5EF4-FFF2-40B4-BE49-F238E27FC236}">
                <a16:creationId xmlns:a16="http://schemas.microsoft.com/office/drawing/2014/main" id="{62C4CD53-6F3A-9143-DF88-F2752B3B25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7" name="Marcador de número de diapositiva 36">
            <a:extLst>
              <a:ext uri="{FF2B5EF4-FFF2-40B4-BE49-F238E27FC236}">
                <a16:creationId xmlns:a16="http://schemas.microsoft.com/office/drawing/2014/main" id="{D2DA15F4-7437-8C79-75A9-E7D596E87D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11</a:t>
            </a:fld>
            <a:endParaRPr lang="es-MX"/>
          </a:p>
        </p:txBody>
      </p:sp>
      <p:sp>
        <p:nvSpPr>
          <p:cNvPr id="4" name="Rectangle 13">
            <a:extLst>
              <a:ext uri="{FF2B5EF4-FFF2-40B4-BE49-F238E27FC236}">
                <a16:creationId xmlns:a16="http://schemas.microsoft.com/office/drawing/2014/main" id="{C0BDFF83-4D1B-67C2-499C-B106DB32E11D}"/>
              </a:ext>
            </a:extLst>
          </p:cNvPr>
          <p:cNvSpPr/>
          <p:nvPr/>
        </p:nvSpPr>
        <p:spPr>
          <a:xfrm>
            <a:off x="1272331" y="1991556"/>
            <a:ext cx="1858268" cy="69760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bIns="25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HVA 1</a:t>
            </a:r>
          </a:p>
        </p:txBody>
      </p:sp>
      <p:sp>
        <p:nvSpPr>
          <p:cNvPr id="5" name="Rectangle 16">
            <a:extLst>
              <a:ext uri="{FF2B5EF4-FFF2-40B4-BE49-F238E27FC236}">
                <a16:creationId xmlns:a16="http://schemas.microsoft.com/office/drawing/2014/main" id="{2E70794A-D27E-DD9F-5058-8CA1A1B0E65A}"/>
              </a:ext>
            </a:extLst>
          </p:cNvPr>
          <p:cNvSpPr/>
          <p:nvPr/>
        </p:nvSpPr>
        <p:spPr>
          <a:xfrm>
            <a:off x="1272331" y="2858258"/>
            <a:ext cx="1858268" cy="69760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bIns="25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HVA 2</a:t>
            </a:r>
          </a:p>
        </p:txBody>
      </p:sp>
      <p:sp>
        <p:nvSpPr>
          <p:cNvPr id="6" name="Rectangle 15">
            <a:extLst>
              <a:ext uri="{FF2B5EF4-FFF2-40B4-BE49-F238E27FC236}">
                <a16:creationId xmlns:a16="http://schemas.microsoft.com/office/drawing/2014/main" id="{AF8A033E-8F62-74A0-CF60-09C23831E268}"/>
              </a:ext>
            </a:extLst>
          </p:cNvPr>
          <p:cNvSpPr/>
          <p:nvPr/>
        </p:nvSpPr>
        <p:spPr>
          <a:xfrm>
            <a:off x="1272330" y="3747391"/>
            <a:ext cx="1858268" cy="69760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bIns="25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HVA 3</a:t>
            </a:r>
          </a:p>
        </p:txBody>
      </p:sp>
      <p:sp>
        <p:nvSpPr>
          <p:cNvPr id="7" name="Rectangle 15">
            <a:extLst>
              <a:ext uri="{FF2B5EF4-FFF2-40B4-BE49-F238E27FC236}">
                <a16:creationId xmlns:a16="http://schemas.microsoft.com/office/drawing/2014/main" id="{2796CAF4-1832-8F2C-54EB-560110B243C3}"/>
              </a:ext>
            </a:extLst>
          </p:cNvPr>
          <p:cNvSpPr/>
          <p:nvPr/>
        </p:nvSpPr>
        <p:spPr>
          <a:xfrm>
            <a:off x="1258970" y="4644037"/>
            <a:ext cx="1858268" cy="69760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bIns="25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HVA 4</a:t>
            </a:r>
          </a:p>
        </p:txBody>
      </p:sp>
      <p:sp>
        <p:nvSpPr>
          <p:cNvPr id="8" name="Oval 6">
            <a:extLst>
              <a:ext uri="{FF2B5EF4-FFF2-40B4-BE49-F238E27FC236}">
                <a16:creationId xmlns:a16="http://schemas.microsoft.com/office/drawing/2014/main" id="{1EE6CD7A-F896-CD9F-F8E3-72A3E08B3AEA}"/>
              </a:ext>
            </a:extLst>
          </p:cNvPr>
          <p:cNvSpPr/>
          <p:nvPr/>
        </p:nvSpPr>
        <p:spPr>
          <a:xfrm>
            <a:off x="789377" y="1900591"/>
            <a:ext cx="826169" cy="826169"/>
          </a:xfrm>
          <a:prstGeom prst="ellipse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8159DA62-BB18-D89B-9E71-4C61C5F863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45" y="2080755"/>
            <a:ext cx="467999" cy="468000"/>
          </a:xfrm>
          <a:prstGeom prst="rect">
            <a:avLst/>
          </a:prstGeom>
          <a:solidFill>
            <a:srgbClr val="EDE9E9"/>
          </a:solidFill>
        </p:spPr>
      </p:pic>
      <p:sp>
        <p:nvSpPr>
          <p:cNvPr id="10" name="Oval 128">
            <a:extLst>
              <a:ext uri="{FF2B5EF4-FFF2-40B4-BE49-F238E27FC236}">
                <a16:creationId xmlns:a16="http://schemas.microsoft.com/office/drawing/2014/main" id="{6D3E3579-3623-913E-720D-F00C4283E413}"/>
              </a:ext>
            </a:extLst>
          </p:cNvPr>
          <p:cNvSpPr/>
          <p:nvPr/>
        </p:nvSpPr>
        <p:spPr>
          <a:xfrm>
            <a:off x="785262" y="2794365"/>
            <a:ext cx="826169" cy="826169"/>
          </a:xfrm>
          <a:prstGeom prst="ellipse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" name="Oval 129">
            <a:extLst>
              <a:ext uri="{FF2B5EF4-FFF2-40B4-BE49-F238E27FC236}">
                <a16:creationId xmlns:a16="http://schemas.microsoft.com/office/drawing/2014/main" id="{2188114E-496D-EBBE-9AF4-05656CF351FC}"/>
              </a:ext>
            </a:extLst>
          </p:cNvPr>
          <p:cNvSpPr/>
          <p:nvPr/>
        </p:nvSpPr>
        <p:spPr>
          <a:xfrm>
            <a:off x="785262" y="3675366"/>
            <a:ext cx="826169" cy="826169"/>
          </a:xfrm>
          <a:prstGeom prst="ellipse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Oval 130">
            <a:extLst>
              <a:ext uri="{FF2B5EF4-FFF2-40B4-BE49-F238E27FC236}">
                <a16:creationId xmlns:a16="http://schemas.microsoft.com/office/drawing/2014/main" id="{BEA13D62-DE54-1AE6-266D-B9EC7B6C481F}"/>
              </a:ext>
            </a:extLst>
          </p:cNvPr>
          <p:cNvSpPr/>
          <p:nvPr/>
        </p:nvSpPr>
        <p:spPr>
          <a:xfrm>
            <a:off x="785261" y="4579754"/>
            <a:ext cx="826169" cy="826169"/>
          </a:xfrm>
          <a:prstGeom prst="ellipse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3" name="Picture 3">
            <a:extLst>
              <a:ext uri="{FF2B5EF4-FFF2-40B4-BE49-F238E27FC236}">
                <a16:creationId xmlns:a16="http://schemas.microsoft.com/office/drawing/2014/main" id="{E23F6FE0-6732-D059-AB73-9753A9B437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211" y="2979444"/>
            <a:ext cx="430855" cy="430856"/>
          </a:xfrm>
          <a:prstGeom prst="rect">
            <a:avLst/>
          </a:prstGeom>
          <a:solidFill>
            <a:srgbClr val="EDE9E9"/>
          </a:solidFill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id="{43039E9A-7028-9A17-3CE8-1F8663C941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45" y="3848836"/>
            <a:ext cx="458449" cy="468000"/>
          </a:xfrm>
          <a:prstGeom prst="rect">
            <a:avLst/>
          </a:prstGeom>
          <a:solidFill>
            <a:srgbClr val="EDE9E9"/>
          </a:solidFill>
        </p:spPr>
      </p:pic>
      <p:pic>
        <p:nvPicPr>
          <p:cNvPr id="15" name="Picture 5">
            <a:extLst>
              <a:ext uri="{FF2B5EF4-FFF2-40B4-BE49-F238E27FC236}">
                <a16:creationId xmlns:a16="http://schemas.microsoft.com/office/drawing/2014/main" id="{D568618B-A90E-F432-F55C-CF2142B5E0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582" y="4762527"/>
            <a:ext cx="476356" cy="468000"/>
          </a:xfrm>
          <a:prstGeom prst="rect">
            <a:avLst/>
          </a:prstGeom>
          <a:solidFill>
            <a:srgbClr val="EDE9E9"/>
          </a:solidFill>
        </p:spPr>
      </p:pic>
      <p:sp>
        <p:nvSpPr>
          <p:cNvPr id="16" name="TextBox 131">
            <a:extLst>
              <a:ext uri="{FF2B5EF4-FFF2-40B4-BE49-F238E27FC236}">
                <a16:creationId xmlns:a16="http://schemas.microsoft.com/office/drawing/2014/main" id="{8D12D5EE-0784-1040-6E97-E53B26BC5F9B}"/>
              </a:ext>
            </a:extLst>
          </p:cNvPr>
          <p:cNvSpPr txBox="1"/>
          <p:nvPr/>
        </p:nvSpPr>
        <p:spPr>
          <a:xfrm>
            <a:off x="1279526" y="3321083"/>
            <a:ext cx="1851072" cy="301119"/>
          </a:xfrm>
          <a:prstGeom prst="rect">
            <a:avLst/>
          </a:prstGeom>
          <a:solidFill>
            <a:srgbClr val="EDE9E9"/>
          </a:solidFill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Definition</a:t>
            </a:r>
          </a:p>
        </p:txBody>
      </p:sp>
      <p:sp>
        <p:nvSpPr>
          <p:cNvPr id="17" name="TextBox 132">
            <a:extLst>
              <a:ext uri="{FF2B5EF4-FFF2-40B4-BE49-F238E27FC236}">
                <a16:creationId xmlns:a16="http://schemas.microsoft.com/office/drawing/2014/main" id="{436C5E69-36A1-D21D-F97B-7B534642D7F0}"/>
              </a:ext>
            </a:extLst>
          </p:cNvPr>
          <p:cNvSpPr txBox="1"/>
          <p:nvPr/>
        </p:nvSpPr>
        <p:spPr>
          <a:xfrm>
            <a:off x="1279526" y="4213284"/>
            <a:ext cx="1851072" cy="303372"/>
          </a:xfrm>
          <a:prstGeom prst="rect">
            <a:avLst/>
          </a:prstGeom>
          <a:solidFill>
            <a:srgbClr val="EDE9E9"/>
          </a:solidFill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Definition</a:t>
            </a:r>
          </a:p>
        </p:txBody>
      </p:sp>
      <p:sp>
        <p:nvSpPr>
          <p:cNvPr id="18" name="TextBox 133">
            <a:extLst>
              <a:ext uri="{FF2B5EF4-FFF2-40B4-BE49-F238E27FC236}">
                <a16:creationId xmlns:a16="http://schemas.microsoft.com/office/drawing/2014/main" id="{97995B34-7DC7-F83C-052D-728885AFDDB4}"/>
              </a:ext>
            </a:extLst>
          </p:cNvPr>
          <p:cNvSpPr txBox="1"/>
          <p:nvPr/>
        </p:nvSpPr>
        <p:spPr>
          <a:xfrm>
            <a:off x="1279526" y="2457449"/>
            <a:ext cx="1851072" cy="303372"/>
          </a:xfrm>
          <a:prstGeom prst="rect">
            <a:avLst/>
          </a:prstGeom>
          <a:solidFill>
            <a:srgbClr val="EDE9E9"/>
          </a:solidFill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Definition</a:t>
            </a:r>
          </a:p>
        </p:txBody>
      </p:sp>
      <p:sp>
        <p:nvSpPr>
          <p:cNvPr id="19" name="TextBox 134">
            <a:extLst>
              <a:ext uri="{FF2B5EF4-FFF2-40B4-BE49-F238E27FC236}">
                <a16:creationId xmlns:a16="http://schemas.microsoft.com/office/drawing/2014/main" id="{EACC5937-BD76-C833-A293-66DBB4817E41}"/>
              </a:ext>
            </a:extLst>
          </p:cNvPr>
          <p:cNvSpPr txBox="1"/>
          <p:nvPr/>
        </p:nvSpPr>
        <p:spPr>
          <a:xfrm>
            <a:off x="1279526" y="5109928"/>
            <a:ext cx="1851072" cy="303372"/>
          </a:xfrm>
          <a:prstGeom prst="rect">
            <a:avLst/>
          </a:prstGeom>
          <a:solidFill>
            <a:srgbClr val="EDE9E9"/>
          </a:solidFill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Definition</a:t>
            </a:r>
          </a:p>
        </p:txBody>
      </p:sp>
      <p:sp>
        <p:nvSpPr>
          <p:cNvPr id="21" name="TextBox 131">
            <a:extLst>
              <a:ext uri="{FF2B5EF4-FFF2-40B4-BE49-F238E27FC236}">
                <a16:creationId xmlns:a16="http://schemas.microsoft.com/office/drawing/2014/main" id="{C8635BC5-DA8A-54C8-BFAA-73FC655A49A3}"/>
              </a:ext>
            </a:extLst>
          </p:cNvPr>
          <p:cNvSpPr txBox="1"/>
          <p:nvPr/>
        </p:nvSpPr>
        <p:spPr>
          <a:xfrm>
            <a:off x="3308279" y="2858572"/>
            <a:ext cx="4666414" cy="756229"/>
          </a:xfrm>
          <a:prstGeom prst="rect">
            <a:avLst/>
          </a:prstGeom>
          <a:solidFill>
            <a:srgbClr val="EDE9E9"/>
          </a:solidFill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Learning / Opportunities</a:t>
            </a:r>
          </a:p>
        </p:txBody>
      </p:sp>
      <p:sp>
        <p:nvSpPr>
          <p:cNvPr id="22" name="TextBox 132">
            <a:extLst>
              <a:ext uri="{FF2B5EF4-FFF2-40B4-BE49-F238E27FC236}">
                <a16:creationId xmlns:a16="http://schemas.microsoft.com/office/drawing/2014/main" id="{7720EAD5-08CA-31F9-A28E-D8BF65D6B2A9}"/>
              </a:ext>
            </a:extLst>
          </p:cNvPr>
          <p:cNvSpPr txBox="1"/>
          <p:nvPr/>
        </p:nvSpPr>
        <p:spPr>
          <a:xfrm>
            <a:off x="3308279" y="3747391"/>
            <a:ext cx="4666414" cy="761888"/>
          </a:xfrm>
          <a:prstGeom prst="rect">
            <a:avLst/>
          </a:prstGeom>
          <a:solidFill>
            <a:srgbClr val="EDE9E9"/>
          </a:solidFill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Learning / Opportunities</a:t>
            </a:r>
          </a:p>
        </p:txBody>
      </p:sp>
      <p:sp>
        <p:nvSpPr>
          <p:cNvPr id="23" name="TextBox 133">
            <a:extLst>
              <a:ext uri="{FF2B5EF4-FFF2-40B4-BE49-F238E27FC236}">
                <a16:creationId xmlns:a16="http://schemas.microsoft.com/office/drawing/2014/main" id="{258B9AB7-E2B3-5C82-3EA0-2F128C540630}"/>
              </a:ext>
            </a:extLst>
          </p:cNvPr>
          <p:cNvSpPr txBox="1"/>
          <p:nvPr/>
        </p:nvSpPr>
        <p:spPr>
          <a:xfrm>
            <a:off x="3308279" y="1991556"/>
            <a:ext cx="4666414" cy="761888"/>
          </a:xfrm>
          <a:prstGeom prst="rect">
            <a:avLst/>
          </a:prstGeom>
          <a:solidFill>
            <a:srgbClr val="EDE9E9"/>
          </a:solidFill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Learning / Opportunities</a:t>
            </a:r>
          </a:p>
        </p:txBody>
      </p:sp>
      <p:sp>
        <p:nvSpPr>
          <p:cNvPr id="24" name="TextBox 134">
            <a:extLst>
              <a:ext uri="{FF2B5EF4-FFF2-40B4-BE49-F238E27FC236}">
                <a16:creationId xmlns:a16="http://schemas.microsoft.com/office/drawing/2014/main" id="{5B6A2351-233C-8D58-E666-EAE017BAE92B}"/>
              </a:ext>
            </a:extLst>
          </p:cNvPr>
          <p:cNvSpPr txBox="1"/>
          <p:nvPr/>
        </p:nvSpPr>
        <p:spPr>
          <a:xfrm>
            <a:off x="3308279" y="4644035"/>
            <a:ext cx="4666414" cy="761888"/>
          </a:xfrm>
          <a:prstGeom prst="rect">
            <a:avLst/>
          </a:prstGeom>
          <a:solidFill>
            <a:srgbClr val="EDE9E9"/>
          </a:solidFill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Learning / Opportunities</a:t>
            </a:r>
          </a:p>
        </p:txBody>
      </p:sp>
      <p:sp>
        <p:nvSpPr>
          <p:cNvPr id="25" name="CuadroTexto 29">
            <a:extLst>
              <a:ext uri="{FF2B5EF4-FFF2-40B4-BE49-F238E27FC236}">
                <a16:creationId xmlns:a16="http://schemas.microsoft.com/office/drawing/2014/main" id="{3520E5B3-C075-3D85-7924-924664C0D600}"/>
              </a:ext>
            </a:extLst>
          </p:cNvPr>
          <p:cNvSpPr txBox="1"/>
          <p:nvPr/>
        </p:nvSpPr>
        <p:spPr>
          <a:xfrm>
            <a:off x="3303893" y="1368425"/>
            <a:ext cx="46664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6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PRENDIZAJES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DED96C5F-52A7-2CCB-559D-4C9B228A3151}"/>
              </a:ext>
            </a:extLst>
          </p:cNvPr>
          <p:cNvSpPr txBox="1"/>
          <p:nvPr/>
        </p:nvSpPr>
        <p:spPr>
          <a:xfrm>
            <a:off x="7780407" y="1368425"/>
            <a:ext cx="19231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6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ONTINUIDAD </a:t>
            </a:r>
          </a:p>
        </p:txBody>
      </p:sp>
      <p:pic>
        <p:nvPicPr>
          <p:cNvPr id="27" name="Gráfico 26" descr="Marca de insignia1 con relleno sólido">
            <a:extLst>
              <a:ext uri="{FF2B5EF4-FFF2-40B4-BE49-F238E27FC236}">
                <a16:creationId xmlns:a16="http://schemas.microsoft.com/office/drawing/2014/main" id="{B537F866-C099-A528-4160-A31E36E604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93188" y="1980987"/>
            <a:ext cx="697605" cy="697605"/>
          </a:xfrm>
          <a:prstGeom prst="rect">
            <a:avLst/>
          </a:prstGeom>
        </p:spPr>
      </p:pic>
      <p:pic>
        <p:nvPicPr>
          <p:cNvPr id="28" name="Gráfico 27" descr="Insignia de cruz con relleno sólido">
            <a:extLst>
              <a:ext uri="{FF2B5EF4-FFF2-40B4-BE49-F238E27FC236}">
                <a16:creationId xmlns:a16="http://schemas.microsoft.com/office/drawing/2014/main" id="{736CF513-A140-691F-20A8-9A0B0170C0A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393188" y="2845167"/>
            <a:ext cx="697605" cy="697605"/>
          </a:xfrm>
          <a:prstGeom prst="rect">
            <a:avLst/>
          </a:prstGeom>
        </p:spPr>
      </p:pic>
      <p:pic>
        <p:nvPicPr>
          <p:cNvPr id="29" name="Gráfico 28" descr="Marca de insignia1 con relleno sólido">
            <a:extLst>
              <a:ext uri="{FF2B5EF4-FFF2-40B4-BE49-F238E27FC236}">
                <a16:creationId xmlns:a16="http://schemas.microsoft.com/office/drawing/2014/main" id="{BF1E4218-8D0B-BD7E-5D9C-1C8438ECBCC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93188" y="4644034"/>
            <a:ext cx="697605" cy="697605"/>
          </a:xfrm>
          <a:prstGeom prst="rect">
            <a:avLst/>
          </a:prstGeom>
        </p:spPr>
      </p:pic>
      <p:pic>
        <p:nvPicPr>
          <p:cNvPr id="30" name="Gráfico 29" descr="Marca de insignia1 con relleno sólido">
            <a:extLst>
              <a:ext uri="{FF2B5EF4-FFF2-40B4-BE49-F238E27FC236}">
                <a16:creationId xmlns:a16="http://schemas.microsoft.com/office/drawing/2014/main" id="{49512FF6-FE97-7B39-2CE5-FF7EAFDBFC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93188" y="3747391"/>
            <a:ext cx="697605" cy="697605"/>
          </a:xfrm>
          <a:prstGeom prst="rect">
            <a:avLst/>
          </a:prstGeom>
        </p:spPr>
      </p:pic>
      <p:sp>
        <p:nvSpPr>
          <p:cNvPr id="31" name="TextBox 131">
            <a:extLst>
              <a:ext uri="{FF2B5EF4-FFF2-40B4-BE49-F238E27FC236}">
                <a16:creationId xmlns:a16="http://schemas.microsoft.com/office/drawing/2014/main" id="{2B856AA6-DF4E-FF93-8C86-F7884ECB012E}"/>
              </a:ext>
            </a:extLst>
          </p:cNvPr>
          <p:cNvSpPr txBox="1"/>
          <p:nvPr/>
        </p:nvSpPr>
        <p:spPr>
          <a:xfrm>
            <a:off x="9509288" y="2858572"/>
            <a:ext cx="2232160" cy="756229"/>
          </a:xfrm>
          <a:prstGeom prst="rect">
            <a:avLst/>
          </a:prstGeom>
          <a:solidFill>
            <a:srgbClr val="EDE9E9"/>
          </a:solidFill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What impact or changes it has in new JTBD</a:t>
            </a:r>
          </a:p>
        </p:txBody>
      </p:sp>
      <p:sp>
        <p:nvSpPr>
          <p:cNvPr id="32" name="TextBox 132">
            <a:extLst>
              <a:ext uri="{FF2B5EF4-FFF2-40B4-BE49-F238E27FC236}">
                <a16:creationId xmlns:a16="http://schemas.microsoft.com/office/drawing/2014/main" id="{04B830B6-CE13-BD8D-B3ED-4681C529EAC5}"/>
              </a:ext>
            </a:extLst>
          </p:cNvPr>
          <p:cNvSpPr txBox="1"/>
          <p:nvPr/>
        </p:nvSpPr>
        <p:spPr>
          <a:xfrm>
            <a:off x="9509288" y="3747391"/>
            <a:ext cx="2232160" cy="761888"/>
          </a:xfrm>
          <a:prstGeom prst="rect">
            <a:avLst/>
          </a:prstGeom>
          <a:solidFill>
            <a:srgbClr val="EDE9E9"/>
          </a:solidFill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What impact or changes it has in new JTBD</a:t>
            </a:r>
          </a:p>
        </p:txBody>
      </p:sp>
      <p:sp>
        <p:nvSpPr>
          <p:cNvPr id="33" name="TextBox 133">
            <a:extLst>
              <a:ext uri="{FF2B5EF4-FFF2-40B4-BE49-F238E27FC236}">
                <a16:creationId xmlns:a16="http://schemas.microsoft.com/office/drawing/2014/main" id="{23D0431E-0D2C-3E6B-780E-A9E47BC8B1CC}"/>
              </a:ext>
            </a:extLst>
          </p:cNvPr>
          <p:cNvSpPr txBox="1"/>
          <p:nvPr/>
        </p:nvSpPr>
        <p:spPr>
          <a:xfrm>
            <a:off x="9509288" y="1991556"/>
            <a:ext cx="2232160" cy="761888"/>
          </a:xfrm>
          <a:prstGeom prst="rect">
            <a:avLst/>
          </a:prstGeom>
          <a:solidFill>
            <a:srgbClr val="EDE9E9"/>
          </a:solidFill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What impact or changes it has in new JTBD</a:t>
            </a:r>
          </a:p>
        </p:txBody>
      </p:sp>
      <p:sp>
        <p:nvSpPr>
          <p:cNvPr id="34" name="TextBox 134">
            <a:extLst>
              <a:ext uri="{FF2B5EF4-FFF2-40B4-BE49-F238E27FC236}">
                <a16:creationId xmlns:a16="http://schemas.microsoft.com/office/drawing/2014/main" id="{01EA49EF-B569-4637-3507-6E08DCBBB0C6}"/>
              </a:ext>
            </a:extLst>
          </p:cNvPr>
          <p:cNvSpPr txBox="1"/>
          <p:nvPr/>
        </p:nvSpPr>
        <p:spPr>
          <a:xfrm>
            <a:off x="9509288" y="4644035"/>
            <a:ext cx="2232160" cy="761888"/>
          </a:xfrm>
          <a:prstGeom prst="rect">
            <a:avLst/>
          </a:prstGeom>
          <a:solidFill>
            <a:srgbClr val="EDE9E9"/>
          </a:solidFill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What impact or changes it has in new JTBD</a:t>
            </a:r>
          </a:p>
        </p:txBody>
      </p:sp>
      <p:sp>
        <p:nvSpPr>
          <p:cNvPr id="35" name="CuadroTexto 29">
            <a:extLst>
              <a:ext uri="{FF2B5EF4-FFF2-40B4-BE49-F238E27FC236}">
                <a16:creationId xmlns:a16="http://schemas.microsoft.com/office/drawing/2014/main" id="{77308A46-F697-E87B-8EDF-03EA6AFF5300}"/>
              </a:ext>
            </a:extLst>
          </p:cNvPr>
          <p:cNvSpPr txBox="1"/>
          <p:nvPr/>
        </p:nvSpPr>
        <p:spPr>
          <a:xfrm>
            <a:off x="9504902" y="1368425"/>
            <a:ext cx="2232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657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025 RETO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2" name="Round Same-side Corner of Rectangle 7">
            <a:extLst>
              <a:ext uri="{FF2B5EF4-FFF2-40B4-BE49-F238E27FC236}">
                <a16:creationId xmlns:a16="http://schemas.microsoft.com/office/drawing/2014/main" id="{E9DC20D4-44BE-E8E0-7641-EB3EA653ABF5}"/>
              </a:ext>
            </a:extLst>
          </p:cNvPr>
          <p:cNvSpPr/>
          <p:nvPr/>
        </p:nvSpPr>
        <p:spPr>
          <a:xfrm rot="10800000">
            <a:off x="10154862" y="-67235"/>
            <a:ext cx="1681453" cy="574871"/>
          </a:xfrm>
          <a:prstGeom prst="round2SameRect">
            <a:avLst>
              <a:gd name="adj1" fmla="val 24269"/>
              <a:gd name="adj2" fmla="val 0"/>
            </a:avLst>
          </a:prstGeom>
          <a:solidFill>
            <a:schemeClr val="bg2"/>
          </a:solidFill>
          <a:ln w="12700">
            <a:solidFill>
              <a:schemeClr val="tx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43" name="Group 20">
            <a:extLst>
              <a:ext uri="{FF2B5EF4-FFF2-40B4-BE49-F238E27FC236}">
                <a16:creationId xmlns:a16="http://schemas.microsoft.com/office/drawing/2014/main" id="{CB676EFF-65BD-5D9D-4845-8C9A5612BAA7}"/>
              </a:ext>
            </a:extLst>
          </p:cNvPr>
          <p:cNvGrpSpPr/>
          <p:nvPr/>
        </p:nvGrpSpPr>
        <p:grpSpPr>
          <a:xfrm>
            <a:off x="10366304" y="124456"/>
            <a:ext cx="1401292" cy="307777"/>
            <a:chOff x="1940295" y="2086507"/>
            <a:chExt cx="2955261" cy="649088"/>
          </a:xfrm>
        </p:grpSpPr>
        <p:sp>
          <p:nvSpPr>
            <p:cNvPr id="44" name="Oval 33">
              <a:extLst>
                <a:ext uri="{FF2B5EF4-FFF2-40B4-BE49-F238E27FC236}">
                  <a16:creationId xmlns:a16="http://schemas.microsoft.com/office/drawing/2014/main" id="{077CB649-E1A5-4FEA-B532-FC9E612FE288}"/>
                </a:ext>
              </a:extLst>
            </p:cNvPr>
            <p:cNvSpPr/>
            <p:nvPr/>
          </p:nvSpPr>
          <p:spPr>
            <a:xfrm>
              <a:off x="1940295" y="2112019"/>
              <a:ext cx="598068" cy="5980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45" name="TextBox 22">
              <a:extLst>
                <a:ext uri="{FF2B5EF4-FFF2-40B4-BE49-F238E27FC236}">
                  <a16:creationId xmlns:a16="http://schemas.microsoft.com/office/drawing/2014/main" id="{1CCEF2FB-230E-0FFC-CD5D-5C1B4CBD5148}"/>
                </a:ext>
              </a:extLst>
            </p:cNvPr>
            <p:cNvSpPr txBox="1"/>
            <p:nvPr/>
          </p:nvSpPr>
          <p:spPr>
            <a:xfrm>
              <a:off x="2518275" y="2086507"/>
              <a:ext cx="2377281" cy="64908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BCFF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Audiencia</a:t>
              </a:r>
            </a:p>
          </p:txBody>
        </p:sp>
      </p:grpSp>
      <p:sp>
        <p:nvSpPr>
          <p:cNvPr id="46" name="Google Shape;1138;p39">
            <a:extLst>
              <a:ext uri="{FF2B5EF4-FFF2-40B4-BE49-F238E27FC236}">
                <a16:creationId xmlns:a16="http://schemas.microsoft.com/office/drawing/2014/main" id="{AB1CEBD0-BE61-0403-4327-6F850643D433}"/>
              </a:ext>
            </a:extLst>
          </p:cNvPr>
          <p:cNvSpPr>
            <a:spLocks noChangeAspect="1"/>
          </p:cNvSpPr>
          <p:nvPr/>
        </p:nvSpPr>
        <p:spPr>
          <a:xfrm>
            <a:off x="10410875" y="209365"/>
            <a:ext cx="184918" cy="12525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55" h="21600" extrusionOk="0">
                <a:moveTo>
                  <a:pt x="10775" y="0"/>
                </a:moveTo>
                <a:cubicBezTo>
                  <a:pt x="8891" y="0"/>
                  <a:pt x="7365" y="2267"/>
                  <a:pt x="7365" y="5054"/>
                </a:cubicBezTo>
                <a:cubicBezTo>
                  <a:pt x="7365" y="7841"/>
                  <a:pt x="8891" y="10098"/>
                  <a:pt x="10775" y="10098"/>
                </a:cubicBezTo>
                <a:cubicBezTo>
                  <a:pt x="12659" y="10098"/>
                  <a:pt x="14185" y="7841"/>
                  <a:pt x="14185" y="5054"/>
                </a:cubicBezTo>
                <a:cubicBezTo>
                  <a:pt x="14185" y="2267"/>
                  <a:pt x="12659" y="0"/>
                  <a:pt x="10775" y="0"/>
                </a:cubicBezTo>
                <a:close/>
                <a:moveTo>
                  <a:pt x="10775" y="920"/>
                </a:moveTo>
                <a:cubicBezTo>
                  <a:pt x="12316" y="920"/>
                  <a:pt x="13569" y="2774"/>
                  <a:pt x="13569" y="5054"/>
                </a:cubicBezTo>
                <a:cubicBezTo>
                  <a:pt x="13569" y="7334"/>
                  <a:pt x="12316" y="9179"/>
                  <a:pt x="10775" y="9179"/>
                </a:cubicBezTo>
                <a:cubicBezTo>
                  <a:pt x="9233" y="9179"/>
                  <a:pt x="7987" y="7334"/>
                  <a:pt x="7987" y="5054"/>
                </a:cubicBezTo>
                <a:cubicBezTo>
                  <a:pt x="7987" y="2774"/>
                  <a:pt x="9233" y="920"/>
                  <a:pt x="10775" y="920"/>
                </a:cubicBezTo>
                <a:close/>
                <a:moveTo>
                  <a:pt x="4083" y="3907"/>
                </a:moveTo>
                <a:cubicBezTo>
                  <a:pt x="2817" y="3905"/>
                  <a:pt x="1790" y="5418"/>
                  <a:pt x="1789" y="7292"/>
                </a:cubicBezTo>
                <a:cubicBezTo>
                  <a:pt x="1788" y="9165"/>
                  <a:pt x="2810" y="10685"/>
                  <a:pt x="4077" y="10686"/>
                </a:cubicBezTo>
                <a:cubicBezTo>
                  <a:pt x="5344" y="10687"/>
                  <a:pt x="6371" y="9175"/>
                  <a:pt x="6372" y="7301"/>
                </a:cubicBezTo>
                <a:cubicBezTo>
                  <a:pt x="6372" y="7300"/>
                  <a:pt x="6372" y="7293"/>
                  <a:pt x="6372" y="7292"/>
                </a:cubicBezTo>
                <a:cubicBezTo>
                  <a:pt x="6370" y="5420"/>
                  <a:pt x="5348" y="3909"/>
                  <a:pt x="4083" y="3907"/>
                </a:cubicBezTo>
                <a:close/>
                <a:moveTo>
                  <a:pt x="17479" y="3907"/>
                </a:moveTo>
                <a:cubicBezTo>
                  <a:pt x="16212" y="3907"/>
                  <a:pt x="15184" y="5418"/>
                  <a:pt x="15184" y="7292"/>
                </a:cubicBezTo>
                <a:cubicBezTo>
                  <a:pt x="15184" y="9165"/>
                  <a:pt x="16212" y="10686"/>
                  <a:pt x="17479" y="10686"/>
                </a:cubicBezTo>
                <a:cubicBezTo>
                  <a:pt x="18746" y="10686"/>
                  <a:pt x="19774" y="9165"/>
                  <a:pt x="19774" y="7292"/>
                </a:cubicBezTo>
                <a:cubicBezTo>
                  <a:pt x="19772" y="5417"/>
                  <a:pt x="18745" y="3908"/>
                  <a:pt x="17479" y="3907"/>
                </a:cubicBezTo>
                <a:close/>
                <a:moveTo>
                  <a:pt x="4077" y="4817"/>
                </a:moveTo>
                <a:cubicBezTo>
                  <a:pt x="5001" y="4816"/>
                  <a:pt x="5749" y="5925"/>
                  <a:pt x="5750" y="7292"/>
                </a:cubicBezTo>
                <a:cubicBezTo>
                  <a:pt x="5749" y="8659"/>
                  <a:pt x="5006" y="9764"/>
                  <a:pt x="4083" y="9766"/>
                </a:cubicBezTo>
                <a:cubicBezTo>
                  <a:pt x="3159" y="9768"/>
                  <a:pt x="2405" y="8659"/>
                  <a:pt x="2404" y="7292"/>
                </a:cubicBezTo>
                <a:cubicBezTo>
                  <a:pt x="2403" y="5925"/>
                  <a:pt x="3153" y="4818"/>
                  <a:pt x="4077" y="4817"/>
                </a:cubicBezTo>
                <a:close/>
                <a:moveTo>
                  <a:pt x="17479" y="4817"/>
                </a:moveTo>
                <a:cubicBezTo>
                  <a:pt x="18403" y="4817"/>
                  <a:pt x="19152" y="5925"/>
                  <a:pt x="19152" y="7292"/>
                </a:cubicBezTo>
                <a:cubicBezTo>
                  <a:pt x="19151" y="8658"/>
                  <a:pt x="18403" y="9765"/>
                  <a:pt x="17479" y="9766"/>
                </a:cubicBezTo>
                <a:cubicBezTo>
                  <a:pt x="16555" y="9766"/>
                  <a:pt x="15806" y="8659"/>
                  <a:pt x="15806" y="7292"/>
                </a:cubicBezTo>
                <a:cubicBezTo>
                  <a:pt x="15806" y="5925"/>
                  <a:pt x="16555" y="4817"/>
                  <a:pt x="17479" y="4817"/>
                </a:cubicBezTo>
                <a:close/>
                <a:moveTo>
                  <a:pt x="10775" y="11246"/>
                </a:moveTo>
                <a:cubicBezTo>
                  <a:pt x="9400" y="11246"/>
                  <a:pt x="8026" y="11950"/>
                  <a:pt x="6916" y="13360"/>
                </a:cubicBezTo>
                <a:cubicBezTo>
                  <a:pt x="6174" y="12202"/>
                  <a:pt x="5143" y="11536"/>
                  <a:pt x="4064" y="11521"/>
                </a:cubicBezTo>
                <a:cubicBezTo>
                  <a:pt x="2059" y="11521"/>
                  <a:pt x="280" y="13959"/>
                  <a:pt x="7" y="17068"/>
                </a:cubicBezTo>
                <a:cubicBezTo>
                  <a:pt x="-22" y="17394"/>
                  <a:pt x="47" y="17720"/>
                  <a:pt x="193" y="17968"/>
                </a:cubicBezTo>
                <a:cubicBezTo>
                  <a:pt x="336" y="18207"/>
                  <a:pt x="541" y="18346"/>
                  <a:pt x="757" y="18348"/>
                </a:cubicBezTo>
                <a:lnTo>
                  <a:pt x="4692" y="18348"/>
                </a:lnTo>
                <a:cubicBezTo>
                  <a:pt x="4593" y="18844"/>
                  <a:pt x="4519" y="19352"/>
                  <a:pt x="4474" y="19865"/>
                </a:cubicBezTo>
                <a:cubicBezTo>
                  <a:pt x="4435" y="20307"/>
                  <a:pt x="4527" y="20751"/>
                  <a:pt x="4724" y="21088"/>
                </a:cubicBezTo>
                <a:cubicBezTo>
                  <a:pt x="4917" y="21413"/>
                  <a:pt x="5195" y="21600"/>
                  <a:pt x="5487" y="21600"/>
                </a:cubicBezTo>
                <a:lnTo>
                  <a:pt x="16063" y="21600"/>
                </a:lnTo>
                <a:cubicBezTo>
                  <a:pt x="16355" y="21600"/>
                  <a:pt x="16633" y="21413"/>
                  <a:pt x="16825" y="21088"/>
                </a:cubicBezTo>
                <a:cubicBezTo>
                  <a:pt x="17023" y="20751"/>
                  <a:pt x="17114" y="20307"/>
                  <a:pt x="17075" y="19865"/>
                </a:cubicBezTo>
                <a:cubicBezTo>
                  <a:pt x="17030" y="19352"/>
                  <a:pt x="16957" y="18844"/>
                  <a:pt x="16857" y="18348"/>
                </a:cubicBezTo>
                <a:lnTo>
                  <a:pt x="20799" y="18348"/>
                </a:lnTo>
                <a:cubicBezTo>
                  <a:pt x="21015" y="18346"/>
                  <a:pt x="21220" y="18208"/>
                  <a:pt x="21363" y="17968"/>
                </a:cubicBezTo>
                <a:cubicBezTo>
                  <a:pt x="21509" y="17720"/>
                  <a:pt x="21578" y="17394"/>
                  <a:pt x="21549" y="17068"/>
                </a:cubicBezTo>
                <a:cubicBezTo>
                  <a:pt x="21276" y="13959"/>
                  <a:pt x="19490" y="11521"/>
                  <a:pt x="17485" y="11521"/>
                </a:cubicBezTo>
                <a:cubicBezTo>
                  <a:pt x="16407" y="11536"/>
                  <a:pt x="15376" y="12202"/>
                  <a:pt x="14633" y="13360"/>
                </a:cubicBezTo>
                <a:cubicBezTo>
                  <a:pt x="13523" y="11950"/>
                  <a:pt x="12149" y="11246"/>
                  <a:pt x="10775" y="11246"/>
                </a:cubicBezTo>
                <a:close/>
                <a:moveTo>
                  <a:pt x="10775" y="12165"/>
                </a:moveTo>
                <a:cubicBezTo>
                  <a:pt x="13578" y="12165"/>
                  <a:pt x="16075" y="15602"/>
                  <a:pt x="16460" y="19979"/>
                </a:cubicBezTo>
                <a:cubicBezTo>
                  <a:pt x="16475" y="20160"/>
                  <a:pt x="16439" y="20343"/>
                  <a:pt x="16357" y="20481"/>
                </a:cubicBezTo>
                <a:cubicBezTo>
                  <a:pt x="16283" y="20608"/>
                  <a:pt x="16176" y="20690"/>
                  <a:pt x="16063" y="20690"/>
                </a:cubicBezTo>
                <a:lnTo>
                  <a:pt x="5487" y="20690"/>
                </a:lnTo>
                <a:cubicBezTo>
                  <a:pt x="5373" y="20690"/>
                  <a:pt x="5267" y="20608"/>
                  <a:pt x="5192" y="20481"/>
                </a:cubicBezTo>
                <a:cubicBezTo>
                  <a:pt x="5111" y="20343"/>
                  <a:pt x="5074" y="20160"/>
                  <a:pt x="5090" y="19979"/>
                </a:cubicBezTo>
                <a:cubicBezTo>
                  <a:pt x="5474" y="15595"/>
                  <a:pt x="7971" y="12165"/>
                  <a:pt x="10775" y="12165"/>
                </a:cubicBezTo>
                <a:close/>
                <a:moveTo>
                  <a:pt x="4064" y="12440"/>
                </a:moveTo>
                <a:cubicBezTo>
                  <a:pt x="4968" y="12456"/>
                  <a:pt x="5831" y="13009"/>
                  <a:pt x="6455" y="13976"/>
                </a:cubicBezTo>
                <a:cubicBezTo>
                  <a:pt x="5784" y="14959"/>
                  <a:pt x="5255" y="16131"/>
                  <a:pt x="4904" y="17428"/>
                </a:cubicBezTo>
                <a:cubicBezTo>
                  <a:pt x="4904" y="17428"/>
                  <a:pt x="757" y="17428"/>
                  <a:pt x="757" y="17428"/>
                </a:cubicBezTo>
                <a:cubicBezTo>
                  <a:pt x="719" y="17428"/>
                  <a:pt x="678" y="17405"/>
                  <a:pt x="654" y="17362"/>
                </a:cubicBezTo>
                <a:cubicBezTo>
                  <a:pt x="625" y="17314"/>
                  <a:pt x="616" y="17255"/>
                  <a:pt x="622" y="17191"/>
                </a:cubicBezTo>
                <a:cubicBezTo>
                  <a:pt x="855" y="14528"/>
                  <a:pt x="2365" y="12440"/>
                  <a:pt x="4064" y="12440"/>
                </a:cubicBezTo>
                <a:close/>
                <a:moveTo>
                  <a:pt x="17485" y="12440"/>
                </a:moveTo>
                <a:cubicBezTo>
                  <a:pt x="19191" y="12440"/>
                  <a:pt x="20695" y="14518"/>
                  <a:pt x="20927" y="17181"/>
                </a:cubicBezTo>
                <a:cubicBezTo>
                  <a:pt x="20935" y="17244"/>
                  <a:pt x="20923" y="17313"/>
                  <a:pt x="20895" y="17362"/>
                </a:cubicBezTo>
                <a:cubicBezTo>
                  <a:pt x="20871" y="17405"/>
                  <a:pt x="20837" y="17428"/>
                  <a:pt x="20799" y="17428"/>
                </a:cubicBezTo>
                <a:lnTo>
                  <a:pt x="16646" y="17428"/>
                </a:lnTo>
                <a:cubicBezTo>
                  <a:pt x="16294" y="16131"/>
                  <a:pt x="15766" y="14959"/>
                  <a:pt x="15095" y="13976"/>
                </a:cubicBezTo>
                <a:cubicBezTo>
                  <a:pt x="15718" y="13009"/>
                  <a:pt x="16582" y="12456"/>
                  <a:pt x="17485" y="12440"/>
                </a:cubicBezTo>
                <a:close/>
              </a:path>
            </a:pathLst>
          </a:cu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4A3202DF-304C-EADC-C17E-9D77E6FA9916}"/>
              </a:ext>
            </a:extLst>
          </p:cNvPr>
          <p:cNvSpPr txBox="1"/>
          <p:nvPr/>
        </p:nvSpPr>
        <p:spPr>
          <a:xfrm>
            <a:off x="3085731" y="3318613"/>
            <a:ext cx="54057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GUATEMALA</a:t>
            </a:r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17216400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Placeholder 37" descr="A group of people standing around a table with a computer&#10;&#10;Description automatically generated with medium confidence">
            <a:extLst>
              <a:ext uri="{FF2B5EF4-FFF2-40B4-BE49-F238E27FC236}">
                <a16:creationId xmlns:a16="http://schemas.microsoft.com/office/drawing/2014/main" id="{80CEEE88-D5D7-7040-86DE-84F344ED57A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847" b="20847"/>
          <a:stretch/>
        </p:blipFill>
        <p:spPr/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CCCFB1AE-0646-964D-B946-F83227FBE6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2025 HVA Contribution to Growt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B7E5B5-D155-2243-A948-39AFEC208E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1D7550-0EB0-3A43-B3ED-278106F7B6C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FFC741F5-5B32-6B3E-898D-9C79F7BC537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0"/>
            <a:ext cx="12193588" cy="6858000"/>
          </a:xfrm>
        </p:spPr>
        <p:txBody>
          <a:bodyPr/>
          <a:lstStyle/>
          <a:p>
            <a:r>
              <a:rPr lang="es-MX"/>
              <a:t> 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BFB9E4B2-EDB9-70E8-7750-0BBA455030F8}"/>
              </a:ext>
            </a:extLst>
          </p:cNvPr>
          <p:cNvSpPr/>
          <p:nvPr/>
        </p:nvSpPr>
        <p:spPr>
          <a:xfrm>
            <a:off x="923960" y="1993250"/>
            <a:ext cx="2463665" cy="2401600"/>
          </a:xfrm>
          <a:prstGeom prst="rect">
            <a:avLst/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HVA 1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(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Definición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ligada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 a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producto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  <a:r>
              <a:rPr lang="en-GB" sz="1200">
                <a:solidFill>
                  <a:srgbClr val="011627"/>
                </a:solidFill>
              </a:rPr>
              <a:t> </a:t>
            </a:r>
            <a:r>
              <a:rPr lang="en-GB" sz="1200" err="1">
                <a:solidFill>
                  <a:srgbClr val="011627"/>
                </a:solidFill>
              </a:rPr>
              <a:t>Ejemplo</a:t>
            </a:r>
            <a:r>
              <a:rPr lang="en-GB" sz="1200">
                <a:solidFill>
                  <a:srgbClr val="011627"/>
                </a:solidFill>
              </a:rPr>
              <a:t>: mayor </a:t>
            </a:r>
            <a:r>
              <a:rPr lang="en-GB" sz="1200" err="1">
                <a:solidFill>
                  <a:srgbClr val="011627"/>
                </a:solidFill>
              </a:rPr>
              <a:t>consumidor</a:t>
            </a:r>
            <a:r>
              <a:rPr lang="en-GB" sz="1200">
                <a:solidFill>
                  <a:srgbClr val="011627"/>
                </a:solidFill>
              </a:rPr>
              <a:t> de la </a:t>
            </a:r>
            <a:r>
              <a:rPr lang="en-GB" sz="1200" err="1">
                <a:solidFill>
                  <a:srgbClr val="011627"/>
                </a:solidFill>
              </a:rPr>
              <a:t>categoría</a:t>
            </a:r>
            <a:r>
              <a:rPr lang="en-GB" sz="1200">
                <a:solidFill>
                  <a:srgbClr val="011627"/>
                </a:solidFill>
              </a:rPr>
              <a:t>)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C48B0CF2-F907-09AF-9759-3408AEA0B199}"/>
              </a:ext>
            </a:extLst>
          </p:cNvPr>
          <p:cNvSpPr/>
          <p:nvPr/>
        </p:nvSpPr>
        <p:spPr>
          <a:xfrm>
            <a:off x="923960" y="4506595"/>
            <a:ext cx="2463665" cy="54000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600" b="1">
                <a:solidFill>
                  <a:schemeClr val="bg1"/>
                </a:solidFill>
              </a:rPr>
              <a:t>[HVA SIZE] 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224394C1-A9EA-E4D2-C0B8-3629E03996F8}"/>
              </a:ext>
            </a:extLst>
          </p:cNvPr>
          <p:cNvSpPr/>
          <p:nvPr/>
        </p:nvSpPr>
        <p:spPr>
          <a:xfrm>
            <a:off x="3565560" y="1993250"/>
            <a:ext cx="2463665" cy="2401600"/>
          </a:xfrm>
          <a:prstGeom prst="rect">
            <a:avLst/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HVA 2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(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Definición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ligada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 a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producto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  <a:r>
              <a:rPr lang="en-GB" sz="1200">
                <a:solidFill>
                  <a:srgbClr val="011627"/>
                </a:solidFill>
              </a:rPr>
              <a:t> </a:t>
            </a:r>
            <a:r>
              <a:rPr lang="en-GB" sz="1200" err="1">
                <a:solidFill>
                  <a:srgbClr val="011627"/>
                </a:solidFill>
              </a:rPr>
              <a:t>Ejemplo</a:t>
            </a:r>
            <a:r>
              <a:rPr lang="en-GB" sz="1200">
                <a:solidFill>
                  <a:srgbClr val="011627"/>
                </a:solidFill>
              </a:rPr>
              <a:t>: mayor </a:t>
            </a:r>
            <a:r>
              <a:rPr lang="en-GB" sz="1200" err="1">
                <a:solidFill>
                  <a:srgbClr val="011627"/>
                </a:solidFill>
              </a:rPr>
              <a:t>consumidor</a:t>
            </a:r>
            <a:r>
              <a:rPr lang="en-GB" sz="1200">
                <a:solidFill>
                  <a:srgbClr val="011627"/>
                </a:solidFill>
              </a:rPr>
              <a:t> de la </a:t>
            </a:r>
            <a:r>
              <a:rPr lang="en-GB" sz="1200" err="1">
                <a:solidFill>
                  <a:srgbClr val="011627"/>
                </a:solidFill>
              </a:rPr>
              <a:t>categoría</a:t>
            </a:r>
            <a:r>
              <a:rPr lang="en-GB" sz="1200">
                <a:solidFill>
                  <a:srgbClr val="011627"/>
                </a:solidFill>
              </a:rPr>
              <a:t>)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Rectángulo: esquinas redondeadas 7">
            <a:extLst>
              <a:ext uri="{FF2B5EF4-FFF2-40B4-BE49-F238E27FC236}">
                <a16:creationId xmlns:a16="http://schemas.microsoft.com/office/drawing/2014/main" id="{E886F218-C2A2-D727-4D27-0C5A3F59E09F}"/>
              </a:ext>
            </a:extLst>
          </p:cNvPr>
          <p:cNvSpPr/>
          <p:nvPr/>
        </p:nvSpPr>
        <p:spPr>
          <a:xfrm>
            <a:off x="3565560" y="4506595"/>
            <a:ext cx="2463665" cy="54000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600" b="1">
                <a:solidFill>
                  <a:schemeClr val="bg1"/>
                </a:solidFill>
              </a:rPr>
              <a:t>[HVA SIZE] 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9157AB24-62AC-673B-93BC-9DB431D970D6}"/>
              </a:ext>
            </a:extLst>
          </p:cNvPr>
          <p:cNvSpPr/>
          <p:nvPr/>
        </p:nvSpPr>
        <p:spPr>
          <a:xfrm>
            <a:off x="6207160" y="1993250"/>
            <a:ext cx="2463665" cy="2401600"/>
          </a:xfrm>
          <a:prstGeom prst="rect">
            <a:avLst/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HVA 3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(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Definición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ligada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 a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producto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  <a:r>
              <a:rPr lang="en-GB" sz="1200">
                <a:solidFill>
                  <a:srgbClr val="011627"/>
                </a:solidFill>
              </a:rPr>
              <a:t> </a:t>
            </a:r>
            <a:r>
              <a:rPr lang="en-GB" sz="1200" err="1">
                <a:solidFill>
                  <a:srgbClr val="011627"/>
                </a:solidFill>
              </a:rPr>
              <a:t>Ejemplo</a:t>
            </a:r>
            <a:r>
              <a:rPr lang="en-GB" sz="1200">
                <a:solidFill>
                  <a:srgbClr val="011627"/>
                </a:solidFill>
              </a:rPr>
              <a:t>: mayor </a:t>
            </a:r>
            <a:r>
              <a:rPr lang="en-GB" sz="1200" err="1">
                <a:solidFill>
                  <a:srgbClr val="011627"/>
                </a:solidFill>
              </a:rPr>
              <a:t>consumidor</a:t>
            </a:r>
            <a:r>
              <a:rPr lang="en-GB" sz="1200">
                <a:solidFill>
                  <a:srgbClr val="011627"/>
                </a:solidFill>
              </a:rPr>
              <a:t> de la </a:t>
            </a:r>
            <a:r>
              <a:rPr lang="en-GB" sz="1200" err="1">
                <a:solidFill>
                  <a:srgbClr val="011627"/>
                </a:solidFill>
              </a:rPr>
              <a:t>categoría</a:t>
            </a:r>
            <a:r>
              <a:rPr lang="en-GB" sz="1200">
                <a:solidFill>
                  <a:srgbClr val="011627"/>
                </a:solidFill>
              </a:rPr>
              <a:t>)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)</a:t>
            </a: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3C87ECEA-0C85-0AB7-5435-EADAEC0B3F57}"/>
              </a:ext>
            </a:extLst>
          </p:cNvPr>
          <p:cNvSpPr/>
          <p:nvPr/>
        </p:nvSpPr>
        <p:spPr>
          <a:xfrm>
            <a:off x="6207160" y="4506595"/>
            <a:ext cx="2463665" cy="54000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600" b="1">
                <a:solidFill>
                  <a:schemeClr val="bg1"/>
                </a:solidFill>
              </a:rPr>
              <a:t>[HVA SIZE] 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E7DCCC09-D684-D03C-B418-3846CBD124C6}"/>
              </a:ext>
            </a:extLst>
          </p:cNvPr>
          <p:cNvSpPr/>
          <p:nvPr/>
        </p:nvSpPr>
        <p:spPr>
          <a:xfrm>
            <a:off x="8848760" y="1993250"/>
            <a:ext cx="2463665" cy="2401600"/>
          </a:xfrm>
          <a:prstGeom prst="rect">
            <a:avLst/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HVA 4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(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Definición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ligada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 a </a:t>
            </a: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producto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  <a:r>
              <a:rPr lang="en-GB" sz="1200">
                <a:solidFill>
                  <a:srgbClr val="011627"/>
                </a:solidFill>
              </a:rPr>
              <a:t> </a:t>
            </a:r>
            <a:r>
              <a:rPr lang="en-GB" sz="1200" err="1">
                <a:solidFill>
                  <a:srgbClr val="011627"/>
                </a:solidFill>
              </a:rPr>
              <a:t>Ejemplo</a:t>
            </a:r>
            <a:r>
              <a:rPr lang="en-GB" sz="1200">
                <a:solidFill>
                  <a:srgbClr val="011627"/>
                </a:solidFill>
              </a:rPr>
              <a:t>: mayor </a:t>
            </a:r>
            <a:r>
              <a:rPr lang="en-GB" sz="1200" err="1">
                <a:solidFill>
                  <a:srgbClr val="011627"/>
                </a:solidFill>
              </a:rPr>
              <a:t>consumidor</a:t>
            </a:r>
            <a:r>
              <a:rPr lang="en-GB" sz="1200">
                <a:solidFill>
                  <a:srgbClr val="011627"/>
                </a:solidFill>
              </a:rPr>
              <a:t> de la </a:t>
            </a:r>
            <a:r>
              <a:rPr lang="en-GB" sz="1200" err="1">
                <a:solidFill>
                  <a:srgbClr val="011627"/>
                </a:solidFill>
              </a:rPr>
              <a:t>categoría</a:t>
            </a:r>
            <a:r>
              <a:rPr lang="en-GB" sz="1200">
                <a:solidFill>
                  <a:srgbClr val="011627"/>
                </a:solidFill>
              </a:rPr>
              <a:t>)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)</a:t>
            </a:r>
          </a:p>
        </p:txBody>
      </p:sp>
      <p:sp>
        <p:nvSpPr>
          <p:cNvPr id="12" name="Rectángulo: esquinas redondeadas 11">
            <a:extLst>
              <a:ext uri="{FF2B5EF4-FFF2-40B4-BE49-F238E27FC236}">
                <a16:creationId xmlns:a16="http://schemas.microsoft.com/office/drawing/2014/main" id="{15E1BCA6-25C5-0C39-A95D-654E90A82B3A}"/>
              </a:ext>
            </a:extLst>
          </p:cNvPr>
          <p:cNvSpPr/>
          <p:nvPr/>
        </p:nvSpPr>
        <p:spPr>
          <a:xfrm>
            <a:off x="8848760" y="4506595"/>
            <a:ext cx="2463665" cy="54000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600" b="1">
                <a:solidFill>
                  <a:schemeClr val="bg1"/>
                </a:solidFill>
              </a:rPr>
              <a:t>[HVA SIZE] </a:t>
            </a:r>
          </a:p>
        </p:txBody>
      </p:sp>
      <p:sp>
        <p:nvSpPr>
          <p:cNvPr id="18" name="Round Same-side Corner of Rectangle 7">
            <a:extLst>
              <a:ext uri="{FF2B5EF4-FFF2-40B4-BE49-F238E27FC236}">
                <a16:creationId xmlns:a16="http://schemas.microsoft.com/office/drawing/2014/main" id="{297FB94F-D25C-C26A-D76A-843F3B1DE5E2}"/>
              </a:ext>
            </a:extLst>
          </p:cNvPr>
          <p:cNvSpPr/>
          <p:nvPr/>
        </p:nvSpPr>
        <p:spPr>
          <a:xfrm rot="10800000">
            <a:off x="10154862" y="-67235"/>
            <a:ext cx="1681453" cy="574871"/>
          </a:xfrm>
          <a:prstGeom prst="round2SameRect">
            <a:avLst>
              <a:gd name="adj1" fmla="val 24269"/>
              <a:gd name="adj2" fmla="val 0"/>
            </a:avLst>
          </a:prstGeom>
          <a:solidFill>
            <a:schemeClr val="bg2"/>
          </a:solidFill>
          <a:ln w="12700">
            <a:solidFill>
              <a:schemeClr val="tx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19" name="Group 20">
            <a:extLst>
              <a:ext uri="{FF2B5EF4-FFF2-40B4-BE49-F238E27FC236}">
                <a16:creationId xmlns:a16="http://schemas.microsoft.com/office/drawing/2014/main" id="{DAF6A169-8D38-E0E9-2307-B9EB0A0D7905}"/>
              </a:ext>
            </a:extLst>
          </p:cNvPr>
          <p:cNvGrpSpPr/>
          <p:nvPr/>
        </p:nvGrpSpPr>
        <p:grpSpPr>
          <a:xfrm>
            <a:off x="10366304" y="124456"/>
            <a:ext cx="1401292" cy="307777"/>
            <a:chOff x="1940295" y="2086507"/>
            <a:chExt cx="2955261" cy="649088"/>
          </a:xfrm>
        </p:grpSpPr>
        <p:sp>
          <p:nvSpPr>
            <p:cNvPr id="20" name="Oval 33">
              <a:extLst>
                <a:ext uri="{FF2B5EF4-FFF2-40B4-BE49-F238E27FC236}">
                  <a16:creationId xmlns:a16="http://schemas.microsoft.com/office/drawing/2014/main" id="{880B44B6-B0B7-47C4-9331-724E27738340}"/>
                </a:ext>
              </a:extLst>
            </p:cNvPr>
            <p:cNvSpPr/>
            <p:nvPr/>
          </p:nvSpPr>
          <p:spPr>
            <a:xfrm>
              <a:off x="1940295" y="2112019"/>
              <a:ext cx="598068" cy="5980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21" name="TextBox 22">
              <a:extLst>
                <a:ext uri="{FF2B5EF4-FFF2-40B4-BE49-F238E27FC236}">
                  <a16:creationId xmlns:a16="http://schemas.microsoft.com/office/drawing/2014/main" id="{3CB343CD-DA08-6AA4-EC90-8FBAFF9E266A}"/>
                </a:ext>
              </a:extLst>
            </p:cNvPr>
            <p:cNvSpPr txBox="1"/>
            <p:nvPr/>
          </p:nvSpPr>
          <p:spPr>
            <a:xfrm>
              <a:off x="2518275" y="2086507"/>
              <a:ext cx="2377281" cy="64908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BCFF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Audiencia</a:t>
              </a:r>
            </a:p>
          </p:txBody>
        </p:sp>
      </p:grpSp>
      <p:sp>
        <p:nvSpPr>
          <p:cNvPr id="22" name="Google Shape;1138;p39">
            <a:extLst>
              <a:ext uri="{FF2B5EF4-FFF2-40B4-BE49-F238E27FC236}">
                <a16:creationId xmlns:a16="http://schemas.microsoft.com/office/drawing/2014/main" id="{C825AC1B-1E86-F255-4044-E48D89B640DB}"/>
              </a:ext>
            </a:extLst>
          </p:cNvPr>
          <p:cNvSpPr>
            <a:spLocks noChangeAspect="1"/>
          </p:cNvSpPr>
          <p:nvPr/>
        </p:nvSpPr>
        <p:spPr>
          <a:xfrm>
            <a:off x="10410875" y="209365"/>
            <a:ext cx="184918" cy="12525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55" h="21600" extrusionOk="0">
                <a:moveTo>
                  <a:pt x="10775" y="0"/>
                </a:moveTo>
                <a:cubicBezTo>
                  <a:pt x="8891" y="0"/>
                  <a:pt x="7365" y="2267"/>
                  <a:pt x="7365" y="5054"/>
                </a:cubicBezTo>
                <a:cubicBezTo>
                  <a:pt x="7365" y="7841"/>
                  <a:pt x="8891" y="10098"/>
                  <a:pt x="10775" y="10098"/>
                </a:cubicBezTo>
                <a:cubicBezTo>
                  <a:pt x="12659" y="10098"/>
                  <a:pt x="14185" y="7841"/>
                  <a:pt x="14185" y="5054"/>
                </a:cubicBezTo>
                <a:cubicBezTo>
                  <a:pt x="14185" y="2267"/>
                  <a:pt x="12659" y="0"/>
                  <a:pt x="10775" y="0"/>
                </a:cubicBezTo>
                <a:close/>
                <a:moveTo>
                  <a:pt x="10775" y="920"/>
                </a:moveTo>
                <a:cubicBezTo>
                  <a:pt x="12316" y="920"/>
                  <a:pt x="13569" y="2774"/>
                  <a:pt x="13569" y="5054"/>
                </a:cubicBezTo>
                <a:cubicBezTo>
                  <a:pt x="13569" y="7334"/>
                  <a:pt x="12316" y="9179"/>
                  <a:pt x="10775" y="9179"/>
                </a:cubicBezTo>
                <a:cubicBezTo>
                  <a:pt x="9233" y="9179"/>
                  <a:pt x="7987" y="7334"/>
                  <a:pt x="7987" y="5054"/>
                </a:cubicBezTo>
                <a:cubicBezTo>
                  <a:pt x="7987" y="2774"/>
                  <a:pt x="9233" y="920"/>
                  <a:pt x="10775" y="920"/>
                </a:cubicBezTo>
                <a:close/>
                <a:moveTo>
                  <a:pt x="4083" y="3907"/>
                </a:moveTo>
                <a:cubicBezTo>
                  <a:pt x="2817" y="3905"/>
                  <a:pt x="1790" y="5418"/>
                  <a:pt x="1789" y="7292"/>
                </a:cubicBezTo>
                <a:cubicBezTo>
                  <a:pt x="1788" y="9165"/>
                  <a:pt x="2810" y="10685"/>
                  <a:pt x="4077" y="10686"/>
                </a:cubicBezTo>
                <a:cubicBezTo>
                  <a:pt x="5344" y="10687"/>
                  <a:pt x="6371" y="9175"/>
                  <a:pt x="6372" y="7301"/>
                </a:cubicBezTo>
                <a:cubicBezTo>
                  <a:pt x="6372" y="7300"/>
                  <a:pt x="6372" y="7293"/>
                  <a:pt x="6372" y="7292"/>
                </a:cubicBezTo>
                <a:cubicBezTo>
                  <a:pt x="6370" y="5420"/>
                  <a:pt x="5348" y="3909"/>
                  <a:pt x="4083" y="3907"/>
                </a:cubicBezTo>
                <a:close/>
                <a:moveTo>
                  <a:pt x="17479" y="3907"/>
                </a:moveTo>
                <a:cubicBezTo>
                  <a:pt x="16212" y="3907"/>
                  <a:pt x="15184" y="5418"/>
                  <a:pt x="15184" y="7292"/>
                </a:cubicBezTo>
                <a:cubicBezTo>
                  <a:pt x="15184" y="9165"/>
                  <a:pt x="16212" y="10686"/>
                  <a:pt x="17479" y="10686"/>
                </a:cubicBezTo>
                <a:cubicBezTo>
                  <a:pt x="18746" y="10686"/>
                  <a:pt x="19774" y="9165"/>
                  <a:pt x="19774" y="7292"/>
                </a:cubicBezTo>
                <a:cubicBezTo>
                  <a:pt x="19772" y="5417"/>
                  <a:pt x="18745" y="3908"/>
                  <a:pt x="17479" y="3907"/>
                </a:cubicBezTo>
                <a:close/>
                <a:moveTo>
                  <a:pt x="4077" y="4817"/>
                </a:moveTo>
                <a:cubicBezTo>
                  <a:pt x="5001" y="4816"/>
                  <a:pt x="5749" y="5925"/>
                  <a:pt x="5750" y="7292"/>
                </a:cubicBezTo>
                <a:cubicBezTo>
                  <a:pt x="5749" y="8659"/>
                  <a:pt x="5006" y="9764"/>
                  <a:pt x="4083" y="9766"/>
                </a:cubicBezTo>
                <a:cubicBezTo>
                  <a:pt x="3159" y="9768"/>
                  <a:pt x="2405" y="8659"/>
                  <a:pt x="2404" y="7292"/>
                </a:cubicBezTo>
                <a:cubicBezTo>
                  <a:pt x="2403" y="5925"/>
                  <a:pt x="3153" y="4818"/>
                  <a:pt x="4077" y="4817"/>
                </a:cubicBezTo>
                <a:close/>
                <a:moveTo>
                  <a:pt x="17479" y="4817"/>
                </a:moveTo>
                <a:cubicBezTo>
                  <a:pt x="18403" y="4817"/>
                  <a:pt x="19152" y="5925"/>
                  <a:pt x="19152" y="7292"/>
                </a:cubicBezTo>
                <a:cubicBezTo>
                  <a:pt x="19151" y="8658"/>
                  <a:pt x="18403" y="9765"/>
                  <a:pt x="17479" y="9766"/>
                </a:cubicBezTo>
                <a:cubicBezTo>
                  <a:pt x="16555" y="9766"/>
                  <a:pt x="15806" y="8659"/>
                  <a:pt x="15806" y="7292"/>
                </a:cubicBezTo>
                <a:cubicBezTo>
                  <a:pt x="15806" y="5925"/>
                  <a:pt x="16555" y="4817"/>
                  <a:pt x="17479" y="4817"/>
                </a:cubicBezTo>
                <a:close/>
                <a:moveTo>
                  <a:pt x="10775" y="11246"/>
                </a:moveTo>
                <a:cubicBezTo>
                  <a:pt x="9400" y="11246"/>
                  <a:pt x="8026" y="11950"/>
                  <a:pt x="6916" y="13360"/>
                </a:cubicBezTo>
                <a:cubicBezTo>
                  <a:pt x="6174" y="12202"/>
                  <a:pt x="5143" y="11536"/>
                  <a:pt x="4064" y="11521"/>
                </a:cubicBezTo>
                <a:cubicBezTo>
                  <a:pt x="2059" y="11521"/>
                  <a:pt x="280" y="13959"/>
                  <a:pt x="7" y="17068"/>
                </a:cubicBezTo>
                <a:cubicBezTo>
                  <a:pt x="-22" y="17394"/>
                  <a:pt x="47" y="17720"/>
                  <a:pt x="193" y="17968"/>
                </a:cubicBezTo>
                <a:cubicBezTo>
                  <a:pt x="336" y="18207"/>
                  <a:pt x="541" y="18346"/>
                  <a:pt x="757" y="18348"/>
                </a:cubicBezTo>
                <a:lnTo>
                  <a:pt x="4692" y="18348"/>
                </a:lnTo>
                <a:cubicBezTo>
                  <a:pt x="4593" y="18844"/>
                  <a:pt x="4519" y="19352"/>
                  <a:pt x="4474" y="19865"/>
                </a:cubicBezTo>
                <a:cubicBezTo>
                  <a:pt x="4435" y="20307"/>
                  <a:pt x="4527" y="20751"/>
                  <a:pt x="4724" y="21088"/>
                </a:cubicBezTo>
                <a:cubicBezTo>
                  <a:pt x="4917" y="21413"/>
                  <a:pt x="5195" y="21600"/>
                  <a:pt x="5487" y="21600"/>
                </a:cubicBezTo>
                <a:lnTo>
                  <a:pt x="16063" y="21600"/>
                </a:lnTo>
                <a:cubicBezTo>
                  <a:pt x="16355" y="21600"/>
                  <a:pt x="16633" y="21413"/>
                  <a:pt x="16825" y="21088"/>
                </a:cubicBezTo>
                <a:cubicBezTo>
                  <a:pt x="17023" y="20751"/>
                  <a:pt x="17114" y="20307"/>
                  <a:pt x="17075" y="19865"/>
                </a:cubicBezTo>
                <a:cubicBezTo>
                  <a:pt x="17030" y="19352"/>
                  <a:pt x="16957" y="18844"/>
                  <a:pt x="16857" y="18348"/>
                </a:cubicBezTo>
                <a:lnTo>
                  <a:pt x="20799" y="18348"/>
                </a:lnTo>
                <a:cubicBezTo>
                  <a:pt x="21015" y="18346"/>
                  <a:pt x="21220" y="18208"/>
                  <a:pt x="21363" y="17968"/>
                </a:cubicBezTo>
                <a:cubicBezTo>
                  <a:pt x="21509" y="17720"/>
                  <a:pt x="21578" y="17394"/>
                  <a:pt x="21549" y="17068"/>
                </a:cubicBezTo>
                <a:cubicBezTo>
                  <a:pt x="21276" y="13959"/>
                  <a:pt x="19490" y="11521"/>
                  <a:pt x="17485" y="11521"/>
                </a:cubicBezTo>
                <a:cubicBezTo>
                  <a:pt x="16407" y="11536"/>
                  <a:pt x="15376" y="12202"/>
                  <a:pt x="14633" y="13360"/>
                </a:cubicBezTo>
                <a:cubicBezTo>
                  <a:pt x="13523" y="11950"/>
                  <a:pt x="12149" y="11246"/>
                  <a:pt x="10775" y="11246"/>
                </a:cubicBezTo>
                <a:close/>
                <a:moveTo>
                  <a:pt x="10775" y="12165"/>
                </a:moveTo>
                <a:cubicBezTo>
                  <a:pt x="13578" y="12165"/>
                  <a:pt x="16075" y="15602"/>
                  <a:pt x="16460" y="19979"/>
                </a:cubicBezTo>
                <a:cubicBezTo>
                  <a:pt x="16475" y="20160"/>
                  <a:pt x="16439" y="20343"/>
                  <a:pt x="16357" y="20481"/>
                </a:cubicBezTo>
                <a:cubicBezTo>
                  <a:pt x="16283" y="20608"/>
                  <a:pt x="16176" y="20690"/>
                  <a:pt x="16063" y="20690"/>
                </a:cubicBezTo>
                <a:lnTo>
                  <a:pt x="5487" y="20690"/>
                </a:lnTo>
                <a:cubicBezTo>
                  <a:pt x="5373" y="20690"/>
                  <a:pt x="5267" y="20608"/>
                  <a:pt x="5192" y="20481"/>
                </a:cubicBezTo>
                <a:cubicBezTo>
                  <a:pt x="5111" y="20343"/>
                  <a:pt x="5074" y="20160"/>
                  <a:pt x="5090" y="19979"/>
                </a:cubicBezTo>
                <a:cubicBezTo>
                  <a:pt x="5474" y="15595"/>
                  <a:pt x="7971" y="12165"/>
                  <a:pt x="10775" y="12165"/>
                </a:cubicBezTo>
                <a:close/>
                <a:moveTo>
                  <a:pt x="4064" y="12440"/>
                </a:moveTo>
                <a:cubicBezTo>
                  <a:pt x="4968" y="12456"/>
                  <a:pt x="5831" y="13009"/>
                  <a:pt x="6455" y="13976"/>
                </a:cubicBezTo>
                <a:cubicBezTo>
                  <a:pt x="5784" y="14959"/>
                  <a:pt x="5255" y="16131"/>
                  <a:pt x="4904" y="17428"/>
                </a:cubicBezTo>
                <a:cubicBezTo>
                  <a:pt x="4904" y="17428"/>
                  <a:pt x="757" y="17428"/>
                  <a:pt x="757" y="17428"/>
                </a:cubicBezTo>
                <a:cubicBezTo>
                  <a:pt x="719" y="17428"/>
                  <a:pt x="678" y="17405"/>
                  <a:pt x="654" y="17362"/>
                </a:cubicBezTo>
                <a:cubicBezTo>
                  <a:pt x="625" y="17314"/>
                  <a:pt x="616" y="17255"/>
                  <a:pt x="622" y="17191"/>
                </a:cubicBezTo>
                <a:cubicBezTo>
                  <a:pt x="855" y="14528"/>
                  <a:pt x="2365" y="12440"/>
                  <a:pt x="4064" y="12440"/>
                </a:cubicBezTo>
                <a:close/>
                <a:moveTo>
                  <a:pt x="17485" y="12440"/>
                </a:moveTo>
                <a:cubicBezTo>
                  <a:pt x="19191" y="12440"/>
                  <a:pt x="20695" y="14518"/>
                  <a:pt x="20927" y="17181"/>
                </a:cubicBezTo>
                <a:cubicBezTo>
                  <a:pt x="20935" y="17244"/>
                  <a:pt x="20923" y="17313"/>
                  <a:pt x="20895" y="17362"/>
                </a:cubicBezTo>
                <a:cubicBezTo>
                  <a:pt x="20871" y="17405"/>
                  <a:pt x="20837" y="17428"/>
                  <a:pt x="20799" y="17428"/>
                </a:cubicBezTo>
                <a:lnTo>
                  <a:pt x="16646" y="17428"/>
                </a:lnTo>
                <a:cubicBezTo>
                  <a:pt x="16294" y="16131"/>
                  <a:pt x="15766" y="14959"/>
                  <a:pt x="15095" y="13976"/>
                </a:cubicBezTo>
                <a:cubicBezTo>
                  <a:pt x="15718" y="13009"/>
                  <a:pt x="16582" y="12456"/>
                  <a:pt x="17485" y="12440"/>
                </a:cubicBezTo>
                <a:close/>
              </a:path>
            </a:pathLst>
          </a:cu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71EC3B61-B041-F0AD-56AE-49EF29076103}"/>
              </a:ext>
            </a:extLst>
          </p:cNvPr>
          <p:cNvSpPr txBox="1"/>
          <p:nvPr/>
        </p:nvSpPr>
        <p:spPr>
          <a:xfrm>
            <a:off x="3085731" y="3318613"/>
            <a:ext cx="54057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GUATEMALA</a:t>
            </a:r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3657804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60AABF4E-CEB4-D610-288F-92CED3A69509}"/>
              </a:ext>
            </a:extLst>
          </p:cNvPr>
          <p:cNvSpPr/>
          <p:nvPr/>
        </p:nvSpPr>
        <p:spPr>
          <a:xfrm>
            <a:off x="365667" y="1279767"/>
            <a:ext cx="11489437" cy="49540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33" name="Title 132">
            <a:extLst>
              <a:ext uri="{FF2B5EF4-FFF2-40B4-BE49-F238E27FC236}">
                <a16:creationId xmlns:a16="http://schemas.microsoft.com/office/drawing/2014/main" id="{936F9986-24D1-DFB9-7FC7-26592B31BA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356" y="462897"/>
            <a:ext cx="10765383" cy="643050"/>
          </a:xfrm>
        </p:spPr>
        <p:txBody>
          <a:bodyPr/>
          <a:lstStyle/>
          <a:p>
            <a:r>
              <a:rPr lang="en-GB" sz="2400" b="1"/>
              <a:t>HVA NAME </a:t>
            </a:r>
            <a:r>
              <a:rPr lang="en-GB" sz="2400"/>
              <a:t>– </a:t>
            </a:r>
            <a:r>
              <a:rPr lang="en-GB" sz="2400">
                <a:highlight>
                  <a:srgbClr val="FFFF00"/>
                </a:highlight>
              </a:rPr>
              <a:t>Key highlights here  </a:t>
            </a: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F10EC592-DCDB-684B-44E8-684F53091823}"/>
              </a:ext>
            </a:extLst>
          </p:cNvPr>
          <p:cNvSpPr/>
          <p:nvPr/>
        </p:nvSpPr>
        <p:spPr>
          <a:xfrm>
            <a:off x="-1976214" y="1279766"/>
            <a:ext cx="1988289" cy="51436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60000" rIns="72000" bIns="3600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Key considera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Duplicate slide for each HVAs profil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Use the Hub output from the previous audience data to inspire further research into consumer attitude, behaviours and motivations for profile building. For instanc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Consumer journey (needs, trigger, decision making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Brand perception (awareness / consideration / preference level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Deep dive into a segmentation or behaviou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Platform insights (i.e. Facebook, Google) that can refine our understanding of our audience’s behaviour and inform execut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Suggested Data Sources: Kantar reports, TGI, Euromonitor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C074D0B-E491-208A-F08F-0FF198C960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t>Source: </a:t>
            </a: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t>her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CE8D6384-4008-9336-D49B-7CF1466A00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ExtraLight" pitchFamily="2" charset="77"/>
                <a:ea typeface="+mn-ea"/>
                <a:cs typeface="Poppins Extra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ExtraLight" pitchFamily="2" charset="77"/>
              <a:ea typeface="+mn-ea"/>
              <a:cs typeface="Poppins ExtraLight" pitchFamily="2" charset="77"/>
            </a:endParaRPr>
          </a:p>
        </p:txBody>
      </p:sp>
      <p:pic>
        <p:nvPicPr>
          <p:cNvPr id="16" name="Picture 8" descr="Free People Camping in the Forest Stock Photo">
            <a:extLst>
              <a:ext uri="{FF2B5EF4-FFF2-40B4-BE49-F238E27FC236}">
                <a16:creationId xmlns:a16="http://schemas.microsoft.com/office/drawing/2014/main" id="{81EA5558-368D-6F93-710C-A5ADF89CD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6" r="2436"/>
          <a:stretch/>
        </p:blipFill>
        <p:spPr bwMode="auto">
          <a:xfrm>
            <a:off x="307422" y="1279767"/>
            <a:ext cx="3138112" cy="4948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DF2B05F-3367-18EB-D327-9F19AA28B6EA}"/>
              </a:ext>
            </a:extLst>
          </p:cNvPr>
          <p:cNvSpPr/>
          <p:nvPr/>
        </p:nvSpPr>
        <p:spPr>
          <a:xfrm>
            <a:off x="307422" y="1279767"/>
            <a:ext cx="45719" cy="49540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1965B3A-2AFF-6626-6174-2176AD45D773}"/>
              </a:ext>
            </a:extLst>
          </p:cNvPr>
          <p:cNvGrpSpPr/>
          <p:nvPr/>
        </p:nvGrpSpPr>
        <p:grpSpPr>
          <a:xfrm>
            <a:off x="330281" y="1994393"/>
            <a:ext cx="2772269" cy="1064712"/>
            <a:chOff x="336544" y="1600332"/>
            <a:chExt cx="2772269" cy="1064712"/>
          </a:xfrm>
        </p:grpSpPr>
        <p:sp>
          <p:nvSpPr>
            <p:cNvPr id="19" name="Round Same-side Corner of Rectangle 18">
              <a:extLst>
                <a:ext uri="{FF2B5EF4-FFF2-40B4-BE49-F238E27FC236}">
                  <a16:creationId xmlns:a16="http://schemas.microsoft.com/office/drawing/2014/main" id="{A0E03351-700A-671A-F5CE-43418D2B7FEC}"/>
                </a:ext>
              </a:extLst>
            </p:cNvPr>
            <p:cNvSpPr/>
            <p:nvPr/>
          </p:nvSpPr>
          <p:spPr>
            <a:xfrm rot="5400000">
              <a:off x="1179749" y="757127"/>
              <a:ext cx="1064712" cy="2751122"/>
            </a:xfrm>
            <a:prstGeom prst="round2SameRect">
              <a:avLst/>
            </a:prstGeom>
            <a:gradFill flip="none" rotWithShape="1">
              <a:gsLst>
                <a:gs pos="0">
                  <a:schemeClr val="accent2"/>
                </a:gs>
                <a:gs pos="99000">
                  <a:schemeClr val="accent1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62F5751-B84F-31E1-AB77-6E3D3C55AD9C}"/>
                </a:ext>
              </a:extLst>
            </p:cNvPr>
            <p:cNvSpPr txBox="1"/>
            <p:nvPr/>
          </p:nvSpPr>
          <p:spPr>
            <a:xfrm>
              <a:off x="399624" y="1717189"/>
              <a:ext cx="2709189" cy="83099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l" defTabSz="10881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15.9m</a:t>
              </a: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rPr>
                <a:t>Segment size</a:t>
              </a: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endParaRPr>
            </a:p>
            <a:p>
              <a:pPr marL="0" marR="0" lvl="0" indent="0" algn="l" defTabSz="10881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16% 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rPr>
                <a:t>of Category Buyers</a:t>
              </a:r>
            </a:p>
          </p:txBody>
        </p:sp>
      </p:grp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84E54D3-DC3F-F50D-A67E-91B055CDE652}"/>
              </a:ext>
            </a:extLst>
          </p:cNvPr>
          <p:cNvCxnSpPr>
            <a:cxnSpLocks/>
          </p:cNvCxnSpPr>
          <p:nvPr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72A4171-524F-FD56-6A13-41F3028CE87A}"/>
              </a:ext>
            </a:extLst>
          </p:cNvPr>
          <p:cNvCxnSpPr>
            <a:cxnSpLocks/>
          </p:cNvCxnSpPr>
          <p:nvPr/>
        </p:nvCxnSpPr>
        <p:spPr>
          <a:xfrm>
            <a:off x="305435" y="1279766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AE095B67-DCE2-DD20-5C84-835C6E2281EC}"/>
              </a:ext>
            </a:extLst>
          </p:cNvPr>
          <p:cNvSpPr/>
          <p:nvPr/>
        </p:nvSpPr>
        <p:spPr>
          <a:xfrm>
            <a:off x="11814955" y="1279767"/>
            <a:ext cx="45719" cy="4954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AF56976B-254E-04AB-D80E-5D1DA05CDB16}"/>
              </a:ext>
            </a:extLst>
          </p:cNvPr>
          <p:cNvSpPr/>
          <p:nvPr/>
        </p:nvSpPr>
        <p:spPr>
          <a:xfrm>
            <a:off x="3569918" y="1409178"/>
            <a:ext cx="4006152" cy="795403"/>
          </a:xfrm>
          <a:prstGeom prst="roundRect">
            <a:avLst>
              <a:gd name="adj" fmla="val 800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3A38D8F0-FB5C-A686-B619-892DFDF005BF}"/>
              </a:ext>
            </a:extLst>
          </p:cNvPr>
          <p:cNvSpPr/>
          <p:nvPr/>
        </p:nvSpPr>
        <p:spPr>
          <a:xfrm>
            <a:off x="7684500" y="1409178"/>
            <a:ext cx="4006152" cy="795403"/>
          </a:xfrm>
          <a:prstGeom prst="roundRect">
            <a:avLst>
              <a:gd name="adj" fmla="val 800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DDD069E7-3636-91AB-1DD7-47C1E24A3AFF}"/>
              </a:ext>
            </a:extLst>
          </p:cNvPr>
          <p:cNvSpPr/>
          <p:nvPr/>
        </p:nvSpPr>
        <p:spPr>
          <a:xfrm>
            <a:off x="7684500" y="2313780"/>
            <a:ext cx="4006152" cy="3805182"/>
          </a:xfrm>
          <a:prstGeom prst="roundRect">
            <a:avLst>
              <a:gd name="adj" fmla="val 142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2E6A9581-6BAC-81B5-BD14-1FD6CFA69511}"/>
              </a:ext>
            </a:extLst>
          </p:cNvPr>
          <p:cNvSpPr/>
          <p:nvPr/>
        </p:nvSpPr>
        <p:spPr>
          <a:xfrm>
            <a:off x="5631336" y="2313780"/>
            <a:ext cx="1944734" cy="1857384"/>
          </a:xfrm>
          <a:prstGeom prst="roundRect">
            <a:avLst>
              <a:gd name="adj" fmla="val 294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3AB94C65-1B02-8647-451F-C4C5CC3C4010}"/>
              </a:ext>
            </a:extLst>
          </p:cNvPr>
          <p:cNvSpPr/>
          <p:nvPr/>
        </p:nvSpPr>
        <p:spPr>
          <a:xfrm>
            <a:off x="3567379" y="2313780"/>
            <a:ext cx="1944734" cy="1857384"/>
          </a:xfrm>
          <a:prstGeom prst="roundRect">
            <a:avLst>
              <a:gd name="adj" fmla="val 294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9D4E4FEB-629B-5B14-5344-E1DE86B43E0A}"/>
              </a:ext>
            </a:extLst>
          </p:cNvPr>
          <p:cNvSpPr/>
          <p:nvPr/>
        </p:nvSpPr>
        <p:spPr>
          <a:xfrm>
            <a:off x="5631336" y="4261578"/>
            <a:ext cx="1944734" cy="1857384"/>
          </a:xfrm>
          <a:prstGeom prst="roundRect">
            <a:avLst>
              <a:gd name="adj" fmla="val 294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07725671-0B1C-FDB3-810A-9CC3A28BD5BB}"/>
              </a:ext>
            </a:extLst>
          </p:cNvPr>
          <p:cNvSpPr/>
          <p:nvPr/>
        </p:nvSpPr>
        <p:spPr>
          <a:xfrm>
            <a:off x="3567379" y="4261578"/>
            <a:ext cx="1944734" cy="1857384"/>
          </a:xfrm>
          <a:prstGeom prst="roundRect">
            <a:avLst>
              <a:gd name="adj" fmla="val 294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39" name="CuadroTexto 40">
            <a:extLst>
              <a:ext uri="{FF2B5EF4-FFF2-40B4-BE49-F238E27FC236}">
                <a16:creationId xmlns:a16="http://schemas.microsoft.com/office/drawing/2014/main" id="{C32F389A-E19C-D659-E56C-B41821C01489}"/>
              </a:ext>
            </a:extLst>
          </p:cNvPr>
          <p:cNvSpPr txBox="1"/>
          <p:nvPr/>
        </p:nvSpPr>
        <p:spPr>
          <a:xfrm>
            <a:off x="3568376" y="1457250"/>
            <a:ext cx="1943738" cy="2346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Driven by quality and trust</a:t>
            </a:r>
          </a:p>
        </p:txBody>
      </p:sp>
      <p:sp>
        <p:nvSpPr>
          <p:cNvPr id="40" name="CuadroTexto 45">
            <a:extLst>
              <a:ext uri="{FF2B5EF4-FFF2-40B4-BE49-F238E27FC236}">
                <a16:creationId xmlns:a16="http://schemas.microsoft.com/office/drawing/2014/main" id="{1CDF55D3-3C69-5842-0EC8-E8D502893368}"/>
              </a:ext>
            </a:extLst>
          </p:cNvPr>
          <p:cNvSpPr txBox="1"/>
          <p:nvPr/>
        </p:nvSpPr>
        <p:spPr>
          <a:xfrm>
            <a:off x="7682773" y="1456205"/>
            <a:ext cx="2744650" cy="2346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Living a healthy and conscious lifestyle</a:t>
            </a:r>
          </a:p>
        </p:txBody>
      </p:sp>
      <p:sp>
        <p:nvSpPr>
          <p:cNvPr id="41" name="CuadroTexto 56">
            <a:extLst>
              <a:ext uri="{FF2B5EF4-FFF2-40B4-BE49-F238E27FC236}">
                <a16:creationId xmlns:a16="http://schemas.microsoft.com/office/drawing/2014/main" id="{72C0F62C-7416-4DAD-3418-D544108DE213}"/>
              </a:ext>
            </a:extLst>
          </p:cNvPr>
          <p:cNvSpPr txBox="1"/>
          <p:nvPr/>
        </p:nvSpPr>
        <p:spPr>
          <a:xfrm>
            <a:off x="7682773" y="2352721"/>
            <a:ext cx="3897539" cy="2346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A clear “on the go” and fragmented media behaviour</a:t>
            </a:r>
          </a:p>
        </p:txBody>
      </p:sp>
      <p:sp>
        <p:nvSpPr>
          <p:cNvPr id="42" name="CuadroTexto 59">
            <a:extLst>
              <a:ext uri="{FF2B5EF4-FFF2-40B4-BE49-F238E27FC236}">
                <a16:creationId xmlns:a16="http://schemas.microsoft.com/office/drawing/2014/main" id="{B2A059BB-17B9-FF1D-11B6-7E5ED73FC5C4}"/>
              </a:ext>
            </a:extLst>
          </p:cNvPr>
          <p:cNvSpPr txBox="1"/>
          <p:nvPr/>
        </p:nvSpPr>
        <p:spPr>
          <a:xfrm>
            <a:off x="5646322" y="4304338"/>
            <a:ext cx="1942274" cy="3731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A wide range of social platforms used </a:t>
            </a:r>
          </a:p>
        </p:txBody>
      </p:sp>
      <p:sp>
        <p:nvSpPr>
          <p:cNvPr id="43" name="CuadroTexto 50">
            <a:extLst>
              <a:ext uri="{FF2B5EF4-FFF2-40B4-BE49-F238E27FC236}">
                <a16:creationId xmlns:a16="http://schemas.microsoft.com/office/drawing/2014/main" id="{7D7CF936-A79B-3A88-BA88-54D7960BB8B7}"/>
              </a:ext>
            </a:extLst>
          </p:cNvPr>
          <p:cNvSpPr txBox="1"/>
          <p:nvPr/>
        </p:nvSpPr>
        <p:spPr>
          <a:xfrm>
            <a:off x="3568375" y="2352721"/>
            <a:ext cx="1454562" cy="3731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Mostly urban and well educated</a:t>
            </a:r>
          </a:p>
        </p:txBody>
      </p:sp>
      <p:sp>
        <p:nvSpPr>
          <p:cNvPr id="44" name="CuadroTexto 55">
            <a:extLst>
              <a:ext uri="{FF2B5EF4-FFF2-40B4-BE49-F238E27FC236}">
                <a16:creationId xmlns:a16="http://schemas.microsoft.com/office/drawing/2014/main" id="{6013D787-15E6-EFA6-9547-F94A64FBE3C7}"/>
              </a:ext>
            </a:extLst>
          </p:cNvPr>
          <p:cNvSpPr txBox="1"/>
          <p:nvPr/>
        </p:nvSpPr>
        <p:spPr>
          <a:xfrm>
            <a:off x="5610188" y="2352721"/>
            <a:ext cx="1594210" cy="3731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mnichannel specialized buyers</a:t>
            </a:r>
          </a:p>
        </p:txBody>
      </p:sp>
      <p:sp>
        <p:nvSpPr>
          <p:cNvPr id="45" name="CuadroTexto 61">
            <a:extLst>
              <a:ext uri="{FF2B5EF4-FFF2-40B4-BE49-F238E27FC236}">
                <a16:creationId xmlns:a16="http://schemas.microsoft.com/office/drawing/2014/main" id="{AB576D2A-74B3-B66E-5777-8C9A1F95A972}"/>
              </a:ext>
            </a:extLst>
          </p:cNvPr>
          <p:cNvSpPr txBox="1"/>
          <p:nvPr/>
        </p:nvSpPr>
        <p:spPr>
          <a:xfrm>
            <a:off x="3568375" y="4304338"/>
            <a:ext cx="1943738" cy="2346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Advice and trust seeker</a:t>
            </a:r>
          </a:p>
        </p:txBody>
      </p:sp>
      <p:sp>
        <p:nvSpPr>
          <p:cNvPr id="46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387EABEC-250C-6490-F539-A062AD012297}"/>
              </a:ext>
            </a:extLst>
          </p:cNvPr>
          <p:cNvSpPr txBox="1"/>
          <p:nvPr/>
        </p:nvSpPr>
        <p:spPr>
          <a:xfrm>
            <a:off x="3730009" y="1690885"/>
            <a:ext cx="818170" cy="4094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88%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-Regular"/>
                <a:ea typeface="+mn-ea"/>
                <a:cs typeface="+mn-cs"/>
              </a:rPr>
              <a:t>(114ai)</a:t>
            </a:r>
          </a:p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Worth Paying for Quality</a:t>
            </a:r>
          </a:p>
        </p:txBody>
      </p:sp>
      <p:sp>
        <p:nvSpPr>
          <p:cNvPr id="47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BE190652-8FB2-DAFD-A5FC-FA56B8AB6522}"/>
              </a:ext>
            </a:extLst>
          </p:cNvPr>
          <p:cNvSpPr txBox="1"/>
          <p:nvPr/>
        </p:nvSpPr>
        <p:spPr>
          <a:xfrm>
            <a:off x="4963527" y="1690885"/>
            <a:ext cx="954474" cy="4094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87%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-Regular"/>
                <a:ea typeface="+mn-ea"/>
                <a:cs typeface="+mn-cs"/>
              </a:rPr>
              <a:t>(113ai)</a:t>
            </a:r>
          </a:p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Loyal to the brands they like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48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9E7A000D-EED2-6776-7132-1B4D22897334}"/>
              </a:ext>
            </a:extLst>
          </p:cNvPr>
          <p:cNvSpPr txBox="1"/>
          <p:nvPr/>
        </p:nvSpPr>
        <p:spPr>
          <a:xfrm>
            <a:off x="6233009" y="1690885"/>
            <a:ext cx="1199562" cy="4552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23%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-Regular"/>
                <a:ea typeface="+mn-ea"/>
                <a:cs typeface="+mn-cs"/>
              </a:rPr>
              <a:t>(127ai)</a:t>
            </a:r>
          </a:p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Influenced by “what’s hot and what’s not”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5C47BA0-E030-CB10-4075-56A484912B18}"/>
              </a:ext>
            </a:extLst>
          </p:cNvPr>
          <p:cNvCxnSpPr/>
          <p:nvPr/>
        </p:nvCxnSpPr>
        <p:spPr>
          <a:xfrm>
            <a:off x="3672411" y="1690885"/>
            <a:ext cx="0" cy="427475"/>
          </a:xfrm>
          <a:prstGeom prst="line">
            <a:avLst/>
          </a:prstGeo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C0DB716-5B3D-439C-A253-4395C102BB57}"/>
              </a:ext>
            </a:extLst>
          </p:cNvPr>
          <p:cNvCxnSpPr/>
          <p:nvPr/>
        </p:nvCxnSpPr>
        <p:spPr>
          <a:xfrm>
            <a:off x="4901771" y="1690885"/>
            <a:ext cx="0" cy="427475"/>
          </a:xfrm>
          <a:prstGeom prst="line">
            <a:avLst/>
          </a:prstGeo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3519FA1-F1B8-C44A-E15D-43C8DA6FC5B8}"/>
              </a:ext>
            </a:extLst>
          </p:cNvPr>
          <p:cNvCxnSpPr/>
          <p:nvPr/>
        </p:nvCxnSpPr>
        <p:spPr>
          <a:xfrm>
            <a:off x="6166691" y="1690885"/>
            <a:ext cx="0" cy="427475"/>
          </a:xfrm>
          <a:prstGeom prst="line">
            <a:avLst/>
          </a:prstGeo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FA5C9593-A828-96EE-6874-2ADCAF94BFDC}"/>
              </a:ext>
            </a:extLst>
          </p:cNvPr>
          <p:cNvSpPr txBox="1"/>
          <p:nvPr/>
        </p:nvSpPr>
        <p:spPr>
          <a:xfrm>
            <a:off x="7843752" y="1690885"/>
            <a:ext cx="903857" cy="4094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91%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-Regular"/>
                <a:ea typeface="+mn-ea"/>
                <a:cs typeface="+mn-cs"/>
              </a:rPr>
              <a:t>(194ai)</a:t>
            </a:r>
          </a:p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Has a very healthy lifestyle</a:t>
            </a:r>
          </a:p>
        </p:txBody>
      </p:sp>
      <p:sp>
        <p:nvSpPr>
          <p:cNvPr id="54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32C0B902-A714-B49E-49C3-48D161A97141}"/>
              </a:ext>
            </a:extLst>
          </p:cNvPr>
          <p:cNvSpPr txBox="1"/>
          <p:nvPr/>
        </p:nvSpPr>
        <p:spPr>
          <a:xfrm>
            <a:off x="8790224" y="1690885"/>
            <a:ext cx="981579" cy="4094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60%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-Regular"/>
                <a:ea typeface="+mn-ea"/>
                <a:cs typeface="+mn-cs"/>
              </a:rPr>
              <a:t>(122ai)</a:t>
            </a:r>
          </a:p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Interested in Health</a:t>
            </a:r>
          </a:p>
        </p:txBody>
      </p:sp>
      <p:sp>
        <p:nvSpPr>
          <p:cNvPr id="55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3C07DC95-1F76-03E5-F887-8A2F31951052}"/>
              </a:ext>
            </a:extLst>
          </p:cNvPr>
          <p:cNvSpPr txBox="1"/>
          <p:nvPr/>
        </p:nvSpPr>
        <p:spPr>
          <a:xfrm>
            <a:off x="10559500" y="1690885"/>
            <a:ext cx="1174158" cy="4094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62%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-Regular"/>
                <a:ea typeface="+mn-ea"/>
                <a:cs typeface="+mn-cs"/>
              </a:rPr>
              <a:t>(122ai)</a:t>
            </a:r>
          </a:p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Buy natural products because of health</a:t>
            </a:r>
          </a:p>
        </p:txBody>
      </p:sp>
      <p:sp>
        <p:nvSpPr>
          <p:cNvPr id="56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CE2AC5C6-5BFB-ADD3-DE96-C57A90859D50}"/>
              </a:ext>
            </a:extLst>
          </p:cNvPr>
          <p:cNvSpPr txBox="1"/>
          <p:nvPr/>
        </p:nvSpPr>
        <p:spPr>
          <a:xfrm>
            <a:off x="9696125" y="1690885"/>
            <a:ext cx="827818" cy="4094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73%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-Regular"/>
                <a:ea typeface="+mn-ea"/>
                <a:cs typeface="+mn-cs"/>
              </a:rPr>
              <a:t>(178ai)</a:t>
            </a:r>
          </a:p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Aim to be plastic free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246017CF-A2EC-5702-8F6E-90A5E82BEDFD}"/>
              </a:ext>
            </a:extLst>
          </p:cNvPr>
          <p:cNvCxnSpPr/>
          <p:nvPr/>
        </p:nvCxnSpPr>
        <p:spPr>
          <a:xfrm>
            <a:off x="7787211" y="1690885"/>
            <a:ext cx="0" cy="427475"/>
          </a:xfrm>
          <a:prstGeom prst="line">
            <a:avLst/>
          </a:prstGeo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DCFFEF4E-84CA-396E-7586-12734931C607}"/>
              </a:ext>
            </a:extLst>
          </p:cNvPr>
          <p:cNvCxnSpPr/>
          <p:nvPr/>
        </p:nvCxnSpPr>
        <p:spPr>
          <a:xfrm>
            <a:off x="8737171" y="1690885"/>
            <a:ext cx="0" cy="427475"/>
          </a:xfrm>
          <a:prstGeom prst="line">
            <a:avLst/>
          </a:prstGeo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4C4855B-6C65-6D71-13D2-BD7A3B4A277E}"/>
              </a:ext>
            </a:extLst>
          </p:cNvPr>
          <p:cNvCxnSpPr/>
          <p:nvPr/>
        </p:nvCxnSpPr>
        <p:spPr>
          <a:xfrm>
            <a:off x="9636331" y="1690885"/>
            <a:ext cx="0" cy="427475"/>
          </a:xfrm>
          <a:prstGeom prst="line">
            <a:avLst/>
          </a:prstGeo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E8783127-CEF9-CBAA-07B9-9374EDA1A041}"/>
              </a:ext>
            </a:extLst>
          </p:cNvPr>
          <p:cNvCxnSpPr/>
          <p:nvPr/>
        </p:nvCxnSpPr>
        <p:spPr>
          <a:xfrm>
            <a:off x="10499931" y="1690885"/>
            <a:ext cx="0" cy="427475"/>
          </a:xfrm>
          <a:prstGeom prst="line">
            <a:avLst/>
          </a:prstGeo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1" name="Chart 1">
            <a:extLst>
              <a:ext uri="{FF2B5EF4-FFF2-40B4-BE49-F238E27FC236}">
                <a16:creationId xmlns:a16="http://schemas.microsoft.com/office/drawing/2014/main" id="{50A90E1E-B2F4-4118-E884-64C63F956E2C}"/>
              </a:ext>
            </a:extLst>
          </p:cNvPr>
          <p:cNvGraphicFramePr/>
          <p:nvPr/>
        </p:nvGraphicFramePr>
        <p:xfrm>
          <a:off x="3521750" y="2498330"/>
          <a:ext cx="2045930" cy="10175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2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2D4E430A-CD1A-FDCF-94C6-2C4B971E8BC5}"/>
              </a:ext>
            </a:extLst>
          </p:cNvPr>
          <p:cNvSpPr txBox="1"/>
          <p:nvPr/>
        </p:nvSpPr>
        <p:spPr>
          <a:xfrm>
            <a:off x="3730009" y="3545085"/>
            <a:ext cx="818170" cy="4094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62%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-Regular"/>
                <a:ea typeface="+mn-ea"/>
                <a:cs typeface="+mn-cs"/>
              </a:rPr>
              <a:t>(141ai)</a:t>
            </a:r>
          </a:p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Univ. Degree / Postgraduate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A725E85C-289E-DF29-9C72-6B3448445ECF}"/>
              </a:ext>
            </a:extLst>
          </p:cNvPr>
          <p:cNvCxnSpPr/>
          <p:nvPr/>
        </p:nvCxnSpPr>
        <p:spPr>
          <a:xfrm>
            <a:off x="3672411" y="3545085"/>
            <a:ext cx="0" cy="427475"/>
          </a:xfrm>
          <a:prstGeom prst="line">
            <a:avLst/>
          </a:prstGeo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5AB55CA8-8BBE-2069-10C1-EEE4EA7A3637}"/>
              </a:ext>
            </a:extLst>
          </p:cNvPr>
          <p:cNvSpPr txBox="1"/>
          <p:nvPr/>
        </p:nvSpPr>
        <p:spPr>
          <a:xfrm>
            <a:off x="4659649" y="3545085"/>
            <a:ext cx="818170" cy="4094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11%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-Regular"/>
                <a:ea typeface="+mn-ea"/>
                <a:cs typeface="+mn-cs"/>
              </a:rPr>
              <a:t>(159ai)</a:t>
            </a:r>
          </a:p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Outdoor Adventurers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01AFE7-2CBF-6321-C764-43901AF06D2B}"/>
              </a:ext>
            </a:extLst>
          </p:cNvPr>
          <p:cNvCxnSpPr/>
          <p:nvPr/>
        </p:nvCxnSpPr>
        <p:spPr>
          <a:xfrm>
            <a:off x="4602051" y="3545085"/>
            <a:ext cx="0" cy="427475"/>
          </a:xfrm>
          <a:prstGeom prst="line">
            <a:avLst/>
          </a:prstGeo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C9673302-392B-7F75-5A30-5E09FDFEE013}"/>
              </a:ext>
            </a:extLst>
          </p:cNvPr>
          <p:cNvSpPr txBox="1"/>
          <p:nvPr/>
        </p:nvSpPr>
        <p:spPr>
          <a:xfrm>
            <a:off x="5791048" y="2772925"/>
            <a:ext cx="1641511" cy="3106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12%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-Regular"/>
                <a:ea typeface="+mn-ea"/>
                <a:cs typeface="+mn-cs"/>
              </a:rPr>
              <a:t>(133ai)</a:t>
            </a:r>
          </a:p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Pharmacy/Over the Counter</a:t>
            </a: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D2C484B2-7CAD-24A4-8C76-C4013680C929}"/>
              </a:ext>
            </a:extLst>
          </p:cNvPr>
          <p:cNvCxnSpPr>
            <a:cxnSpLocks/>
          </p:cNvCxnSpPr>
          <p:nvPr/>
        </p:nvCxnSpPr>
        <p:spPr>
          <a:xfrm>
            <a:off x="5724731" y="2772925"/>
            <a:ext cx="0" cy="310635"/>
          </a:xfrm>
          <a:prstGeom prst="line">
            <a:avLst/>
          </a:prstGeo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B3C473D2-8195-8215-7575-547B2C55EFBC}"/>
              </a:ext>
            </a:extLst>
          </p:cNvPr>
          <p:cNvSpPr txBox="1"/>
          <p:nvPr/>
        </p:nvSpPr>
        <p:spPr>
          <a:xfrm>
            <a:off x="5791048" y="3204725"/>
            <a:ext cx="1641511" cy="3106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54%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-Regular"/>
                <a:ea typeface="+mn-ea"/>
                <a:cs typeface="+mn-cs"/>
              </a:rPr>
              <a:t>(132ai)</a:t>
            </a:r>
          </a:p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Retailers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1A6CBB4A-82AB-192B-756C-6100D1833E25}"/>
              </a:ext>
            </a:extLst>
          </p:cNvPr>
          <p:cNvCxnSpPr>
            <a:cxnSpLocks/>
          </p:cNvCxnSpPr>
          <p:nvPr/>
        </p:nvCxnSpPr>
        <p:spPr>
          <a:xfrm>
            <a:off x="5724731" y="3204725"/>
            <a:ext cx="0" cy="310635"/>
          </a:xfrm>
          <a:prstGeom prst="line">
            <a:avLst/>
          </a:prstGeo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1E0780C0-8643-6720-40F3-BE423E1324B0}"/>
              </a:ext>
            </a:extLst>
          </p:cNvPr>
          <p:cNvSpPr txBox="1"/>
          <p:nvPr/>
        </p:nvSpPr>
        <p:spPr>
          <a:xfrm>
            <a:off x="5791048" y="3641605"/>
            <a:ext cx="1641511" cy="3106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7%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-Regular"/>
                <a:ea typeface="+mn-ea"/>
                <a:cs typeface="+mn-cs"/>
              </a:rPr>
              <a:t>(104ai)</a:t>
            </a:r>
          </a:p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Used Social Shopping last 3 m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D276F5CC-274F-F624-E034-36C88A926324}"/>
              </a:ext>
            </a:extLst>
          </p:cNvPr>
          <p:cNvCxnSpPr>
            <a:cxnSpLocks/>
          </p:cNvCxnSpPr>
          <p:nvPr/>
        </p:nvCxnSpPr>
        <p:spPr>
          <a:xfrm>
            <a:off x="5724731" y="3641605"/>
            <a:ext cx="0" cy="310635"/>
          </a:xfrm>
          <a:prstGeom prst="line">
            <a:avLst/>
          </a:prstGeo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5C9C06FA-A82B-1AE7-EA78-8E3E80A0A9FC}"/>
              </a:ext>
            </a:extLst>
          </p:cNvPr>
          <p:cNvSpPr txBox="1"/>
          <p:nvPr/>
        </p:nvSpPr>
        <p:spPr>
          <a:xfrm>
            <a:off x="3743808" y="4586485"/>
            <a:ext cx="1641511" cy="3106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10%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-Regular"/>
                <a:ea typeface="+mn-ea"/>
                <a:cs typeface="+mn-cs"/>
              </a:rPr>
              <a:t>(111ai)</a:t>
            </a:r>
          </a:p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Asked expert advice online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D8E2D2C9-9664-CF53-0CC7-277F8520408B}"/>
              </a:ext>
            </a:extLst>
          </p:cNvPr>
          <p:cNvCxnSpPr>
            <a:cxnSpLocks/>
          </p:cNvCxnSpPr>
          <p:nvPr/>
        </p:nvCxnSpPr>
        <p:spPr>
          <a:xfrm>
            <a:off x="3677491" y="4586485"/>
            <a:ext cx="0" cy="310635"/>
          </a:xfrm>
          <a:prstGeom prst="line">
            <a:avLst/>
          </a:prstGeo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9FDC6A22-6E80-D6FA-E947-C6C9E303145D}"/>
              </a:ext>
            </a:extLst>
          </p:cNvPr>
          <p:cNvSpPr txBox="1"/>
          <p:nvPr/>
        </p:nvSpPr>
        <p:spPr>
          <a:xfrm>
            <a:off x="3743808" y="5018285"/>
            <a:ext cx="1641511" cy="3106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66%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-Regular"/>
                <a:ea typeface="+mn-ea"/>
                <a:cs typeface="+mn-cs"/>
              </a:rPr>
              <a:t>(112ai)</a:t>
            </a:r>
          </a:p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Follow subject experts on Social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75409F34-0086-04C9-E63C-3B44509B78E1}"/>
              </a:ext>
            </a:extLst>
          </p:cNvPr>
          <p:cNvCxnSpPr>
            <a:cxnSpLocks/>
          </p:cNvCxnSpPr>
          <p:nvPr/>
        </p:nvCxnSpPr>
        <p:spPr>
          <a:xfrm>
            <a:off x="3677491" y="5018285"/>
            <a:ext cx="0" cy="310635"/>
          </a:xfrm>
          <a:prstGeom prst="line">
            <a:avLst/>
          </a:prstGeo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D153DC08-0945-EA76-9C6E-3A605FBB12EA}"/>
              </a:ext>
            </a:extLst>
          </p:cNvPr>
          <p:cNvSpPr txBox="1"/>
          <p:nvPr/>
        </p:nvSpPr>
        <p:spPr>
          <a:xfrm>
            <a:off x="3743808" y="5455165"/>
            <a:ext cx="1641511" cy="3106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57%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effectLst/>
                <a:uLnTx/>
                <a:uFillTx/>
                <a:latin typeface="Poppins-Regular"/>
                <a:ea typeface="+mn-ea"/>
                <a:cs typeface="+mn-cs"/>
              </a:rPr>
              <a:t>(136ai)</a:t>
            </a:r>
          </a:p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Usually seek advice before purchase decision</a:t>
            </a: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DD4C57FF-6726-7BC3-2B7F-457975208172}"/>
              </a:ext>
            </a:extLst>
          </p:cNvPr>
          <p:cNvCxnSpPr>
            <a:cxnSpLocks/>
          </p:cNvCxnSpPr>
          <p:nvPr/>
        </p:nvCxnSpPr>
        <p:spPr>
          <a:xfrm>
            <a:off x="3677491" y="5455165"/>
            <a:ext cx="0" cy="427475"/>
          </a:xfrm>
          <a:prstGeom prst="line">
            <a:avLst/>
          </a:prstGeo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2" name="Content Placeholder 6">
            <a:extLst>
              <a:ext uri="{FF2B5EF4-FFF2-40B4-BE49-F238E27FC236}">
                <a16:creationId xmlns:a16="http://schemas.microsoft.com/office/drawing/2014/main" id="{5256F42C-DAED-E75F-8822-907100F4CA37}"/>
              </a:ext>
            </a:extLst>
          </p:cNvPr>
          <p:cNvGraphicFramePr>
            <a:graphicFrameLocks/>
          </p:cNvGraphicFramePr>
          <p:nvPr/>
        </p:nvGraphicFramePr>
        <p:xfrm>
          <a:off x="5712025" y="4639716"/>
          <a:ext cx="1772564" cy="14588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5" name="Content Placeholder 6">
            <a:extLst>
              <a:ext uri="{FF2B5EF4-FFF2-40B4-BE49-F238E27FC236}">
                <a16:creationId xmlns:a16="http://schemas.microsoft.com/office/drawing/2014/main" id="{66DA3001-1E96-4C9E-3310-38442C129263}"/>
              </a:ext>
            </a:extLst>
          </p:cNvPr>
          <p:cNvGraphicFramePr>
            <a:graphicFrameLocks/>
          </p:cNvGraphicFramePr>
          <p:nvPr/>
        </p:nvGraphicFramePr>
        <p:xfrm>
          <a:off x="6544805" y="4630308"/>
          <a:ext cx="1687146" cy="14778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7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C3A72297-797D-4F5D-392A-6826E02C8297}"/>
              </a:ext>
            </a:extLst>
          </p:cNvPr>
          <p:cNvSpPr txBox="1"/>
          <p:nvPr/>
        </p:nvSpPr>
        <p:spPr>
          <a:xfrm>
            <a:off x="7819809" y="2597616"/>
            <a:ext cx="1800000" cy="3033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ctr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Daily penetration </a:t>
            </a:r>
          </a:p>
          <a:p>
            <a:pPr marL="0" marR="0" lvl="0" indent="0" algn="ctr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Top Channels</a:t>
            </a:r>
          </a:p>
        </p:txBody>
      </p:sp>
      <p:sp>
        <p:nvSpPr>
          <p:cNvPr id="1024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5D430913-6AAE-C6F3-2CBD-5573F1231476}"/>
              </a:ext>
            </a:extLst>
          </p:cNvPr>
          <p:cNvSpPr txBox="1"/>
          <p:nvPr/>
        </p:nvSpPr>
        <p:spPr>
          <a:xfrm>
            <a:off x="9729044" y="2597616"/>
            <a:ext cx="1800000" cy="3033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ctr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Daily Time Spent (min) </a:t>
            </a:r>
          </a:p>
          <a:p>
            <a:pPr marL="0" marR="0" lvl="0" indent="0" algn="ctr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Top Channels</a:t>
            </a:r>
          </a:p>
        </p:txBody>
      </p:sp>
      <p:graphicFrame>
        <p:nvGraphicFramePr>
          <p:cNvPr id="1025" name="Content Placeholder 6">
            <a:extLst>
              <a:ext uri="{FF2B5EF4-FFF2-40B4-BE49-F238E27FC236}">
                <a16:creationId xmlns:a16="http://schemas.microsoft.com/office/drawing/2014/main" id="{5BAF2D3F-7608-1C68-A83F-A68F68A53BBA}"/>
              </a:ext>
            </a:extLst>
          </p:cNvPr>
          <p:cNvGraphicFramePr>
            <a:graphicFrameLocks/>
          </p:cNvGraphicFramePr>
          <p:nvPr/>
        </p:nvGraphicFramePr>
        <p:xfrm>
          <a:off x="7728804" y="2861417"/>
          <a:ext cx="1577816" cy="14244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26" name="Content Placeholder 6">
            <a:extLst>
              <a:ext uri="{FF2B5EF4-FFF2-40B4-BE49-F238E27FC236}">
                <a16:creationId xmlns:a16="http://schemas.microsoft.com/office/drawing/2014/main" id="{A3962A0A-7B9F-0AE5-1BAE-59E7816F593D}"/>
              </a:ext>
            </a:extLst>
          </p:cNvPr>
          <p:cNvGraphicFramePr>
            <a:graphicFrameLocks/>
          </p:cNvGraphicFramePr>
          <p:nvPr/>
        </p:nvGraphicFramePr>
        <p:xfrm>
          <a:off x="8328782" y="2861417"/>
          <a:ext cx="1687146" cy="14429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27" name="Content Placeholder 6">
            <a:extLst>
              <a:ext uri="{FF2B5EF4-FFF2-40B4-BE49-F238E27FC236}">
                <a16:creationId xmlns:a16="http://schemas.microsoft.com/office/drawing/2014/main" id="{94258224-67E7-44F1-0D8D-B189BE7A74D9}"/>
              </a:ext>
            </a:extLst>
          </p:cNvPr>
          <p:cNvGraphicFramePr>
            <a:graphicFrameLocks/>
          </p:cNvGraphicFramePr>
          <p:nvPr/>
        </p:nvGraphicFramePr>
        <p:xfrm>
          <a:off x="9772502" y="2861417"/>
          <a:ext cx="1577816" cy="14244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028" name="Content Placeholder 6">
            <a:extLst>
              <a:ext uri="{FF2B5EF4-FFF2-40B4-BE49-F238E27FC236}">
                <a16:creationId xmlns:a16="http://schemas.microsoft.com/office/drawing/2014/main" id="{DB459441-5661-72B4-EB0A-8C3D10C042D1}"/>
              </a:ext>
            </a:extLst>
          </p:cNvPr>
          <p:cNvGraphicFramePr>
            <a:graphicFrameLocks/>
          </p:cNvGraphicFramePr>
          <p:nvPr/>
        </p:nvGraphicFramePr>
        <p:xfrm>
          <a:off x="10573456" y="2860977"/>
          <a:ext cx="1335520" cy="1457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cxnSp>
        <p:nvCxnSpPr>
          <p:cNvPr id="1030" name="Straight Connector 1029">
            <a:extLst>
              <a:ext uri="{FF2B5EF4-FFF2-40B4-BE49-F238E27FC236}">
                <a16:creationId xmlns:a16="http://schemas.microsoft.com/office/drawing/2014/main" id="{87F6A96A-27FF-066D-8899-39942EAA7671}"/>
              </a:ext>
            </a:extLst>
          </p:cNvPr>
          <p:cNvCxnSpPr>
            <a:cxnSpLocks/>
          </p:cNvCxnSpPr>
          <p:nvPr/>
        </p:nvCxnSpPr>
        <p:spPr>
          <a:xfrm>
            <a:off x="9687576" y="2618341"/>
            <a:ext cx="0" cy="1699659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Straight Connector 1032">
            <a:extLst>
              <a:ext uri="{FF2B5EF4-FFF2-40B4-BE49-F238E27FC236}">
                <a16:creationId xmlns:a16="http://schemas.microsoft.com/office/drawing/2014/main" id="{18C42ADE-75CC-6FFC-A525-447F1090B78B}"/>
              </a:ext>
            </a:extLst>
          </p:cNvPr>
          <p:cNvCxnSpPr>
            <a:cxnSpLocks/>
          </p:cNvCxnSpPr>
          <p:nvPr/>
        </p:nvCxnSpPr>
        <p:spPr>
          <a:xfrm flipH="1">
            <a:off x="7787211" y="4321941"/>
            <a:ext cx="3795189" cy="0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6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C08CEB35-B178-1153-7189-42F3A86B6951}"/>
              </a:ext>
            </a:extLst>
          </p:cNvPr>
          <p:cNvSpPr txBox="1"/>
          <p:nvPr/>
        </p:nvSpPr>
        <p:spPr>
          <a:xfrm>
            <a:off x="7819809" y="4395936"/>
            <a:ext cx="854452" cy="3033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ctr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TV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aphicFrame>
        <p:nvGraphicFramePr>
          <p:cNvPr id="1039" name="Chart 1038">
            <a:extLst>
              <a:ext uri="{FF2B5EF4-FFF2-40B4-BE49-F238E27FC236}">
                <a16:creationId xmlns:a16="http://schemas.microsoft.com/office/drawing/2014/main" id="{2A02709A-D96C-1C31-D2B5-EC86E2D5D5E8}"/>
              </a:ext>
            </a:extLst>
          </p:cNvPr>
          <p:cNvGraphicFramePr/>
          <p:nvPr/>
        </p:nvGraphicFramePr>
        <p:xfrm>
          <a:off x="8686787" y="4282418"/>
          <a:ext cx="3045926" cy="11288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037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EF8262BE-6CF6-BB32-2222-5B8EC9AAD747}"/>
              </a:ext>
            </a:extLst>
          </p:cNvPr>
          <p:cNvSpPr txBox="1"/>
          <p:nvPr/>
        </p:nvSpPr>
        <p:spPr>
          <a:xfrm>
            <a:off x="8903541" y="4395936"/>
            <a:ext cx="2605980" cy="3033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ctr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Top Streaming Global Platforms</a:t>
            </a:r>
          </a:p>
        </p:txBody>
      </p:sp>
      <p:graphicFrame>
        <p:nvGraphicFramePr>
          <p:cNvPr id="1042" name="Chart 1041">
            <a:extLst>
              <a:ext uri="{FF2B5EF4-FFF2-40B4-BE49-F238E27FC236}">
                <a16:creationId xmlns:a16="http://schemas.microsoft.com/office/drawing/2014/main" id="{A7969295-9C3A-D2C4-557B-EA3637787F49}"/>
              </a:ext>
            </a:extLst>
          </p:cNvPr>
          <p:cNvGraphicFramePr/>
          <p:nvPr/>
        </p:nvGraphicFramePr>
        <p:xfrm>
          <a:off x="7608892" y="4382169"/>
          <a:ext cx="1300460" cy="9522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1049" name="Group 1048">
            <a:extLst>
              <a:ext uri="{FF2B5EF4-FFF2-40B4-BE49-F238E27FC236}">
                <a16:creationId xmlns:a16="http://schemas.microsoft.com/office/drawing/2014/main" id="{3E855A04-0520-570E-EA16-E2D55B4A4A52}"/>
              </a:ext>
            </a:extLst>
          </p:cNvPr>
          <p:cNvGrpSpPr/>
          <p:nvPr/>
        </p:nvGrpSpPr>
        <p:grpSpPr>
          <a:xfrm>
            <a:off x="7782786" y="5197980"/>
            <a:ext cx="1120755" cy="200055"/>
            <a:chOff x="7852030" y="5299279"/>
            <a:chExt cx="1120755" cy="200055"/>
          </a:xfrm>
        </p:grpSpPr>
        <p:sp>
          <p:nvSpPr>
            <p:cNvPr id="1043" name="TextBox 1042">
              <a:extLst>
                <a:ext uri="{FF2B5EF4-FFF2-40B4-BE49-F238E27FC236}">
                  <a16:creationId xmlns:a16="http://schemas.microsoft.com/office/drawing/2014/main" id="{1C090F06-BB51-FA26-6ADC-A5E6CFC1CE34}"/>
                </a:ext>
              </a:extLst>
            </p:cNvPr>
            <p:cNvSpPr txBox="1"/>
            <p:nvPr/>
          </p:nvSpPr>
          <p:spPr>
            <a:xfrm>
              <a:off x="7881063" y="5299279"/>
              <a:ext cx="35137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rPr>
                <a:t>Live</a:t>
              </a:r>
            </a:p>
          </p:txBody>
        </p:sp>
        <p:sp>
          <p:nvSpPr>
            <p:cNvPr id="1044" name="Oval 1043">
              <a:extLst>
                <a:ext uri="{FF2B5EF4-FFF2-40B4-BE49-F238E27FC236}">
                  <a16:creationId xmlns:a16="http://schemas.microsoft.com/office/drawing/2014/main" id="{E37D228C-B57A-F569-C891-63FF4AB2945F}"/>
                </a:ext>
              </a:extLst>
            </p:cNvPr>
            <p:cNvSpPr/>
            <p:nvPr/>
          </p:nvSpPr>
          <p:spPr>
            <a:xfrm>
              <a:off x="7852030" y="5350530"/>
              <a:ext cx="87396" cy="8739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1045" name="TextBox 1044">
              <a:extLst>
                <a:ext uri="{FF2B5EF4-FFF2-40B4-BE49-F238E27FC236}">
                  <a16:creationId xmlns:a16="http://schemas.microsoft.com/office/drawing/2014/main" id="{01594C16-7782-423E-E9E1-1D18DF0AF3E9}"/>
                </a:ext>
              </a:extLst>
            </p:cNvPr>
            <p:cNvSpPr txBox="1"/>
            <p:nvPr/>
          </p:nvSpPr>
          <p:spPr>
            <a:xfrm>
              <a:off x="8267143" y="5299279"/>
              <a:ext cx="705642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rPr>
                <a:t>OnDemand</a:t>
              </a:r>
            </a:p>
          </p:txBody>
        </p:sp>
        <p:sp>
          <p:nvSpPr>
            <p:cNvPr id="1046" name="Oval 1045">
              <a:extLst>
                <a:ext uri="{FF2B5EF4-FFF2-40B4-BE49-F238E27FC236}">
                  <a16:creationId xmlns:a16="http://schemas.microsoft.com/office/drawing/2014/main" id="{74D3A721-7C39-3117-115E-DD07188DE280}"/>
                </a:ext>
              </a:extLst>
            </p:cNvPr>
            <p:cNvSpPr/>
            <p:nvPr/>
          </p:nvSpPr>
          <p:spPr>
            <a:xfrm>
              <a:off x="8238110" y="5350530"/>
              <a:ext cx="87396" cy="8739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</p:grpSp>
      <p:sp>
        <p:nvSpPr>
          <p:cNvPr id="1047" name="TextBox 1046">
            <a:extLst>
              <a:ext uri="{FF2B5EF4-FFF2-40B4-BE49-F238E27FC236}">
                <a16:creationId xmlns:a16="http://schemas.microsoft.com/office/drawing/2014/main" id="{4C8FDBD8-4816-E7AE-E8CB-19E4C6248B17}"/>
              </a:ext>
            </a:extLst>
          </p:cNvPr>
          <p:cNvSpPr txBox="1"/>
          <p:nvPr/>
        </p:nvSpPr>
        <p:spPr>
          <a:xfrm>
            <a:off x="7825195" y="4750188"/>
            <a:ext cx="35458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49%</a:t>
            </a:r>
          </a:p>
        </p:txBody>
      </p:sp>
      <p:sp>
        <p:nvSpPr>
          <p:cNvPr id="1048" name="TextBox 1047">
            <a:extLst>
              <a:ext uri="{FF2B5EF4-FFF2-40B4-BE49-F238E27FC236}">
                <a16:creationId xmlns:a16="http://schemas.microsoft.com/office/drawing/2014/main" id="{C6BADF84-9976-530A-F1BB-1454F59762A4}"/>
              </a:ext>
            </a:extLst>
          </p:cNvPr>
          <p:cNvSpPr txBox="1"/>
          <p:nvPr/>
        </p:nvSpPr>
        <p:spPr>
          <a:xfrm>
            <a:off x="8348423" y="4750188"/>
            <a:ext cx="32412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51%</a:t>
            </a:r>
          </a:p>
        </p:txBody>
      </p:sp>
      <p:pic>
        <p:nvPicPr>
          <p:cNvPr id="1050" name="Imagen 69" descr="Imagen que contiene exterior, firmar, calle, oscuro&#10;&#10;Descripción generada automáticamente">
            <a:extLst>
              <a:ext uri="{FF2B5EF4-FFF2-40B4-BE49-F238E27FC236}">
                <a16:creationId xmlns:a16="http://schemas.microsoft.com/office/drawing/2014/main" id="{2B6C4837-1520-01CB-7CFB-66F0F6D330A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0797" y="4668653"/>
            <a:ext cx="369628" cy="369628"/>
          </a:xfrm>
          <a:prstGeom prst="rect">
            <a:avLst/>
          </a:prstGeom>
        </p:spPr>
      </p:pic>
      <p:cxnSp>
        <p:nvCxnSpPr>
          <p:cNvPr id="1051" name="Straight Connector 1050">
            <a:extLst>
              <a:ext uri="{FF2B5EF4-FFF2-40B4-BE49-F238E27FC236}">
                <a16:creationId xmlns:a16="http://schemas.microsoft.com/office/drawing/2014/main" id="{EC53502D-C1F5-7224-347F-02427C5DF21A}"/>
              </a:ext>
            </a:extLst>
          </p:cNvPr>
          <p:cNvCxnSpPr>
            <a:cxnSpLocks/>
          </p:cNvCxnSpPr>
          <p:nvPr/>
        </p:nvCxnSpPr>
        <p:spPr>
          <a:xfrm flipH="1">
            <a:off x="7787211" y="5397881"/>
            <a:ext cx="3795189" cy="0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2" name="Lorem ipsum dolor sit amet, consectetur adipiscing elit, sed do eiusmod tempor incididunt ut labore et dolore magna aliqua.">
            <a:extLst>
              <a:ext uri="{FF2B5EF4-FFF2-40B4-BE49-F238E27FC236}">
                <a16:creationId xmlns:a16="http://schemas.microsoft.com/office/drawing/2014/main" id="{AC5F8EC6-699E-B626-3854-5A61FABC9D76}"/>
              </a:ext>
            </a:extLst>
          </p:cNvPr>
          <p:cNvSpPr txBox="1"/>
          <p:nvPr/>
        </p:nvSpPr>
        <p:spPr>
          <a:xfrm>
            <a:off x="7782786" y="5462054"/>
            <a:ext cx="705642" cy="4758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ctr">
              <a:defRPr>
                <a:solidFill>
                  <a:srgbClr val="808285"/>
                </a:solidFill>
              </a:defRPr>
            </a:lvl1pPr>
          </a:lstStyle>
          <a:p>
            <a:pPr marL="0" marR="0" lvl="0" indent="0" algn="l" defTabSz="1088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Top 5 Relevant touchpoints</a:t>
            </a:r>
          </a:p>
        </p:txBody>
      </p:sp>
      <p:graphicFrame>
        <p:nvGraphicFramePr>
          <p:cNvPr id="1053" name="Content Placeholder 3">
            <a:extLst>
              <a:ext uri="{FF2B5EF4-FFF2-40B4-BE49-F238E27FC236}">
                <a16:creationId xmlns:a16="http://schemas.microsoft.com/office/drawing/2014/main" id="{41CB6C66-393A-75E9-494E-6AFD81049557}"/>
              </a:ext>
            </a:extLst>
          </p:cNvPr>
          <p:cNvGraphicFramePr>
            <a:graphicFrameLocks/>
          </p:cNvGraphicFramePr>
          <p:nvPr/>
        </p:nvGraphicFramePr>
        <p:xfrm>
          <a:off x="8408849" y="5337978"/>
          <a:ext cx="3321345" cy="849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055" name="Oval 1054">
            <a:extLst>
              <a:ext uri="{FF2B5EF4-FFF2-40B4-BE49-F238E27FC236}">
                <a16:creationId xmlns:a16="http://schemas.microsoft.com/office/drawing/2014/main" id="{70B4CAE3-C047-6C4D-6E33-6601C74C9EB8}"/>
              </a:ext>
            </a:extLst>
          </p:cNvPr>
          <p:cNvSpPr>
            <a:spLocks noChangeAspect="1"/>
          </p:cNvSpPr>
          <p:nvPr/>
        </p:nvSpPr>
        <p:spPr>
          <a:xfrm>
            <a:off x="10649889" y="5667978"/>
            <a:ext cx="108000" cy="10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56" name="Triangle 1055">
            <a:extLst>
              <a:ext uri="{FF2B5EF4-FFF2-40B4-BE49-F238E27FC236}">
                <a16:creationId xmlns:a16="http://schemas.microsoft.com/office/drawing/2014/main" id="{5E153C65-8176-4984-6E7B-3130E80C0135}"/>
              </a:ext>
            </a:extLst>
          </p:cNvPr>
          <p:cNvSpPr/>
          <p:nvPr/>
        </p:nvSpPr>
        <p:spPr>
          <a:xfrm>
            <a:off x="8900809" y="5676652"/>
            <a:ext cx="108000" cy="93104"/>
          </a:xfrm>
          <a:prstGeom prst="triangl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57" name="Triangle 1056">
            <a:extLst>
              <a:ext uri="{FF2B5EF4-FFF2-40B4-BE49-F238E27FC236}">
                <a16:creationId xmlns:a16="http://schemas.microsoft.com/office/drawing/2014/main" id="{E1610F11-F896-4A6E-353E-084E5F5986A0}"/>
              </a:ext>
            </a:extLst>
          </p:cNvPr>
          <p:cNvSpPr/>
          <p:nvPr/>
        </p:nvSpPr>
        <p:spPr>
          <a:xfrm flipV="1">
            <a:off x="9485009" y="5698877"/>
            <a:ext cx="108000" cy="93104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58" name="Triangle 1057">
            <a:extLst>
              <a:ext uri="{FF2B5EF4-FFF2-40B4-BE49-F238E27FC236}">
                <a16:creationId xmlns:a16="http://schemas.microsoft.com/office/drawing/2014/main" id="{063DF931-3FDC-0276-2803-FD9E44FB4E7F}"/>
              </a:ext>
            </a:extLst>
          </p:cNvPr>
          <p:cNvSpPr/>
          <p:nvPr/>
        </p:nvSpPr>
        <p:spPr>
          <a:xfrm>
            <a:off x="10075559" y="5743327"/>
            <a:ext cx="108000" cy="93104"/>
          </a:xfrm>
          <a:prstGeom prst="triangl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59" name="Triangle 1058">
            <a:extLst>
              <a:ext uri="{FF2B5EF4-FFF2-40B4-BE49-F238E27FC236}">
                <a16:creationId xmlns:a16="http://schemas.microsoft.com/office/drawing/2014/main" id="{FA09F24C-DC40-AFE4-C973-DCF9713D6E1F}"/>
              </a:ext>
            </a:extLst>
          </p:cNvPr>
          <p:cNvSpPr/>
          <p:nvPr/>
        </p:nvSpPr>
        <p:spPr>
          <a:xfrm>
            <a:off x="10650234" y="5810002"/>
            <a:ext cx="108000" cy="93104"/>
          </a:xfrm>
          <a:prstGeom prst="triangl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60" name="Triangle 1059">
            <a:extLst>
              <a:ext uri="{FF2B5EF4-FFF2-40B4-BE49-F238E27FC236}">
                <a16:creationId xmlns:a16="http://schemas.microsoft.com/office/drawing/2014/main" id="{3C629B38-6959-AA6F-889F-A0DBA09D7A47}"/>
              </a:ext>
            </a:extLst>
          </p:cNvPr>
          <p:cNvSpPr/>
          <p:nvPr/>
        </p:nvSpPr>
        <p:spPr>
          <a:xfrm>
            <a:off x="11250309" y="5822702"/>
            <a:ext cx="108000" cy="93104"/>
          </a:xfrm>
          <a:prstGeom prst="triangl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3" name="Round Same-side Corner of Rectangle 7">
            <a:extLst>
              <a:ext uri="{FF2B5EF4-FFF2-40B4-BE49-F238E27FC236}">
                <a16:creationId xmlns:a16="http://schemas.microsoft.com/office/drawing/2014/main" id="{935F5F7A-70AA-4F43-3A87-06AFA63C9CAB}"/>
              </a:ext>
            </a:extLst>
          </p:cNvPr>
          <p:cNvSpPr/>
          <p:nvPr/>
        </p:nvSpPr>
        <p:spPr>
          <a:xfrm rot="10800000">
            <a:off x="10154862" y="-67235"/>
            <a:ext cx="1681453" cy="574871"/>
          </a:xfrm>
          <a:prstGeom prst="round2SameRect">
            <a:avLst>
              <a:gd name="adj1" fmla="val 24269"/>
              <a:gd name="adj2" fmla="val 0"/>
            </a:avLst>
          </a:prstGeom>
          <a:solidFill>
            <a:schemeClr val="bg2"/>
          </a:solidFill>
          <a:ln w="12700">
            <a:solidFill>
              <a:schemeClr val="tx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4" name="Group 20">
            <a:extLst>
              <a:ext uri="{FF2B5EF4-FFF2-40B4-BE49-F238E27FC236}">
                <a16:creationId xmlns:a16="http://schemas.microsoft.com/office/drawing/2014/main" id="{9CEB2160-C22E-848F-9E03-AFBC01764517}"/>
              </a:ext>
            </a:extLst>
          </p:cNvPr>
          <p:cNvGrpSpPr/>
          <p:nvPr/>
        </p:nvGrpSpPr>
        <p:grpSpPr>
          <a:xfrm>
            <a:off x="10366304" y="124456"/>
            <a:ext cx="1401292" cy="307777"/>
            <a:chOff x="1940295" y="2086507"/>
            <a:chExt cx="2955261" cy="649088"/>
          </a:xfrm>
        </p:grpSpPr>
        <p:sp>
          <p:nvSpPr>
            <p:cNvPr id="5" name="Oval 33">
              <a:extLst>
                <a:ext uri="{FF2B5EF4-FFF2-40B4-BE49-F238E27FC236}">
                  <a16:creationId xmlns:a16="http://schemas.microsoft.com/office/drawing/2014/main" id="{202BEED8-0C11-FA0B-C869-B11980CD9E02}"/>
                </a:ext>
              </a:extLst>
            </p:cNvPr>
            <p:cNvSpPr/>
            <p:nvPr/>
          </p:nvSpPr>
          <p:spPr>
            <a:xfrm>
              <a:off x="1940295" y="2112019"/>
              <a:ext cx="598068" cy="5980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6" name="TextBox 22">
              <a:extLst>
                <a:ext uri="{FF2B5EF4-FFF2-40B4-BE49-F238E27FC236}">
                  <a16:creationId xmlns:a16="http://schemas.microsoft.com/office/drawing/2014/main" id="{6B935AF2-F2E1-BC27-71D8-53D9FDBAA296}"/>
                </a:ext>
              </a:extLst>
            </p:cNvPr>
            <p:cNvSpPr txBox="1"/>
            <p:nvPr/>
          </p:nvSpPr>
          <p:spPr>
            <a:xfrm>
              <a:off x="2518275" y="2086507"/>
              <a:ext cx="2377281" cy="64908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BCFF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Audiencia</a:t>
              </a:r>
            </a:p>
          </p:txBody>
        </p:sp>
      </p:grpSp>
      <p:sp>
        <p:nvSpPr>
          <p:cNvPr id="7" name="Google Shape;1138;p39">
            <a:extLst>
              <a:ext uri="{FF2B5EF4-FFF2-40B4-BE49-F238E27FC236}">
                <a16:creationId xmlns:a16="http://schemas.microsoft.com/office/drawing/2014/main" id="{E5EDFB94-12F1-2487-7C45-552BBF0B8FE2}"/>
              </a:ext>
            </a:extLst>
          </p:cNvPr>
          <p:cNvSpPr>
            <a:spLocks noChangeAspect="1"/>
          </p:cNvSpPr>
          <p:nvPr/>
        </p:nvSpPr>
        <p:spPr>
          <a:xfrm>
            <a:off x="10410875" y="209365"/>
            <a:ext cx="184918" cy="12525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55" h="21600" extrusionOk="0">
                <a:moveTo>
                  <a:pt x="10775" y="0"/>
                </a:moveTo>
                <a:cubicBezTo>
                  <a:pt x="8891" y="0"/>
                  <a:pt x="7365" y="2267"/>
                  <a:pt x="7365" y="5054"/>
                </a:cubicBezTo>
                <a:cubicBezTo>
                  <a:pt x="7365" y="7841"/>
                  <a:pt x="8891" y="10098"/>
                  <a:pt x="10775" y="10098"/>
                </a:cubicBezTo>
                <a:cubicBezTo>
                  <a:pt x="12659" y="10098"/>
                  <a:pt x="14185" y="7841"/>
                  <a:pt x="14185" y="5054"/>
                </a:cubicBezTo>
                <a:cubicBezTo>
                  <a:pt x="14185" y="2267"/>
                  <a:pt x="12659" y="0"/>
                  <a:pt x="10775" y="0"/>
                </a:cubicBezTo>
                <a:close/>
                <a:moveTo>
                  <a:pt x="10775" y="920"/>
                </a:moveTo>
                <a:cubicBezTo>
                  <a:pt x="12316" y="920"/>
                  <a:pt x="13569" y="2774"/>
                  <a:pt x="13569" y="5054"/>
                </a:cubicBezTo>
                <a:cubicBezTo>
                  <a:pt x="13569" y="7334"/>
                  <a:pt x="12316" y="9179"/>
                  <a:pt x="10775" y="9179"/>
                </a:cubicBezTo>
                <a:cubicBezTo>
                  <a:pt x="9233" y="9179"/>
                  <a:pt x="7987" y="7334"/>
                  <a:pt x="7987" y="5054"/>
                </a:cubicBezTo>
                <a:cubicBezTo>
                  <a:pt x="7987" y="2774"/>
                  <a:pt x="9233" y="920"/>
                  <a:pt x="10775" y="920"/>
                </a:cubicBezTo>
                <a:close/>
                <a:moveTo>
                  <a:pt x="4083" y="3907"/>
                </a:moveTo>
                <a:cubicBezTo>
                  <a:pt x="2817" y="3905"/>
                  <a:pt x="1790" y="5418"/>
                  <a:pt x="1789" y="7292"/>
                </a:cubicBezTo>
                <a:cubicBezTo>
                  <a:pt x="1788" y="9165"/>
                  <a:pt x="2810" y="10685"/>
                  <a:pt x="4077" y="10686"/>
                </a:cubicBezTo>
                <a:cubicBezTo>
                  <a:pt x="5344" y="10687"/>
                  <a:pt x="6371" y="9175"/>
                  <a:pt x="6372" y="7301"/>
                </a:cubicBezTo>
                <a:cubicBezTo>
                  <a:pt x="6372" y="7300"/>
                  <a:pt x="6372" y="7293"/>
                  <a:pt x="6372" y="7292"/>
                </a:cubicBezTo>
                <a:cubicBezTo>
                  <a:pt x="6370" y="5420"/>
                  <a:pt x="5348" y="3909"/>
                  <a:pt x="4083" y="3907"/>
                </a:cubicBezTo>
                <a:close/>
                <a:moveTo>
                  <a:pt x="17479" y="3907"/>
                </a:moveTo>
                <a:cubicBezTo>
                  <a:pt x="16212" y="3907"/>
                  <a:pt x="15184" y="5418"/>
                  <a:pt x="15184" y="7292"/>
                </a:cubicBezTo>
                <a:cubicBezTo>
                  <a:pt x="15184" y="9165"/>
                  <a:pt x="16212" y="10686"/>
                  <a:pt x="17479" y="10686"/>
                </a:cubicBezTo>
                <a:cubicBezTo>
                  <a:pt x="18746" y="10686"/>
                  <a:pt x="19774" y="9165"/>
                  <a:pt x="19774" y="7292"/>
                </a:cubicBezTo>
                <a:cubicBezTo>
                  <a:pt x="19772" y="5417"/>
                  <a:pt x="18745" y="3908"/>
                  <a:pt x="17479" y="3907"/>
                </a:cubicBezTo>
                <a:close/>
                <a:moveTo>
                  <a:pt x="4077" y="4817"/>
                </a:moveTo>
                <a:cubicBezTo>
                  <a:pt x="5001" y="4816"/>
                  <a:pt x="5749" y="5925"/>
                  <a:pt x="5750" y="7292"/>
                </a:cubicBezTo>
                <a:cubicBezTo>
                  <a:pt x="5749" y="8659"/>
                  <a:pt x="5006" y="9764"/>
                  <a:pt x="4083" y="9766"/>
                </a:cubicBezTo>
                <a:cubicBezTo>
                  <a:pt x="3159" y="9768"/>
                  <a:pt x="2405" y="8659"/>
                  <a:pt x="2404" y="7292"/>
                </a:cubicBezTo>
                <a:cubicBezTo>
                  <a:pt x="2403" y="5925"/>
                  <a:pt x="3153" y="4818"/>
                  <a:pt x="4077" y="4817"/>
                </a:cubicBezTo>
                <a:close/>
                <a:moveTo>
                  <a:pt x="17479" y="4817"/>
                </a:moveTo>
                <a:cubicBezTo>
                  <a:pt x="18403" y="4817"/>
                  <a:pt x="19152" y="5925"/>
                  <a:pt x="19152" y="7292"/>
                </a:cubicBezTo>
                <a:cubicBezTo>
                  <a:pt x="19151" y="8658"/>
                  <a:pt x="18403" y="9765"/>
                  <a:pt x="17479" y="9766"/>
                </a:cubicBezTo>
                <a:cubicBezTo>
                  <a:pt x="16555" y="9766"/>
                  <a:pt x="15806" y="8659"/>
                  <a:pt x="15806" y="7292"/>
                </a:cubicBezTo>
                <a:cubicBezTo>
                  <a:pt x="15806" y="5925"/>
                  <a:pt x="16555" y="4817"/>
                  <a:pt x="17479" y="4817"/>
                </a:cubicBezTo>
                <a:close/>
                <a:moveTo>
                  <a:pt x="10775" y="11246"/>
                </a:moveTo>
                <a:cubicBezTo>
                  <a:pt x="9400" y="11246"/>
                  <a:pt x="8026" y="11950"/>
                  <a:pt x="6916" y="13360"/>
                </a:cubicBezTo>
                <a:cubicBezTo>
                  <a:pt x="6174" y="12202"/>
                  <a:pt x="5143" y="11536"/>
                  <a:pt x="4064" y="11521"/>
                </a:cubicBezTo>
                <a:cubicBezTo>
                  <a:pt x="2059" y="11521"/>
                  <a:pt x="280" y="13959"/>
                  <a:pt x="7" y="17068"/>
                </a:cubicBezTo>
                <a:cubicBezTo>
                  <a:pt x="-22" y="17394"/>
                  <a:pt x="47" y="17720"/>
                  <a:pt x="193" y="17968"/>
                </a:cubicBezTo>
                <a:cubicBezTo>
                  <a:pt x="336" y="18207"/>
                  <a:pt x="541" y="18346"/>
                  <a:pt x="757" y="18348"/>
                </a:cubicBezTo>
                <a:lnTo>
                  <a:pt x="4692" y="18348"/>
                </a:lnTo>
                <a:cubicBezTo>
                  <a:pt x="4593" y="18844"/>
                  <a:pt x="4519" y="19352"/>
                  <a:pt x="4474" y="19865"/>
                </a:cubicBezTo>
                <a:cubicBezTo>
                  <a:pt x="4435" y="20307"/>
                  <a:pt x="4527" y="20751"/>
                  <a:pt x="4724" y="21088"/>
                </a:cubicBezTo>
                <a:cubicBezTo>
                  <a:pt x="4917" y="21413"/>
                  <a:pt x="5195" y="21600"/>
                  <a:pt x="5487" y="21600"/>
                </a:cubicBezTo>
                <a:lnTo>
                  <a:pt x="16063" y="21600"/>
                </a:lnTo>
                <a:cubicBezTo>
                  <a:pt x="16355" y="21600"/>
                  <a:pt x="16633" y="21413"/>
                  <a:pt x="16825" y="21088"/>
                </a:cubicBezTo>
                <a:cubicBezTo>
                  <a:pt x="17023" y="20751"/>
                  <a:pt x="17114" y="20307"/>
                  <a:pt x="17075" y="19865"/>
                </a:cubicBezTo>
                <a:cubicBezTo>
                  <a:pt x="17030" y="19352"/>
                  <a:pt x="16957" y="18844"/>
                  <a:pt x="16857" y="18348"/>
                </a:cubicBezTo>
                <a:lnTo>
                  <a:pt x="20799" y="18348"/>
                </a:lnTo>
                <a:cubicBezTo>
                  <a:pt x="21015" y="18346"/>
                  <a:pt x="21220" y="18208"/>
                  <a:pt x="21363" y="17968"/>
                </a:cubicBezTo>
                <a:cubicBezTo>
                  <a:pt x="21509" y="17720"/>
                  <a:pt x="21578" y="17394"/>
                  <a:pt x="21549" y="17068"/>
                </a:cubicBezTo>
                <a:cubicBezTo>
                  <a:pt x="21276" y="13959"/>
                  <a:pt x="19490" y="11521"/>
                  <a:pt x="17485" y="11521"/>
                </a:cubicBezTo>
                <a:cubicBezTo>
                  <a:pt x="16407" y="11536"/>
                  <a:pt x="15376" y="12202"/>
                  <a:pt x="14633" y="13360"/>
                </a:cubicBezTo>
                <a:cubicBezTo>
                  <a:pt x="13523" y="11950"/>
                  <a:pt x="12149" y="11246"/>
                  <a:pt x="10775" y="11246"/>
                </a:cubicBezTo>
                <a:close/>
                <a:moveTo>
                  <a:pt x="10775" y="12165"/>
                </a:moveTo>
                <a:cubicBezTo>
                  <a:pt x="13578" y="12165"/>
                  <a:pt x="16075" y="15602"/>
                  <a:pt x="16460" y="19979"/>
                </a:cubicBezTo>
                <a:cubicBezTo>
                  <a:pt x="16475" y="20160"/>
                  <a:pt x="16439" y="20343"/>
                  <a:pt x="16357" y="20481"/>
                </a:cubicBezTo>
                <a:cubicBezTo>
                  <a:pt x="16283" y="20608"/>
                  <a:pt x="16176" y="20690"/>
                  <a:pt x="16063" y="20690"/>
                </a:cubicBezTo>
                <a:lnTo>
                  <a:pt x="5487" y="20690"/>
                </a:lnTo>
                <a:cubicBezTo>
                  <a:pt x="5373" y="20690"/>
                  <a:pt x="5267" y="20608"/>
                  <a:pt x="5192" y="20481"/>
                </a:cubicBezTo>
                <a:cubicBezTo>
                  <a:pt x="5111" y="20343"/>
                  <a:pt x="5074" y="20160"/>
                  <a:pt x="5090" y="19979"/>
                </a:cubicBezTo>
                <a:cubicBezTo>
                  <a:pt x="5474" y="15595"/>
                  <a:pt x="7971" y="12165"/>
                  <a:pt x="10775" y="12165"/>
                </a:cubicBezTo>
                <a:close/>
                <a:moveTo>
                  <a:pt x="4064" y="12440"/>
                </a:moveTo>
                <a:cubicBezTo>
                  <a:pt x="4968" y="12456"/>
                  <a:pt x="5831" y="13009"/>
                  <a:pt x="6455" y="13976"/>
                </a:cubicBezTo>
                <a:cubicBezTo>
                  <a:pt x="5784" y="14959"/>
                  <a:pt x="5255" y="16131"/>
                  <a:pt x="4904" y="17428"/>
                </a:cubicBezTo>
                <a:cubicBezTo>
                  <a:pt x="4904" y="17428"/>
                  <a:pt x="757" y="17428"/>
                  <a:pt x="757" y="17428"/>
                </a:cubicBezTo>
                <a:cubicBezTo>
                  <a:pt x="719" y="17428"/>
                  <a:pt x="678" y="17405"/>
                  <a:pt x="654" y="17362"/>
                </a:cubicBezTo>
                <a:cubicBezTo>
                  <a:pt x="625" y="17314"/>
                  <a:pt x="616" y="17255"/>
                  <a:pt x="622" y="17191"/>
                </a:cubicBezTo>
                <a:cubicBezTo>
                  <a:pt x="855" y="14528"/>
                  <a:pt x="2365" y="12440"/>
                  <a:pt x="4064" y="12440"/>
                </a:cubicBezTo>
                <a:close/>
                <a:moveTo>
                  <a:pt x="17485" y="12440"/>
                </a:moveTo>
                <a:cubicBezTo>
                  <a:pt x="19191" y="12440"/>
                  <a:pt x="20695" y="14518"/>
                  <a:pt x="20927" y="17181"/>
                </a:cubicBezTo>
                <a:cubicBezTo>
                  <a:pt x="20935" y="17244"/>
                  <a:pt x="20923" y="17313"/>
                  <a:pt x="20895" y="17362"/>
                </a:cubicBezTo>
                <a:cubicBezTo>
                  <a:pt x="20871" y="17405"/>
                  <a:pt x="20837" y="17428"/>
                  <a:pt x="20799" y="17428"/>
                </a:cubicBezTo>
                <a:lnTo>
                  <a:pt x="16646" y="17428"/>
                </a:lnTo>
                <a:cubicBezTo>
                  <a:pt x="16294" y="16131"/>
                  <a:pt x="15766" y="14959"/>
                  <a:pt x="15095" y="13976"/>
                </a:cubicBezTo>
                <a:cubicBezTo>
                  <a:pt x="15718" y="13009"/>
                  <a:pt x="16582" y="12456"/>
                  <a:pt x="17485" y="12440"/>
                </a:cubicBezTo>
                <a:close/>
              </a:path>
            </a:pathLst>
          </a:cu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2FEFD22-4107-DB55-D70A-AFEC65214A87}"/>
              </a:ext>
            </a:extLst>
          </p:cNvPr>
          <p:cNvSpPr txBox="1"/>
          <p:nvPr/>
        </p:nvSpPr>
        <p:spPr>
          <a:xfrm>
            <a:off x="3085731" y="3318613"/>
            <a:ext cx="54057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GUATEMALA / AGENCIA LOCAL TGI</a:t>
            </a:r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28645029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058A2336-2334-A075-6BBD-27CA7A30F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2400" b="1"/>
              <a:t>Momentos clave | ¿Cuándo se utiliza en la </a:t>
            </a:r>
            <a:r>
              <a:rPr lang="es-MX" sz="2400" b="1" err="1"/>
              <a:t>categoria</a:t>
            </a:r>
            <a:r>
              <a:rPr lang="es-MX" sz="2400" b="1"/>
              <a:t>?</a:t>
            </a: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2C6D4EE-636D-7D92-2C57-1476BA8D40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7420346-0D66-6A45-52CA-7F819358D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14</a:t>
            </a:fld>
            <a:endParaRPr lang="es-MX"/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5272A8E1-F4B4-9524-89A7-7C6DD37BAB74}"/>
              </a:ext>
            </a:extLst>
          </p:cNvPr>
          <p:cNvSpPr/>
          <p:nvPr/>
        </p:nvSpPr>
        <p:spPr>
          <a:xfrm>
            <a:off x="4534412" y="2030497"/>
            <a:ext cx="3350918" cy="7645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200" i="1">
                <a:solidFill>
                  <a:schemeClr val="tx1"/>
                </a:solidFill>
              </a:rPr>
              <a:t>SUSTITUIR CON EJEMPLO DE MENCIÓN DE SOCIAL LISTENING</a:t>
            </a:r>
          </a:p>
        </p:txBody>
      </p:sp>
      <p:sp>
        <p:nvSpPr>
          <p:cNvPr id="23" name="Rectangle 117">
            <a:extLst>
              <a:ext uri="{FF2B5EF4-FFF2-40B4-BE49-F238E27FC236}">
                <a16:creationId xmlns:a16="http://schemas.microsoft.com/office/drawing/2014/main" id="{7E14DDEE-4F64-113B-9D14-0A73881B3C7A}"/>
              </a:ext>
            </a:extLst>
          </p:cNvPr>
          <p:cNvSpPr/>
          <p:nvPr/>
        </p:nvSpPr>
        <p:spPr>
          <a:xfrm>
            <a:off x="4534412" y="1538523"/>
            <a:ext cx="3350919" cy="3667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[OCCASION]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7CB9561D-C14F-3320-F701-A34C7DE5A565}"/>
              </a:ext>
            </a:extLst>
          </p:cNvPr>
          <p:cNvSpPr/>
          <p:nvPr/>
        </p:nvSpPr>
        <p:spPr>
          <a:xfrm>
            <a:off x="8085854" y="2030497"/>
            <a:ext cx="3350918" cy="7645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200" i="1">
                <a:solidFill>
                  <a:schemeClr val="tx1"/>
                </a:solidFill>
              </a:rPr>
              <a:t>SUSTITUIR CON EJEMPLO DE MENCIÓN DE SOCIAL LISTENING</a:t>
            </a:r>
          </a:p>
        </p:txBody>
      </p:sp>
      <p:sp>
        <p:nvSpPr>
          <p:cNvPr id="25" name="Rectangle 117">
            <a:extLst>
              <a:ext uri="{FF2B5EF4-FFF2-40B4-BE49-F238E27FC236}">
                <a16:creationId xmlns:a16="http://schemas.microsoft.com/office/drawing/2014/main" id="{6B65914B-A819-CDE8-DF1D-9F32943676CB}"/>
              </a:ext>
            </a:extLst>
          </p:cNvPr>
          <p:cNvSpPr/>
          <p:nvPr/>
        </p:nvSpPr>
        <p:spPr>
          <a:xfrm>
            <a:off x="8085854" y="1538523"/>
            <a:ext cx="3350919" cy="3667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[OCCASION]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349D8357-7E1A-E5E0-AAD4-A428C2F11928}"/>
              </a:ext>
            </a:extLst>
          </p:cNvPr>
          <p:cNvSpPr/>
          <p:nvPr/>
        </p:nvSpPr>
        <p:spPr>
          <a:xfrm>
            <a:off x="4534412" y="3485904"/>
            <a:ext cx="3350918" cy="7645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200" i="1">
                <a:solidFill>
                  <a:schemeClr val="tx1"/>
                </a:solidFill>
              </a:rPr>
              <a:t>SUSTITUIR CON EJEMPLO DE MENCIÓN DE SOCIAL LISTENING</a:t>
            </a:r>
          </a:p>
        </p:txBody>
      </p:sp>
      <p:sp>
        <p:nvSpPr>
          <p:cNvPr id="27" name="Rectangle 117">
            <a:extLst>
              <a:ext uri="{FF2B5EF4-FFF2-40B4-BE49-F238E27FC236}">
                <a16:creationId xmlns:a16="http://schemas.microsoft.com/office/drawing/2014/main" id="{97341E5B-24FF-160E-5598-378870324295}"/>
              </a:ext>
            </a:extLst>
          </p:cNvPr>
          <p:cNvSpPr/>
          <p:nvPr/>
        </p:nvSpPr>
        <p:spPr>
          <a:xfrm>
            <a:off x="4534412" y="2993930"/>
            <a:ext cx="3350919" cy="3667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[OCCASION]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01B8A032-E558-16E8-07E6-C77504B289E9}"/>
              </a:ext>
            </a:extLst>
          </p:cNvPr>
          <p:cNvSpPr/>
          <p:nvPr/>
        </p:nvSpPr>
        <p:spPr>
          <a:xfrm>
            <a:off x="8085854" y="3485904"/>
            <a:ext cx="3350918" cy="7645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200" i="1">
                <a:solidFill>
                  <a:schemeClr val="tx1"/>
                </a:solidFill>
              </a:rPr>
              <a:t>SUSTITUIR CON EJEMPLO DE MENCIÓN DE SOCIAL LISTENING</a:t>
            </a:r>
          </a:p>
        </p:txBody>
      </p:sp>
      <p:sp>
        <p:nvSpPr>
          <p:cNvPr id="29" name="Rectangle 117">
            <a:extLst>
              <a:ext uri="{FF2B5EF4-FFF2-40B4-BE49-F238E27FC236}">
                <a16:creationId xmlns:a16="http://schemas.microsoft.com/office/drawing/2014/main" id="{5702395D-868F-4C21-322F-1BB82E071428}"/>
              </a:ext>
            </a:extLst>
          </p:cNvPr>
          <p:cNvSpPr/>
          <p:nvPr/>
        </p:nvSpPr>
        <p:spPr>
          <a:xfrm>
            <a:off x="8085854" y="2993930"/>
            <a:ext cx="3350919" cy="3667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[OCCASION]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E47FF3AC-C273-C5C2-9BF0-6474F95798D6}"/>
              </a:ext>
            </a:extLst>
          </p:cNvPr>
          <p:cNvSpPr/>
          <p:nvPr/>
        </p:nvSpPr>
        <p:spPr>
          <a:xfrm>
            <a:off x="4534412" y="4970730"/>
            <a:ext cx="3350918" cy="7645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200" i="1">
                <a:solidFill>
                  <a:schemeClr val="tx1"/>
                </a:solidFill>
              </a:rPr>
              <a:t>SUSTITUIR CON EJEMPLO DE MENCIÓN DE SOCIAL LISTENING</a:t>
            </a:r>
          </a:p>
        </p:txBody>
      </p:sp>
      <p:sp>
        <p:nvSpPr>
          <p:cNvPr id="31" name="Rectangle 117">
            <a:extLst>
              <a:ext uri="{FF2B5EF4-FFF2-40B4-BE49-F238E27FC236}">
                <a16:creationId xmlns:a16="http://schemas.microsoft.com/office/drawing/2014/main" id="{397326F6-AF96-3796-FAA0-343C86CD285A}"/>
              </a:ext>
            </a:extLst>
          </p:cNvPr>
          <p:cNvSpPr/>
          <p:nvPr/>
        </p:nvSpPr>
        <p:spPr>
          <a:xfrm>
            <a:off x="4534412" y="4478756"/>
            <a:ext cx="3350919" cy="3667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[OCCASION]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234CF160-589E-2F83-59C0-6D59058DE798}"/>
              </a:ext>
            </a:extLst>
          </p:cNvPr>
          <p:cNvSpPr/>
          <p:nvPr/>
        </p:nvSpPr>
        <p:spPr>
          <a:xfrm>
            <a:off x="8085854" y="4970730"/>
            <a:ext cx="3350918" cy="7645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200" i="1">
                <a:solidFill>
                  <a:schemeClr val="tx1"/>
                </a:solidFill>
              </a:rPr>
              <a:t>SUSTITUIR CON EJEMPLO DE MENCIÓN DE SOCIAL LISTENING</a:t>
            </a:r>
          </a:p>
        </p:txBody>
      </p:sp>
      <p:sp>
        <p:nvSpPr>
          <p:cNvPr id="33" name="Rectangle 117">
            <a:extLst>
              <a:ext uri="{FF2B5EF4-FFF2-40B4-BE49-F238E27FC236}">
                <a16:creationId xmlns:a16="http://schemas.microsoft.com/office/drawing/2014/main" id="{6AF82A20-9818-756E-2EA3-0AC32B95D37C}"/>
              </a:ext>
            </a:extLst>
          </p:cNvPr>
          <p:cNvSpPr/>
          <p:nvPr/>
        </p:nvSpPr>
        <p:spPr>
          <a:xfrm>
            <a:off x="8085854" y="4478756"/>
            <a:ext cx="3350919" cy="3667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[OCCASION]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36" name="Gráfico 35">
            <a:extLst>
              <a:ext uri="{FF2B5EF4-FFF2-40B4-BE49-F238E27FC236}">
                <a16:creationId xmlns:a16="http://schemas.microsoft.com/office/drawing/2014/main" id="{F6FDF95A-C219-EC15-9CC8-AF6D143090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9582927"/>
              </p:ext>
            </p:extLst>
          </p:nvPr>
        </p:nvGraphicFramePr>
        <p:xfrm>
          <a:off x="641356" y="1634090"/>
          <a:ext cx="3578660" cy="3013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7" name="Rectángulo 36">
            <a:extLst>
              <a:ext uri="{FF2B5EF4-FFF2-40B4-BE49-F238E27FC236}">
                <a16:creationId xmlns:a16="http://schemas.microsoft.com/office/drawing/2014/main" id="{5D11D5E0-0D6A-A6A1-B490-7333AA33C75A}"/>
              </a:ext>
            </a:extLst>
          </p:cNvPr>
          <p:cNvSpPr/>
          <p:nvPr/>
        </p:nvSpPr>
        <p:spPr>
          <a:xfrm>
            <a:off x="755227" y="4854373"/>
            <a:ext cx="3350918" cy="764513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100">
                <a:solidFill>
                  <a:schemeClr val="tx1"/>
                </a:solidFill>
              </a:rPr>
              <a:t>Indicar si hay periodos de estacionalidad detectada</a:t>
            </a:r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7681773E-9D47-B352-EB39-AA1EE74769FF}"/>
              </a:ext>
            </a:extLst>
          </p:cNvPr>
          <p:cNvSpPr/>
          <p:nvPr/>
        </p:nvSpPr>
        <p:spPr>
          <a:xfrm>
            <a:off x="6167952" y="2866735"/>
            <a:ext cx="3927040" cy="3643601"/>
          </a:xfrm>
          <a:prstGeom prst="rect">
            <a:avLst/>
          </a:prstGeom>
          <a:solidFill>
            <a:srgbClr val="FBB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b="1">
                <a:solidFill>
                  <a:srgbClr val="C00000"/>
                </a:solidFill>
              </a:rPr>
              <a:t>BORRAR</a:t>
            </a:r>
          </a:p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es-MX" sz="1200" b="1">
                <a:solidFill>
                  <a:schemeClr val="tx1"/>
                </a:solidFill>
              </a:rPr>
              <a:t>Fuentes: </a:t>
            </a:r>
            <a:r>
              <a:rPr lang="es-MX" sz="1200" b="1" err="1">
                <a:solidFill>
                  <a:schemeClr val="tx1"/>
                </a:solidFill>
              </a:rPr>
              <a:t>Brandwatch</a:t>
            </a:r>
            <a:r>
              <a:rPr lang="es-MX" sz="1200" b="1">
                <a:solidFill>
                  <a:schemeClr val="tx1"/>
                </a:solidFill>
              </a:rPr>
              <a:t> y Google </a:t>
            </a:r>
            <a:r>
              <a:rPr lang="es-MX" sz="1200" b="1" err="1">
                <a:solidFill>
                  <a:schemeClr val="tx1"/>
                </a:solidFill>
              </a:rPr>
              <a:t>Trends</a:t>
            </a:r>
            <a:endParaRPr lang="es-MX" sz="1200" b="1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Aft>
                <a:spcPts val="600"/>
              </a:spcAft>
            </a:pPr>
            <a:endParaRPr lang="es-MX" sz="1200" b="1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es-MX" sz="1200">
                <a:solidFill>
                  <a:schemeClr val="tx1"/>
                </a:solidFill>
              </a:rPr>
              <a:t>En Google </a:t>
            </a:r>
            <a:r>
              <a:rPr lang="es-MX" sz="1200" err="1">
                <a:solidFill>
                  <a:schemeClr val="tx1"/>
                </a:solidFill>
              </a:rPr>
              <a:t>Trends</a:t>
            </a:r>
            <a:r>
              <a:rPr lang="es-MX" sz="1200">
                <a:solidFill>
                  <a:schemeClr val="tx1"/>
                </a:solidFill>
              </a:rPr>
              <a:t>, exportar la información de cada año y buscar categoría como “Tema” no “Término de Búsqueda”</a:t>
            </a:r>
          </a:p>
          <a:p>
            <a:pPr>
              <a:lnSpc>
                <a:spcPct val="110000"/>
              </a:lnSpc>
              <a:spcAft>
                <a:spcPts val="600"/>
              </a:spcAft>
            </a:pPr>
            <a:endParaRPr lang="es-MX" sz="120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es-MX" sz="1200">
                <a:solidFill>
                  <a:schemeClr val="tx1"/>
                </a:solidFill>
              </a:rPr>
              <a:t>En </a:t>
            </a:r>
            <a:r>
              <a:rPr lang="es-MX" sz="1200" err="1">
                <a:solidFill>
                  <a:schemeClr val="tx1"/>
                </a:solidFill>
              </a:rPr>
              <a:t>Brandwatch</a:t>
            </a:r>
            <a:r>
              <a:rPr lang="es-MX" sz="1200">
                <a:solidFill>
                  <a:schemeClr val="tx1"/>
                </a:solidFill>
              </a:rPr>
              <a:t>, buscar menciones sobre ocasiones de consumo. Ej. tipos de eventos, rutinas en el día, actividades, etc.</a:t>
            </a:r>
          </a:p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es-MX" sz="1200">
                <a:solidFill>
                  <a:schemeClr val="tx1"/>
                </a:solidFill>
              </a:rPr>
              <a:t>Buscar asociación con intereses indicados en </a:t>
            </a:r>
            <a:r>
              <a:rPr lang="es-MX" sz="1200" err="1">
                <a:solidFill>
                  <a:schemeClr val="tx1"/>
                </a:solidFill>
              </a:rPr>
              <a:t>slides</a:t>
            </a:r>
            <a:r>
              <a:rPr lang="es-MX" sz="1200">
                <a:solidFill>
                  <a:schemeClr val="tx1"/>
                </a:solidFill>
              </a:rPr>
              <a:t> anteriores.</a:t>
            </a:r>
          </a:p>
          <a:p>
            <a:pPr>
              <a:lnSpc>
                <a:spcPct val="110000"/>
              </a:lnSpc>
              <a:spcAft>
                <a:spcPts val="600"/>
              </a:spcAft>
            </a:pPr>
            <a:endParaRPr lang="es-MX" sz="1200">
              <a:solidFill>
                <a:schemeClr val="tx1"/>
              </a:solidFill>
            </a:endParaRPr>
          </a:p>
        </p:txBody>
      </p:sp>
      <p:sp>
        <p:nvSpPr>
          <p:cNvPr id="10" name="Round Same-side Corner of Rectangle 7">
            <a:extLst>
              <a:ext uri="{FF2B5EF4-FFF2-40B4-BE49-F238E27FC236}">
                <a16:creationId xmlns:a16="http://schemas.microsoft.com/office/drawing/2014/main" id="{BD2943E3-A227-109B-88E9-CF51902CB930}"/>
              </a:ext>
            </a:extLst>
          </p:cNvPr>
          <p:cNvSpPr/>
          <p:nvPr/>
        </p:nvSpPr>
        <p:spPr>
          <a:xfrm rot="10800000">
            <a:off x="10154862" y="-67235"/>
            <a:ext cx="1681453" cy="574871"/>
          </a:xfrm>
          <a:prstGeom prst="round2SameRect">
            <a:avLst>
              <a:gd name="adj1" fmla="val 24269"/>
              <a:gd name="adj2" fmla="val 0"/>
            </a:avLst>
          </a:prstGeom>
          <a:solidFill>
            <a:schemeClr val="bg2"/>
          </a:solidFill>
          <a:ln w="12700">
            <a:solidFill>
              <a:schemeClr val="tx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11" name="Group 20">
            <a:extLst>
              <a:ext uri="{FF2B5EF4-FFF2-40B4-BE49-F238E27FC236}">
                <a16:creationId xmlns:a16="http://schemas.microsoft.com/office/drawing/2014/main" id="{588E3B7B-4AA7-515B-6323-C68E5994CEA8}"/>
              </a:ext>
            </a:extLst>
          </p:cNvPr>
          <p:cNvGrpSpPr/>
          <p:nvPr/>
        </p:nvGrpSpPr>
        <p:grpSpPr>
          <a:xfrm>
            <a:off x="10366304" y="124456"/>
            <a:ext cx="1401292" cy="307777"/>
            <a:chOff x="1940295" y="2086507"/>
            <a:chExt cx="2955261" cy="649088"/>
          </a:xfrm>
        </p:grpSpPr>
        <p:sp>
          <p:nvSpPr>
            <p:cNvPr id="12" name="Oval 33">
              <a:extLst>
                <a:ext uri="{FF2B5EF4-FFF2-40B4-BE49-F238E27FC236}">
                  <a16:creationId xmlns:a16="http://schemas.microsoft.com/office/drawing/2014/main" id="{4C3FA751-328E-36A4-A875-0B304EEB928D}"/>
                </a:ext>
              </a:extLst>
            </p:cNvPr>
            <p:cNvSpPr/>
            <p:nvPr/>
          </p:nvSpPr>
          <p:spPr>
            <a:xfrm>
              <a:off x="1940295" y="2112019"/>
              <a:ext cx="598068" cy="5980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13" name="TextBox 22">
              <a:extLst>
                <a:ext uri="{FF2B5EF4-FFF2-40B4-BE49-F238E27FC236}">
                  <a16:creationId xmlns:a16="http://schemas.microsoft.com/office/drawing/2014/main" id="{B2572BEE-9F92-38D9-8087-CAD1AF1CB244}"/>
                </a:ext>
              </a:extLst>
            </p:cNvPr>
            <p:cNvSpPr txBox="1"/>
            <p:nvPr/>
          </p:nvSpPr>
          <p:spPr>
            <a:xfrm>
              <a:off x="2518275" y="2086507"/>
              <a:ext cx="2377281" cy="64908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BCFF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Audiencia</a:t>
              </a:r>
            </a:p>
          </p:txBody>
        </p:sp>
      </p:grpSp>
      <p:sp>
        <p:nvSpPr>
          <p:cNvPr id="14" name="Google Shape;1138;p39">
            <a:extLst>
              <a:ext uri="{FF2B5EF4-FFF2-40B4-BE49-F238E27FC236}">
                <a16:creationId xmlns:a16="http://schemas.microsoft.com/office/drawing/2014/main" id="{11C82297-B0C4-55C6-F2E9-A492CEBFC99A}"/>
              </a:ext>
            </a:extLst>
          </p:cNvPr>
          <p:cNvSpPr>
            <a:spLocks noChangeAspect="1"/>
          </p:cNvSpPr>
          <p:nvPr/>
        </p:nvSpPr>
        <p:spPr>
          <a:xfrm>
            <a:off x="10410875" y="209365"/>
            <a:ext cx="184918" cy="12525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55" h="21600" extrusionOk="0">
                <a:moveTo>
                  <a:pt x="10775" y="0"/>
                </a:moveTo>
                <a:cubicBezTo>
                  <a:pt x="8891" y="0"/>
                  <a:pt x="7365" y="2267"/>
                  <a:pt x="7365" y="5054"/>
                </a:cubicBezTo>
                <a:cubicBezTo>
                  <a:pt x="7365" y="7841"/>
                  <a:pt x="8891" y="10098"/>
                  <a:pt x="10775" y="10098"/>
                </a:cubicBezTo>
                <a:cubicBezTo>
                  <a:pt x="12659" y="10098"/>
                  <a:pt x="14185" y="7841"/>
                  <a:pt x="14185" y="5054"/>
                </a:cubicBezTo>
                <a:cubicBezTo>
                  <a:pt x="14185" y="2267"/>
                  <a:pt x="12659" y="0"/>
                  <a:pt x="10775" y="0"/>
                </a:cubicBezTo>
                <a:close/>
                <a:moveTo>
                  <a:pt x="10775" y="920"/>
                </a:moveTo>
                <a:cubicBezTo>
                  <a:pt x="12316" y="920"/>
                  <a:pt x="13569" y="2774"/>
                  <a:pt x="13569" y="5054"/>
                </a:cubicBezTo>
                <a:cubicBezTo>
                  <a:pt x="13569" y="7334"/>
                  <a:pt x="12316" y="9179"/>
                  <a:pt x="10775" y="9179"/>
                </a:cubicBezTo>
                <a:cubicBezTo>
                  <a:pt x="9233" y="9179"/>
                  <a:pt x="7987" y="7334"/>
                  <a:pt x="7987" y="5054"/>
                </a:cubicBezTo>
                <a:cubicBezTo>
                  <a:pt x="7987" y="2774"/>
                  <a:pt x="9233" y="920"/>
                  <a:pt x="10775" y="920"/>
                </a:cubicBezTo>
                <a:close/>
                <a:moveTo>
                  <a:pt x="4083" y="3907"/>
                </a:moveTo>
                <a:cubicBezTo>
                  <a:pt x="2817" y="3905"/>
                  <a:pt x="1790" y="5418"/>
                  <a:pt x="1789" y="7292"/>
                </a:cubicBezTo>
                <a:cubicBezTo>
                  <a:pt x="1788" y="9165"/>
                  <a:pt x="2810" y="10685"/>
                  <a:pt x="4077" y="10686"/>
                </a:cubicBezTo>
                <a:cubicBezTo>
                  <a:pt x="5344" y="10687"/>
                  <a:pt x="6371" y="9175"/>
                  <a:pt x="6372" y="7301"/>
                </a:cubicBezTo>
                <a:cubicBezTo>
                  <a:pt x="6372" y="7300"/>
                  <a:pt x="6372" y="7293"/>
                  <a:pt x="6372" y="7292"/>
                </a:cubicBezTo>
                <a:cubicBezTo>
                  <a:pt x="6370" y="5420"/>
                  <a:pt x="5348" y="3909"/>
                  <a:pt x="4083" y="3907"/>
                </a:cubicBezTo>
                <a:close/>
                <a:moveTo>
                  <a:pt x="17479" y="3907"/>
                </a:moveTo>
                <a:cubicBezTo>
                  <a:pt x="16212" y="3907"/>
                  <a:pt x="15184" y="5418"/>
                  <a:pt x="15184" y="7292"/>
                </a:cubicBezTo>
                <a:cubicBezTo>
                  <a:pt x="15184" y="9165"/>
                  <a:pt x="16212" y="10686"/>
                  <a:pt x="17479" y="10686"/>
                </a:cubicBezTo>
                <a:cubicBezTo>
                  <a:pt x="18746" y="10686"/>
                  <a:pt x="19774" y="9165"/>
                  <a:pt x="19774" y="7292"/>
                </a:cubicBezTo>
                <a:cubicBezTo>
                  <a:pt x="19772" y="5417"/>
                  <a:pt x="18745" y="3908"/>
                  <a:pt x="17479" y="3907"/>
                </a:cubicBezTo>
                <a:close/>
                <a:moveTo>
                  <a:pt x="4077" y="4817"/>
                </a:moveTo>
                <a:cubicBezTo>
                  <a:pt x="5001" y="4816"/>
                  <a:pt x="5749" y="5925"/>
                  <a:pt x="5750" y="7292"/>
                </a:cubicBezTo>
                <a:cubicBezTo>
                  <a:pt x="5749" y="8659"/>
                  <a:pt x="5006" y="9764"/>
                  <a:pt x="4083" y="9766"/>
                </a:cubicBezTo>
                <a:cubicBezTo>
                  <a:pt x="3159" y="9768"/>
                  <a:pt x="2405" y="8659"/>
                  <a:pt x="2404" y="7292"/>
                </a:cubicBezTo>
                <a:cubicBezTo>
                  <a:pt x="2403" y="5925"/>
                  <a:pt x="3153" y="4818"/>
                  <a:pt x="4077" y="4817"/>
                </a:cubicBezTo>
                <a:close/>
                <a:moveTo>
                  <a:pt x="17479" y="4817"/>
                </a:moveTo>
                <a:cubicBezTo>
                  <a:pt x="18403" y="4817"/>
                  <a:pt x="19152" y="5925"/>
                  <a:pt x="19152" y="7292"/>
                </a:cubicBezTo>
                <a:cubicBezTo>
                  <a:pt x="19151" y="8658"/>
                  <a:pt x="18403" y="9765"/>
                  <a:pt x="17479" y="9766"/>
                </a:cubicBezTo>
                <a:cubicBezTo>
                  <a:pt x="16555" y="9766"/>
                  <a:pt x="15806" y="8659"/>
                  <a:pt x="15806" y="7292"/>
                </a:cubicBezTo>
                <a:cubicBezTo>
                  <a:pt x="15806" y="5925"/>
                  <a:pt x="16555" y="4817"/>
                  <a:pt x="17479" y="4817"/>
                </a:cubicBezTo>
                <a:close/>
                <a:moveTo>
                  <a:pt x="10775" y="11246"/>
                </a:moveTo>
                <a:cubicBezTo>
                  <a:pt x="9400" y="11246"/>
                  <a:pt x="8026" y="11950"/>
                  <a:pt x="6916" y="13360"/>
                </a:cubicBezTo>
                <a:cubicBezTo>
                  <a:pt x="6174" y="12202"/>
                  <a:pt x="5143" y="11536"/>
                  <a:pt x="4064" y="11521"/>
                </a:cubicBezTo>
                <a:cubicBezTo>
                  <a:pt x="2059" y="11521"/>
                  <a:pt x="280" y="13959"/>
                  <a:pt x="7" y="17068"/>
                </a:cubicBezTo>
                <a:cubicBezTo>
                  <a:pt x="-22" y="17394"/>
                  <a:pt x="47" y="17720"/>
                  <a:pt x="193" y="17968"/>
                </a:cubicBezTo>
                <a:cubicBezTo>
                  <a:pt x="336" y="18207"/>
                  <a:pt x="541" y="18346"/>
                  <a:pt x="757" y="18348"/>
                </a:cubicBezTo>
                <a:lnTo>
                  <a:pt x="4692" y="18348"/>
                </a:lnTo>
                <a:cubicBezTo>
                  <a:pt x="4593" y="18844"/>
                  <a:pt x="4519" y="19352"/>
                  <a:pt x="4474" y="19865"/>
                </a:cubicBezTo>
                <a:cubicBezTo>
                  <a:pt x="4435" y="20307"/>
                  <a:pt x="4527" y="20751"/>
                  <a:pt x="4724" y="21088"/>
                </a:cubicBezTo>
                <a:cubicBezTo>
                  <a:pt x="4917" y="21413"/>
                  <a:pt x="5195" y="21600"/>
                  <a:pt x="5487" y="21600"/>
                </a:cubicBezTo>
                <a:lnTo>
                  <a:pt x="16063" y="21600"/>
                </a:lnTo>
                <a:cubicBezTo>
                  <a:pt x="16355" y="21600"/>
                  <a:pt x="16633" y="21413"/>
                  <a:pt x="16825" y="21088"/>
                </a:cubicBezTo>
                <a:cubicBezTo>
                  <a:pt x="17023" y="20751"/>
                  <a:pt x="17114" y="20307"/>
                  <a:pt x="17075" y="19865"/>
                </a:cubicBezTo>
                <a:cubicBezTo>
                  <a:pt x="17030" y="19352"/>
                  <a:pt x="16957" y="18844"/>
                  <a:pt x="16857" y="18348"/>
                </a:cubicBezTo>
                <a:lnTo>
                  <a:pt x="20799" y="18348"/>
                </a:lnTo>
                <a:cubicBezTo>
                  <a:pt x="21015" y="18346"/>
                  <a:pt x="21220" y="18208"/>
                  <a:pt x="21363" y="17968"/>
                </a:cubicBezTo>
                <a:cubicBezTo>
                  <a:pt x="21509" y="17720"/>
                  <a:pt x="21578" y="17394"/>
                  <a:pt x="21549" y="17068"/>
                </a:cubicBezTo>
                <a:cubicBezTo>
                  <a:pt x="21276" y="13959"/>
                  <a:pt x="19490" y="11521"/>
                  <a:pt x="17485" y="11521"/>
                </a:cubicBezTo>
                <a:cubicBezTo>
                  <a:pt x="16407" y="11536"/>
                  <a:pt x="15376" y="12202"/>
                  <a:pt x="14633" y="13360"/>
                </a:cubicBezTo>
                <a:cubicBezTo>
                  <a:pt x="13523" y="11950"/>
                  <a:pt x="12149" y="11246"/>
                  <a:pt x="10775" y="11246"/>
                </a:cubicBezTo>
                <a:close/>
                <a:moveTo>
                  <a:pt x="10775" y="12165"/>
                </a:moveTo>
                <a:cubicBezTo>
                  <a:pt x="13578" y="12165"/>
                  <a:pt x="16075" y="15602"/>
                  <a:pt x="16460" y="19979"/>
                </a:cubicBezTo>
                <a:cubicBezTo>
                  <a:pt x="16475" y="20160"/>
                  <a:pt x="16439" y="20343"/>
                  <a:pt x="16357" y="20481"/>
                </a:cubicBezTo>
                <a:cubicBezTo>
                  <a:pt x="16283" y="20608"/>
                  <a:pt x="16176" y="20690"/>
                  <a:pt x="16063" y="20690"/>
                </a:cubicBezTo>
                <a:lnTo>
                  <a:pt x="5487" y="20690"/>
                </a:lnTo>
                <a:cubicBezTo>
                  <a:pt x="5373" y="20690"/>
                  <a:pt x="5267" y="20608"/>
                  <a:pt x="5192" y="20481"/>
                </a:cubicBezTo>
                <a:cubicBezTo>
                  <a:pt x="5111" y="20343"/>
                  <a:pt x="5074" y="20160"/>
                  <a:pt x="5090" y="19979"/>
                </a:cubicBezTo>
                <a:cubicBezTo>
                  <a:pt x="5474" y="15595"/>
                  <a:pt x="7971" y="12165"/>
                  <a:pt x="10775" y="12165"/>
                </a:cubicBezTo>
                <a:close/>
                <a:moveTo>
                  <a:pt x="4064" y="12440"/>
                </a:moveTo>
                <a:cubicBezTo>
                  <a:pt x="4968" y="12456"/>
                  <a:pt x="5831" y="13009"/>
                  <a:pt x="6455" y="13976"/>
                </a:cubicBezTo>
                <a:cubicBezTo>
                  <a:pt x="5784" y="14959"/>
                  <a:pt x="5255" y="16131"/>
                  <a:pt x="4904" y="17428"/>
                </a:cubicBezTo>
                <a:cubicBezTo>
                  <a:pt x="4904" y="17428"/>
                  <a:pt x="757" y="17428"/>
                  <a:pt x="757" y="17428"/>
                </a:cubicBezTo>
                <a:cubicBezTo>
                  <a:pt x="719" y="17428"/>
                  <a:pt x="678" y="17405"/>
                  <a:pt x="654" y="17362"/>
                </a:cubicBezTo>
                <a:cubicBezTo>
                  <a:pt x="625" y="17314"/>
                  <a:pt x="616" y="17255"/>
                  <a:pt x="622" y="17191"/>
                </a:cubicBezTo>
                <a:cubicBezTo>
                  <a:pt x="855" y="14528"/>
                  <a:pt x="2365" y="12440"/>
                  <a:pt x="4064" y="12440"/>
                </a:cubicBezTo>
                <a:close/>
                <a:moveTo>
                  <a:pt x="17485" y="12440"/>
                </a:moveTo>
                <a:cubicBezTo>
                  <a:pt x="19191" y="12440"/>
                  <a:pt x="20695" y="14518"/>
                  <a:pt x="20927" y="17181"/>
                </a:cubicBezTo>
                <a:cubicBezTo>
                  <a:pt x="20935" y="17244"/>
                  <a:pt x="20923" y="17313"/>
                  <a:pt x="20895" y="17362"/>
                </a:cubicBezTo>
                <a:cubicBezTo>
                  <a:pt x="20871" y="17405"/>
                  <a:pt x="20837" y="17428"/>
                  <a:pt x="20799" y="17428"/>
                </a:cubicBezTo>
                <a:lnTo>
                  <a:pt x="16646" y="17428"/>
                </a:lnTo>
                <a:cubicBezTo>
                  <a:pt x="16294" y="16131"/>
                  <a:pt x="15766" y="14959"/>
                  <a:pt x="15095" y="13976"/>
                </a:cubicBezTo>
                <a:cubicBezTo>
                  <a:pt x="15718" y="13009"/>
                  <a:pt x="16582" y="12456"/>
                  <a:pt x="17485" y="12440"/>
                </a:cubicBezTo>
                <a:close/>
              </a:path>
            </a:pathLst>
          </a:cu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B38862D3-5E8B-D017-3ED6-D43772E0CAA9}"/>
              </a:ext>
            </a:extLst>
          </p:cNvPr>
          <p:cNvSpPr txBox="1"/>
          <p:nvPr/>
        </p:nvSpPr>
        <p:spPr>
          <a:xfrm>
            <a:off x="3085731" y="2254313"/>
            <a:ext cx="54057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GUATEMALA</a:t>
            </a:r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36372656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14453F45-ABBC-A982-F3F2-7E8BF6B544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2400" b="1">
                <a:latin typeface="+mn-lt"/>
              </a:rPr>
              <a:t>Datos digitales relevantes</a:t>
            </a: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59DB2D4C-F4BC-A945-AB29-1E6015E9AA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>
                <a:latin typeface="+mn-lt"/>
              </a:rPr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6A49505-FAEE-12EC-1639-AFCD242806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>
                <a:latin typeface="+mn-lt"/>
              </a:rPr>
              <a:t>15</a:t>
            </a:fld>
            <a:endParaRPr lang="es-MX">
              <a:latin typeface="+mn-lt"/>
            </a:endParaRPr>
          </a:p>
        </p:txBody>
      </p:sp>
      <p:sp>
        <p:nvSpPr>
          <p:cNvPr id="10" name="Parallelogram 53">
            <a:extLst>
              <a:ext uri="{FF2B5EF4-FFF2-40B4-BE49-F238E27FC236}">
                <a16:creationId xmlns:a16="http://schemas.microsoft.com/office/drawing/2014/main" id="{0B0EEF46-BDA6-A647-DCCA-9B9208D258E5}"/>
              </a:ext>
            </a:extLst>
          </p:cNvPr>
          <p:cNvSpPr/>
          <p:nvPr/>
        </p:nvSpPr>
        <p:spPr>
          <a:xfrm rot="10800000" flipH="1" flipV="1">
            <a:off x="564289" y="2808706"/>
            <a:ext cx="2571953" cy="1793774"/>
          </a:xfrm>
          <a:prstGeom prst="parallelogram">
            <a:avLst>
              <a:gd name="adj" fmla="val 0"/>
            </a:avLst>
          </a:prstGeom>
          <a:solidFill>
            <a:srgbClr val="FFC000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IMAGEN DE EJEMPLO DE ACTIVIDAD – PLATAFORMAS NUEVAS</a:t>
            </a:r>
          </a:p>
        </p:txBody>
      </p:sp>
      <p:sp>
        <p:nvSpPr>
          <p:cNvPr id="12" name="Rectangle 117">
            <a:extLst>
              <a:ext uri="{FF2B5EF4-FFF2-40B4-BE49-F238E27FC236}">
                <a16:creationId xmlns:a16="http://schemas.microsoft.com/office/drawing/2014/main" id="{87546BD3-50A7-2BFF-328B-CB19E31E4837}"/>
              </a:ext>
            </a:extLst>
          </p:cNvPr>
          <p:cNvSpPr/>
          <p:nvPr/>
        </p:nvSpPr>
        <p:spPr>
          <a:xfrm>
            <a:off x="437644" y="1275562"/>
            <a:ext cx="3000625" cy="2921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DIGITAL PRESENC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Rectangle 117">
            <a:extLst>
              <a:ext uri="{FF2B5EF4-FFF2-40B4-BE49-F238E27FC236}">
                <a16:creationId xmlns:a16="http://schemas.microsoft.com/office/drawing/2014/main" id="{1F97D26C-FE6A-9E8E-F4F7-69D11FCE5F96}"/>
              </a:ext>
            </a:extLst>
          </p:cNvPr>
          <p:cNvSpPr/>
          <p:nvPr/>
        </p:nvSpPr>
        <p:spPr>
          <a:xfrm>
            <a:off x="3630870" y="1275561"/>
            <a:ext cx="3000625" cy="2921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ONTENT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Rectangle 117">
            <a:extLst>
              <a:ext uri="{FF2B5EF4-FFF2-40B4-BE49-F238E27FC236}">
                <a16:creationId xmlns:a16="http://schemas.microsoft.com/office/drawing/2014/main" id="{3B7C2856-EF97-05EA-76E5-15B5851E3385}"/>
              </a:ext>
            </a:extLst>
          </p:cNvPr>
          <p:cNvSpPr/>
          <p:nvPr/>
        </p:nvSpPr>
        <p:spPr>
          <a:xfrm>
            <a:off x="6824095" y="1275560"/>
            <a:ext cx="3000625" cy="2921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OMMUNICATION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Parallelogram 53">
            <a:extLst>
              <a:ext uri="{FF2B5EF4-FFF2-40B4-BE49-F238E27FC236}">
                <a16:creationId xmlns:a16="http://schemas.microsoft.com/office/drawing/2014/main" id="{C2AEB750-8ABA-7CED-638B-42727DA842C7}"/>
              </a:ext>
            </a:extLst>
          </p:cNvPr>
          <p:cNvSpPr/>
          <p:nvPr/>
        </p:nvSpPr>
        <p:spPr>
          <a:xfrm rot="10800000" flipH="1" flipV="1">
            <a:off x="3755223" y="2808706"/>
            <a:ext cx="2571953" cy="1793774"/>
          </a:xfrm>
          <a:prstGeom prst="parallelogram">
            <a:avLst>
              <a:gd name="adj" fmla="val 0"/>
            </a:avLst>
          </a:prstGeom>
          <a:solidFill>
            <a:srgbClr val="FFC000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IMAGEN DE EJEMPLO DE ACTIVIDA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FORMATOS DIFERENCIADOS, INFLUENCERS, CONTENT PARTNERS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Parallelogram 53">
            <a:extLst>
              <a:ext uri="{FF2B5EF4-FFF2-40B4-BE49-F238E27FC236}">
                <a16:creationId xmlns:a16="http://schemas.microsoft.com/office/drawing/2014/main" id="{7F223A67-808E-A12D-0042-337B39CC43A4}"/>
              </a:ext>
            </a:extLst>
          </p:cNvPr>
          <p:cNvSpPr/>
          <p:nvPr/>
        </p:nvSpPr>
        <p:spPr>
          <a:xfrm rot="10800000" flipH="1" flipV="1">
            <a:off x="6952514" y="2808706"/>
            <a:ext cx="2571953" cy="1793774"/>
          </a:xfrm>
          <a:prstGeom prst="parallelogram">
            <a:avLst>
              <a:gd name="adj" fmla="val 0"/>
            </a:avLst>
          </a:prstGeom>
          <a:solidFill>
            <a:srgbClr val="FFC000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IMAGEN DE EJEMPLO DE ACTIVIDA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+mn-ea"/>
                <a:cs typeface="+mn-cs"/>
              </a:rPr>
              <a:t>TERRITORIOS (EJ. DEPORTE), CLAIMS/ATRIBUTO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rgbClr val="FF0000"/>
                </a:solidFill>
              </a:rPr>
              <a:t>(CÓMO NOS PEGA EN HVA?)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710A5478-470F-AFCD-A990-37EF8ED55996}"/>
              </a:ext>
            </a:extLst>
          </p:cNvPr>
          <p:cNvSpPr/>
          <p:nvPr/>
        </p:nvSpPr>
        <p:spPr>
          <a:xfrm>
            <a:off x="437646" y="1606845"/>
            <a:ext cx="3000624" cy="855314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Key Highlights &amp; Recommendations</a:t>
            </a:r>
            <a:endParaRPr lang="en-GB" sz="1100" b="1">
              <a:solidFill>
                <a:srgbClr val="011627"/>
              </a:solidFill>
            </a:endParaRPr>
          </a:p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New channels detected, is there consistency? New digital presence from competitors?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2F8CC4E-65E4-C400-A204-D8524D40C2F8}"/>
              </a:ext>
            </a:extLst>
          </p:cNvPr>
          <p:cNvSpPr/>
          <p:nvPr/>
        </p:nvSpPr>
        <p:spPr>
          <a:xfrm>
            <a:off x="3630871" y="1606845"/>
            <a:ext cx="3000624" cy="855314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Key Highlights &amp; Recommendations</a:t>
            </a:r>
            <a:endParaRPr lang="en-GB" sz="1100" b="1">
              <a:solidFill>
                <a:srgbClr val="011627"/>
              </a:solidFill>
            </a:endParaRPr>
          </a:p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Any category of influencers or media content being used according to Shareable?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2904A130-032E-FB99-4E4F-045316F3633C}"/>
              </a:ext>
            </a:extLst>
          </p:cNvPr>
          <p:cNvSpPr/>
          <p:nvPr/>
        </p:nvSpPr>
        <p:spPr>
          <a:xfrm>
            <a:off x="6824096" y="1606845"/>
            <a:ext cx="3000624" cy="855314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Key Highlights &amp; Recommendations</a:t>
            </a:r>
            <a:endParaRPr lang="en-GB" sz="1100" b="1">
              <a:solidFill>
                <a:srgbClr val="011627"/>
              </a:solidFill>
            </a:endParaRPr>
          </a:p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Any key territories being explored to detect HVA?</a:t>
            </a:r>
          </a:p>
        </p:txBody>
      </p:sp>
      <p:sp>
        <p:nvSpPr>
          <p:cNvPr id="6" name="Marcador de texto 3">
            <a:extLst>
              <a:ext uri="{FF2B5EF4-FFF2-40B4-BE49-F238E27FC236}">
                <a16:creationId xmlns:a16="http://schemas.microsoft.com/office/drawing/2014/main" id="{936D0FD9-A3C7-F7A3-ECB9-F35F59877EBA}"/>
              </a:ext>
            </a:extLst>
          </p:cNvPr>
          <p:cNvSpPr txBox="1">
            <a:spLocks/>
          </p:cNvSpPr>
          <p:nvPr/>
        </p:nvSpPr>
        <p:spPr>
          <a:xfrm>
            <a:off x="10068370" y="788754"/>
            <a:ext cx="2035660" cy="4391460"/>
          </a:xfrm>
          <a:prstGeom prst="roundRect">
            <a:avLst>
              <a:gd name="adj" fmla="val 9300"/>
            </a:avLst>
          </a:prstGeom>
          <a:noFill/>
          <a:ln w="19050" cap="flat" cmpd="sng" algn="ctr">
            <a:gradFill>
              <a:gsLst>
                <a:gs pos="0">
                  <a:srgbClr val="00BCFF"/>
                </a:gs>
                <a:gs pos="100000">
                  <a:srgbClr val="89D328"/>
                </a:gs>
              </a:gsLst>
              <a:lin ang="5400000" scaled="1"/>
            </a:gradFill>
            <a:prstDash val="solid"/>
            <a:miter lim="800000"/>
            <a:tailEnd type="none"/>
          </a:ln>
          <a:effectLst/>
        </p:spPr>
        <p:txBody>
          <a:bodyPr vert="horz" lIns="91440" tIns="45720" rIns="91440" bIns="45720" numCol="1" spcCol="360000" rtlCol="0" anchor="ctr">
            <a:noAutofit/>
          </a:bodyPr>
          <a:lstStyle>
            <a:lvl1pPr marL="0" indent="0" algn="ctr" defTabSz="3637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3637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3637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Clr>
                <a:schemeClr val="tx2"/>
              </a:buClr>
              <a:buFont typeface="System Font Regular"/>
              <a:buNone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stem Font Regular"/>
              <a:buNone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055" indent="0" algn="ctr" defTabSz="36370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00180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2032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3883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5734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6370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s-MX" sz="1200" spc="300">
              <a:solidFill>
                <a:schemeClr val="tx1"/>
              </a:solidFill>
            </a:endParaRPr>
          </a:p>
          <a:p>
            <a:pPr marL="0" marR="0" lvl="0" indent="0" algn="ctr" defTabSz="36370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0" i="0" u="none" strike="noStrike" kern="1200" cap="none" spc="30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BAYER </a:t>
            </a:r>
          </a:p>
          <a:p>
            <a:pPr marL="0" marR="0" lvl="0" indent="0" algn="ctr" defTabSz="36370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0" i="0" u="none" strike="noStrike" kern="1200" cap="none" spc="30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DIGITAL SOI</a:t>
            </a:r>
          </a:p>
          <a:p>
            <a:pPr>
              <a:spcAft>
                <a:spcPts val="600"/>
              </a:spcAft>
              <a:defRPr/>
            </a:pPr>
            <a:r>
              <a:rPr lang="es-MX" sz="5400">
                <a:gradFill>
                  <a:gsLst>
                    <a:gs pos="0">
                      <a:srgbClr val="00BCFF"/>
                    </a:gs>
                    <a:gs pos="99000">
                      <a:srgbClr val="89D328"/>
                    </a:gs>
                  </a:gsLst>
                  <a:lin ang="0" scaled="1"/>
                </a:gradFill>
                <a:cs typeface="Poppins SemiBold" pitchFamily="2" charset="77"/>
              </a:rPr>
              <a:t>$</a:t>
            </a:r>
            <a:r>
              <a:rPr lang="es-MX" sz="5400" err="1">
                <a:gradFill>
                  <a:gsLst>
                    <a:gs pos="0">
                      <a:srgbClr val="00BCFF"/>
                    </a:gs>
                    <a:gs pos="99000">
                      <a:srgbClr val="89D328"/>
                    </a:gs>
                  </a:gsLst>
                  <a:lin ang="0" scaled="1"/>
                </a:gradFill>
                <a:cs typeface="Poppins SemiBold" pitchFamily="2" charset="77"/>
              </a:rPr>
              <a:t>xx</a:t>
            </a:r>
            <a:endParaRPr lang="es-MX" sz="5400">
              <a:gradFill>
                <a:gsLst>
                  <a:gs pos="0">
                    <a:srgbClr val="00BCFF"/>
                  </a:gs>
                  <a:gs pos="99000">
                    <a:srgbClr val="89D328"/>
                  </a:gs>
                </a:gsLst>
                <a:lin ang="0" scaled="1"/>
              </a:gradFill>
              <a:cs typeface="Poppins SemiBold" pitchFamily="2" charset="77"/>
            </a:endParaRPr>
          </a:p>
          <a:p>
            <a:pPr marL="0" marR="0" lvl="0" indent="0" algn="ctr" defTabSz="36370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MX" sz="1200" b="0" i="0" u="none" strike="noStrike" kern="1200" cap="none" spc="30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36370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s-MX" sz="1200" spc="300">
              <a:solidFill>
                <a:schemeClr val="tx1"/>
              </a:solidFill>
            </a:endParaRPr>
          </a:p>
          <a:p>
            <a:pPr marL="0" marR="0" lvl="0" indent="0" algn="ctr" defTabSz="36370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MX" sz="1200" b="0" i="0" u="none" strike="noStrike" kern="1200" cap="none" spc="30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36370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MX" sz="1200" b="0" i="0" u="none" strike="noStrike" kern="1200" cap="none" spc="30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36370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0" i="0" u="none" strike="noStrike" kern="1200" cap="none" spc="30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META / Google</a:t>
            </a:r>
            <a:endParaRPr kumimoji="0" lang="es-MX" sz="1200" b="1" i="0" u="none" strike="noStrike" kern="1200" cap="none" spc="30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36370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900" b="0" i="0" u="none" strike="noStrike" kern="1200" cap="none" spc="30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SOV</a:t>
            </a:r>
          </a:p>
          <a:p>
            <a:pPr marR="0" lvl="0" fontAlgn="auto">
              <a:spcAft>
                <a:spcPts val="600"/>
              </a:spcAft>
              <a:buClrTx/>
              <a:buSzTx/>
              <a:tabLst/>
              <a:defRPr/>
            </a:pPr>
            <a:r>
              <a:rPr lang="es-MX" sz="5400">
                <a:gradFill>
                  <a:gsLst>
                    <a:gs pos="0">
                      <a:srgbClr val="00BCFF"/>
                    </a:gs>
                    <a:gs pos="99000">
                      <a:srgbClr val="89D328"/>
                    </a:gs>
                  </a:gsLst>
                  <a:lin ang="0" scaled="1"/>
                </a:gradFill>
                <a:cs typeface="Poppins SemiBold" pitchFamily="2" charset="77"/>
              </a:rPr>
              <a:t>XX</a:t>
            </a:r>
          </a:p>
          <a:p>
            <a:pPr marL="0" marR="0" lvl="0" indent="0" algn="ctr" defTabSz="36370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MX" sz="1200" b="0" i="0" u="none" strike="noStrike" kern="1200" cap="none" spc="30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274BF7FB-7F93-E963-A0E1-7A01FEB59569}"/>
              </a:ext>
            </a:extLst>
          </p:cNvPr>
          <p:cNvCxnSpPr>
            <a:cxnSpLocks/>
          </p:cNvCxnSpPr>
          <p:nvPr/>
        </p:nvCxnSpPr>
        <p:spPr>
          <a:xfrm>
            <a:off x="10396316" y="2941764"/>
            <a:ext cx="1440000" cy="0"/>
          </a:xfrm>
          <a:prstGeom prst="line">
            <a:avLst/>
          </a:prstGeom>
          <a:noFill/>
          <a:ln w="19050" cap="flat" cmpd="sng" algn="ctr">
            <a:gradFill>
              <a:gsLst>
                <a:gs pos="0">
                  <a:srgbClr val="00BCFF"/>
                </a:gs>
                <a:gs pos="100000">
                  <a:srgbClr val="89D328"/>
                </a:gs>
              </a:gsLst>
              <a:lin ang="5400000" scaled="1"/>
            </a:gradFill>
            <a:prstDash val="solid"/>
            <a:miter lim="800000"/>
            <a:tailEnd type="none"/>
          </a:ln>
          <a:effectLst/>
        </p:spPr>
      </p:cxnSp>
      <p:sp>
        <p:nvSpPr>
          <p:cNvPr id="4" name="Round Same-side Corner of Rectangle 7">
            <a:extLst>
              <a:ext uri="{FF2B5EF4-FFF2-40B4-BE49-F238E27FC236}">
                <a16:creationId xmlns:a16="http://schemas.microsoft.com/office/drawing/2014/main" id="{333B9579-B2AA-8851-7D45-31C0DDB80D35}"/>
              </a:ext>
            </a:extLst>
          </p:cNvPr>
          <p:cNvSpPr/>
          <p:nvPr/>
        </p:nvSpPr>
        <p:spPr>
          <a:xfrm rot="10800000">
            <a:off x="10154862" y="-67235"/>
            <a:ext cx="1681453" cy="574871"/>
          </a:xfrm>
          <a:prstGeom prst="round2SameRect">
            <a:avLst>
              <a:gd name="adj1" fmla="val 24269"/>
              <a:gd name="adj2" fmla="val 0"/>
            </a:avLst>
          </a:prstGeom>
          <a:solidFill>
            <a:schemeClr val="bg2"/>
          </a:solidFill>
          <a:ln w="12700">
            <a:solidFill>
              <a:schemeClr val="tx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7" name="Group 20">
            <a:extLst>
              <a:ext uri="{FF2B5EF4-FFF2-40B4-BE49-F238E27FC236}">
                <a16:creationId xmlns:a16="http://schemas.microsoft.com/office/drawing/2014/main" id="{A92BB762-6C9F-C49A-1723-65A446F371A5}"/>
              </a:ext>
            </a:extLst>
          </p:cNvPr>
          <p:cNvGrpSpPr/>
          <p:nvPr/>
        </p:nvGrpSpPr>
        <p:grpSpPr>
          <a:xfrm>
            <a:off x="10366304" y="124456"/>
            <a:ext cx="1401292" cy="307777"/>
            <a:chOff x="1940295" y="2086507"/>
            <a:chExt cx="2955261" cy="649088"/>
          </a:xfrm>
        </p:grpSpPr>
        <p:sp>
          <p:nvSpPr>
            <p:cNvPr id="8" name="Oval 33">
              <a:extLst>
                <a:ext uri="{FF2B5EF4-FFF2-40B4-BE49-F238E27FC236}">
                  <a16:creationId xmlns:a16="http://schemas.microsoft.com/office/drawing/2014/main" id="{ADE55CDE-FE1A-30FE-98F3-E3D748CF2446}"/>
                </a:ext>
              </a:extLst>
            </p:cNvPr>
            <p:cNvSpPr/>
            <p:nvPr/>
          </p:nvSpPr>
          <p:spPr>
            <a:xfrm>
              <a:off x="1940295" y="2112019"/>
              <a:ext cx="598068" cy="5980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11" name="TextBox 22">
              <a:extLst>
                <a:ext uri="{FF2B5EF4-FFF2-40B4-BE49-F238E27FC236}">
                  <a16:creationId xmlns:a16="http://schemas.microsoft.com/office/drawing/2014/main" id="{F3FC5CC1-DFAF-6347-7AB7-FFD050282169}"/>
                </a:ext>
              </a:extLst>
            </p:cNvPr>
            <p:cNvSpPr txBox="1"/>
            <p:nvPr/>
          </p:nvSpPr>
          <p:spPr>
            <a:xfrm>
              <a:off x="2518275" y="2086507"/>
              <a:ext cx="2377281" cy="64908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BCFF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Audiencia</a:t>
              </a:r>
            </a:p>
          </p:txBody>
        </p:sp>
      </p:grpSp>
      <p:sp>
        <p:nvSpPr>
          <p:cNvPr id="15" name="Google Shape;1138;p39">
            <a:extLst>
              <a:ext uri="{FF2B5EF4-FFF2-40B4-BE49-F238E27FC236}">
                <a16:creationId xmlns:a16="http://schemas.microsoft.com/office/drawing/2014/main" id="{DADF4356-82A4-45C3-7A67-0A37BEFC6E70}"/>
              </a:ext>
            </a:extLst>
          </p:cNvPr>
          <p:cNvSpPr>
            <a:spLocks noChangeAspect="1"/>
          </p:cNvSpPr>
          <p:nvPr/>
        </p:nvSpPr>
        <p:spPr>
          <a:xfrm>
            <a:off x="10410875" y="209365"/>
            <a:ext cx="184918" cy="12525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55" h="21600" extrusionOk="0">
                <a:moveTo>
                  <a:pt x="10775" y="0"/>
                </a:moveTo>
                <a:cubicBezTo>
                  <a:pt x="8891" y="0"/>
                  <a:pt x="7365" y="2267"/>
                  <a:pt x="7365" y="5054"/>
                </a:cubicBezTo>
                <a:cubicBezTo>
                  <a:pt x="7365" y="7841"/>
                  <a:pt x="8891" y="10098"/>
                  <a:pt x="10775" y="10098"/>
                </a:cubicBezTo>
                <a:cubicBezTo>
                  <a:pt x="12659" y="10098"/>
                  <a:pt x="14185" y="7841"/>
                  <a:pt x="14185" y="5054"/>
                </a:cubicBezTo>
                <a:cubicBezTo>
                  <a:pt x="14185" y="2267"/>
                  <a:pt x="12659" y="0"/>
                  <a:pt x="10775" y="0"/>
                </a:cubicBezTo>
                <a:close/>
                <a:moveTo>
                  <a:pt x="10775" y="920"/>
                </a:moveTo>
                <a:cubicBezTo>
                  <a:pt x="12316" y="920"/>
                  <a:pt x="13569" y="2774"/>
                  <a:pt x="13569" y="5054"/>
                </a:cubicBezTo>
                <a:cubicBezTo>
                  <a:pt x="13569" y="7334"/>
                  <a:pt x="12316" y="9179"/>
                  <a:pt x="10775" y="9179"/>
                </a:cubicBezTo>
                <a:cubicBezTo>
                  <a:pt x="9233" y="9179"/>
                  <a:pt x="7987" y="7334"/>
                  <a:pt x="7987" y="5054"/>
                </a:cubicBezTo>
                <a:cubicBezTo>
                  <a:pt x="7987" y="2774"/>
                  <a:pt x="9233" y="920"/>
                  <a:pt x="10775" y="920"/>
                </a:cubicBezTo>
                <a:close/>
                <a:moveTo>
                  <a:pt x="4083" y="3907"/>
                </a:moveTo>
                <a:cubicBezTo>
                  <a:pt x="2817" y="3905"/>
                  <a:pt x="1790" y="5418"/>
                  <a:pt x="1789" y="7292"/>
                </a:cubicBezTo>
                <a:cubicBezTo>
                  <a:pt x="1788" y="9165"/>
                  <a:pt x="2810" y="10685"/>
                  <a:pt x="4077" y="10686"/>
                </a:cubicBezTo>
                <a:cubicBezTo>
                  <a:pt x="5344" y="10687"/>
                  <a:pt x="6371" y="9175"/>
                  <a:pt x="6372" y="7301"/>
                </a:cubicBezTo>
                <a:cubicBezTo>
                  <a:pt x="6372" y="7300"/>
                  <a:pt x="6372" y="7293"/>
                  <a:pt x="6372" y="7292"/>
                </a:cubicBezTo>
                <a:cubicBezTo>
                  <a:pt x="6370" y="5420"/>
                  <a:pt x="5348" y="3909"/>
                  <a:pt x="4083" y="3907"/>
                </a:cubicBezTo>
                <a:close/>
                <a:moveTo>
                  <a:pt x="17479" y="3907"/>
                </a:moveTo>
                <a:cubicBezTo>
                  <a:pt x="16212" y="3907"/>
                  <a:pt x="15184" y="5418"/>
                  <a:pt x="15184" y="7292"/>
                </a:cubicBezTo>
                <a:cubicBezTo>
                  <a:pt x="15184" y="9165"/>
                  <a:pt x="16212" y="10686"/>
                  <a:pt x="17479" y="10686"/>
                </a:cubicBezTo>
                <a:cubicBezTo>
                  <a:pt x="18746" y="10686"/>
                  <a:pt x="19774" y="9165"/>
                  <a:pt x="19774" y="7292"/>
                </a:cubicBezTo>
                <a:cubicBezTo>
                  <a:pt x="19772" y="5417"/>
                  <a:pt x="18745" y="3908"/>
                  <a:pt x="17479" y="3907"/>
                </a:cubicBezTo>
                <a:close/>
                <a:moveTo>
                  <a:pt x="4077" y="4817"/>
                </a:moveTo>
                <a:cubicBezTo>
                  <a:pt x="5001" y="4816"/>
                  <a:pt x="5749" y="5925"/>
                  <a:pt x="5750" y="7292"/>
                </a:cubicBezTo>
                <a:cubicBezTo>
                  <a:pt x="5749" y="8659"/>
                  <a:pt x="5006" y="9764"/>
                  <a:pt x="4083" y="9766"/>
                </a:cubicBezTo>
                <a:cubicBezTo>
                  <a:pt x="3159" y="9768"/>
                  <a:pt x="2405" y="8659"/>
                  <a:pt x="2404" y="7292"/>
                </a:cubicBezTo>
                <a:cubicBezTo>
                  <a:pt x="2403" y="5925"/>
                  <a:pt x="3153" y="4818"/>
                  <a:pt x="4077" y="4817"/>
                </a:cubicBezTo>
                <a:close/>
                <a:moveTo>
                  <a:pt x="17479" y="4817"/>
                </a:moveTo>
                <a:cubicBezTo>
                  <a:pt x="18403" y="4817"/>
                  <a:pt x="19152" y="5925"/>
                  <a:pt x="19152" y="7292"/>
                </a:cubicBezTo>
                <a:cubicBezTo>
                  <a:pt x="19151" y="8658"/>
                  <a:pt x="18403" y="9765"/>
                  <a:pt x="17479" y="9766"/>
                </a:cubicBezTo>
                <a:cubicBezTo>
                  <a:pt x="16555" y="9766"/>
                  <a:pt x="15806" y="8659"/>
                  <a:pt x="15806" y="7292"/>
                </a:cubicBezTo>
                <a:cubicBezTo>
                  <a:pt x="15806" y="5925"/>
                  <a:pt x="16555" y="4817"/>
                  <a:pt x="17479" y="4817"/>
                </a:cubicBezTo>
                <a:close/>
                <a:moveTo>
                  <a:pt x="10775" y="11246"/>
                </a:moveTo>
                <a:cubicBezTo>
                  <a:pt x="9400" y="11246"/>
                  <a:pt x="8026" y="11950"/>
                  <a:pt x="6916" y="13360"/>
                </a:cubicBezTo>
                <a:cubicBezTo>
                  <a:pt x="6174" y="12202"/>
                  <a:pt x="5143" y="11536"/>
                  <a:pt x="4064" y="11521"/>
                </a:cubicBezTo>
                <a:cubicBezTo>
                  <a:pt x="2059" y="11521"/>
                  <a:pt x="280" y="13959"/>
                  <a:pt x="7" y="17068"/>
                </a:cubicBezTo>
                <a:cubicBezTo>
                  <a:pt x="-22" y="17394"/>
                  <a:pt x="47" y="17720"/>
                  <a:pt x="193" y="17968"/>
                </a:cubicBezTo>
                <a:cubicBezTo>
                  <a:pt x="336" y="18207"/>
                  <a:pt x="541" y="18346"/>
                  <a:pt x="757" y="18348"/>
                </a:cubicBezTo>
                <a:lnTo>
                  <a:pt x="4692" y="18348"/>
                </a:lnTo>
                <a:cubicBezTo>
                  <a:pt x="4593" y="18844"/>
                  <a:pt x="4519" y="19352"/>
                  <a:pt x="4474" y="19865"/>
                </a:cubicBezTo>
                <a:cubicBezTo>
                  <a:pt x="4435" y="20307"/>
                  <a:pt x="4527" y="20751"/>
                  <a:pt x="4724" y="21088"/>
                </a:cubicBezTo>
                <a:cubicBezTo>
                  <a:pt x="4917" y="21413"/>
                  <a:pt x="5195" y="21600"/>
                  <a:pt x="5487" y="21600"/>
                </a:cubicBezTo>
                <a:lnTo>
                  <a:pt x="16063" y="21600"/>
                </a:lnTo>
                <a:cubicBezTo>
                  <a:pt x="16355" y="21600"/>
                  <a:pt x="16633" y="21413"/>
                  <a:pt x="16825" y="21088"/>
                </a:cubicBezTo>
                <a:cubicBezTo>
                  <a:pt x="17023" y="20751"/>
                  <a:pt x="17114" y="20307"/>
                  <a:pt x="17075" y="19865"/>
                </a:cubicBezTo>
                <a:cubicBezTo>
                  <a:pt x="17030" y="19352"/>
                  <a:pt x="16957" y="18844"/>
                  <a:pt x="16857" y="18348"/>
                </a:cubicBezTo>
                <a:lnTo>
                  <a:pt x="20799" y="18348"/>
                </a:lnTo>
                <a:cubicBezTo>
                  <a:pt x="21015" y="18346"/>
                  <a:pt x="21220" y="18208"/>
                  <a:pt x="21363" y="17968"/>
                </a:cubicBezTo>
                <a:cubicBezTo>
                  <a:pt x="21509" y="17720"/>
                  <a:pt x="21578" y="17394"/>
                  <a:pt x="21549" y="17068"/>
                </a:cubicBezTo>
                <a:cubicBezTo>
                  <a:pt x="21276" y="13959"/>
                  <a:pt x="19490" y="11521"/>
                  <a:pt x="17485" y="11521"/>
                </a:cubicBezTo>
                <a:cubicBezTo>
                  <a:pt x="16407" y="11536"/>
                  <a:pt x="15376" y="12202"/>
                  <a:pt x="14633" y="13360"/>
                </a:cubicBezTo>
                <a:cubicBezTo>
                  <a:pt x="13523" y="11950"/>
                  <a:pt x="12149" y="11246"/>
                  <a:pt x="10775" y="11246"/>
                </a:cubicBezTo>
                <a:close/>
                <a:moveTo>
                  <a:pt x="10775" y="12165"/>
                </a:moveTo>
                <a:cubicBezTo>
                  <a:pt x="13578" y="12165"/>
                  <a:pt x="16075" y="15602"/>
                  <a:pt x="16460" y="19979"/>
                </a:cubicBezTo>
                <a:cubicBezTo>
                  <a:pt x="16475" y="20160"/>
                  <a:pt x="16439" y="20343"/>
                  <a:pt x="16357" y="20481"/>
                </a:cubicBezTo>
                <a:cubicBezTo>
                  <a:pt x="16283" y="20608"/>
                  <a:pt x="16176" y="20690"/>
                  <a:pt x="16063" y="20690"/>
                </a:cubicBezTo>
                <a:lnTo>
                  <a:pt x="5487" y="20690"/>
                </a:lnTo>
                <a:cubicBezTo>
                  <a:pt x="5373" y="20690"/>
                  <a:pt x="5267" y="20608"/>
                  <a:pt x="5192" y="20481"/>
                </a:cubicBezTo>
                <a:cubicBezTo>
                  <a:pt x="5111" y="20343"/>
                  <a:pt x="5074" y="20160"/>
                  <a:pt x="5090" y="19979"/>
                </a:cubicBezTo>
                <a:cubicBezTo>
                  <a:pt x="5474" y="15595"/>
                  <a:pt x="7971" y="12165"/>
                  <a:pt x="10775" y="12165"/>
                </a:cubicBezTo>
                <a:close/>
                <a:moveTo>
                  <a:pt x="4064" y="12440"/>
                </a:moveTo>
                <a:cubicBezTo>
                  <a:pt x="4968" y="12456"/>
                  <a:pt x="5831" y="13009"/>
                  <a:pt x="6455" y="13976"/>
                </a:cubicBezTo>
                <a:cubicBezTo>
                  <a:pt x="5784" y="14959"/>
                  <a:pt x="5255" y="16131"/>
                  <a:pt x="4904" y="17428"/>
                </a:cubicBezTo>
                <a:cubicBezTo>
                  <a:pt x="4904" y="17428"/>
                  <a:pt x="757" y="17428"/>
                  <a:pt x="757" y="17428"/>
                </a:cubicBezTo>
                <a:cubicBezTo>
                  <a:pt x="719" y="17428"/>
                  <a:pt x="678" y="17405"/>
                  <a:pt x="654" y="17362"/>
                </a:cubicBezTo>
                <a:cubicBezTo>
                  <a:pt x="625" y="17314"/>
                  <a:pt x="616" y="17255"/>
                  <a:pt x="622" y="17191"/>
                </a:cubicBezTo>
                <a:cubicBezTo>
                  <a:pt x="855" y="14528"/>
                  <a:pt x="2365" y="12440"/>
                  <a:pt x="4064" y="12440"/>
                </a:cubicBezTo>
                <a:close/>
                <a:moveTo>
                  <a:pt x="17485" y="12440"/>
                </a:moveTo>
                <a:cubicBezTo>
                  <a:pt x="19191" y="12440"/>
                  <a:pt x="20695" y="14518"/>
                  <a:pt x="20927" y="17181"/>
                </a:cubicBezTo>
                <a:cubicBezTo>
                  <a:pt x="20935" y="17244"/>
                  <a:pt x="20923" y="17313"/>
                  <a:pt x="20895" y="17362"/>
                </a:cubicBezTo>
                <a:cubicBezTo>
                  <a:pt x="20871" y="17405"/>
                  <a:pt x="20837" y="17428"/>
                  <a:pt x="20799" y="17428"/>
                </a:cubicBezTo>
                <a:lnTo>
                  <a:pt x="16646" y="17428"/>
                </a:lnTo>
                <a:cubicBezTo>
                  <a:pt x="16294" y="16131"/>
                  <a:pt x="15766" y="14959"/>
                  <a:pt x="15095" y="13976"/>
                </a:cubicBezTo>
                <a:cubicBezTo>
                  <a:pt x="15718" y="13009"/>
                  <a:pt x="16582" y="12456"/>
                  <a:pt x="17485" y="12440"/>
                </a:cubicBezTo>
                <a:close/>
              </a:path>
            </a:pathLst>
          </a:cu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9E5087A2-C974-CB11-D966-1D38180A7D2C}"/>
              </a:ext>
            </a:extLst>
          </p:cNvPr>
          <p:cNvSpPr txBox="1"/>
          <p:nvPr/>
        </p:nvSpPr>
        <p:spPr>
          <a:xfrm>
            <a:off x="3085731" y="5192378"/>
            <a:ext cx="54057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GUATEMALA</a:t>
            </a:r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9590745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117">
            <a:extLst>
              <a:ext uri="{FF2B5EF4-FFF2-40B4-BE49-F238E27FC236}">
                <a16:creationId xmlns:a16="http://schemas.microsoft.com/office/drawing/2014/main" id="{CBE0FAB5-8D1C-0A54-188C-B59928FA0CF3}"/>
              </a:ext>
            </a:extLst>
          </p:cNvPr>
          <p:cNvSpPr/>
          <p:nvPr/>
        </p:nvSpPr>
        <p:spPr>
          <a:xfrm>
            <a:off x="609599" y="1472605"/>
            <a:ext cx="3290173" cy="5739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ompetitive Strengths</a:t>
            </a:r>
          </a:p>
        </p:txBody>
      </p:sp>
      <p:sp>
        <p:nvSpPr>
          <p:cNvPr id="34" name="Rectangle 117">
            <a:extLst>
              <a:ext uri="{FF2B5EF4-FFF2-40B4-BE49-F238E27FC236}">
                <a16:creationId xmlns:a16="http://schemas.microsoft.com/office/drawing/2014/main" id="{0D23F927-7786-7711-4E0B-9DA40B3D44DB}"/>
              </a:ext>
            </a:extLst>
          </p:cNvPr>
          <p:cNvSpPr/>
          <p:nvPr/>
        </p:nvSpPr>
        <p:spPr>
          <a:xfrm>
            <a:off x="4342675" y="1472605"/>
            <a:ext cx="3290173" cy="5739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ategory Opportunitie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Rectangle 117">
            <a:extLst>
              <a:ext uri="{FF2B5EF4-FFF2-40B4-BE49-F238E27FC236}">
                <a16:creationId xmlns:a16="http://schemas.microsoft.com/office/drawing/2014/main" id="{034D7D45-FF0E-DBAF-64C8-9FAB6B45DA89}"/>
              </a:ext>
            </a:extLst>
          </p:cNvPr>
          <p:cNvSpPr/>
          <p:nvPr/>
        </p:nvSpPr>
        <p:spPr>
          <a:xfrm>
            <a:off x="8075750" y="1472605"/>
            <a:ext cx="3290173" cy="5739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Brand Continuity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DDFF6D-719E-FE45-8E6B-32121D4FDF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err="1">
                <a:latin typeface="+mn-lt"/>
              </a:rPr>
              <a:t>Oportunidades</a:t>
            </a:r>
            <a:r>
              <a:rPr lang="en-US" sz="2400" b="1">
                <a:latin typeface="+mn-lt"/>
              </a:rPr>
              <a:t> de </a:t>
            </a:r>
            <a:r>
              <a:rPr lang="en-US" sz="2400" b="1" err="1">
                <a:latin typeface="+mn-lt"/>
              </a:rPr>
              <a:t>activación</a:t>
            </a:r>
            <a:endParaRPr lang="en-US" sz="2400" b="1">
              <a:latin typeface="+mn-lt"/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4A1C332-45B3-9872-075A-D4BE2AFE53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>
                <a:latin typeface="+mn-lt"/>
              </a:rPr>
              <a:t>Source: </a:t>
            </a: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B819DABB-A111-A0D7-CB1F-3633C37518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>
                <a:latin typeface="+mn-lt"/>
              </a:rPr>
              <a:t>16</a:t>
            </a:fld>
            <a:endParaRPr lang="es-MX">
              <a:latin typeface="+mn-lt"/>
            </a:endParaRPr>
          </a:p>
        </p:txBody>
      </p:sp>
      <p:sp>
        <p:nvSpPr>
          <p:cNvPr id="15" name="Rectangle 117">
            <a:extLst>
              <a:ext uri="{FF2B5EF4-FFF2-40B4-BE49-F238E27FC236}">
                <a16:creationId xmlns:a16="http://schemas.microsoft.com/office/drawing/2014/main" id="{CADC919F-025D-A341-6BD5-D2315DB0F841}"/>
              </a:ext>
            </a:extLst>
          </p:cNvPr>
          <p:cNvSpPr/>
          <p:nvPr/>
        </p:nvSpPr>
        <p:spPr>
          <a:xfrm>
            <a:off x="609599" y="2210228"/>
            <a:ext cx="3290173" cy="34968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180000" rIns="360000" bIns="180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Rectangle 117">
            <a:extLst>
              <a:ext uri="{FF2B5EF4-FFF2-40B4-BE49-F238E27FC236}">
                <a16:creationId xmlns:a16="http://schemas.microsoft.com/office/drawing/2014/main" id="{1CB6D0EC-C6DA-B78F-9D3B-1AB4BC60C19B}"/>
              </a:ext>
            </a:extLst>
          </p:cNvPr>
          <p:cNvSpPr/>
          <p:nvPr/>
        </p:nvSpPr>
        <p:spPr>
          <a:xfrm>
            <a:off x="4342675" y="2210227"/>
            <a:ext cx="3290173" cy="34968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180000" rIns="360000" bIns="180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Rectangle 117">
            <a:extLst>
              <a:ext uri="{FF2B5EF4-FFF2-40B4-BE49-F238E27FC236}">
                <a16:creationId xmlns:a16="http://schemas.microsoft.com/office/drawing/2014/main" id="{65987332-4757-E8AC-EC32-99C9D08773A9}"/>
              </a:ext>
            </a:extLst>
          </p:cNvPr>
          <p:cNvSpPr/>
          <p:nvPr/>
        </p:nvSpPr>
        <p:spPr>
          <a:xfrm>
            <a:off x="8075750" y="2210226"/>
            <a:ext cx="3290173" cy="34968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180000" rIns="360000" bIns="180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3" name="Tabla 5">
            <a:extLst>
              <a:ext uri="{FF2B5EF4-FFF2-40B4-BE49-F238E27FC236}">
                <a16:creationId xmlns:a16="http://schemas.microsoft.com/office/drawing/2014/main" id="{7121743F-3F6C-4273-BE0D-20B81DDDD8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6328239"/>
              </p:ext>
            </p:extLst>
          </p:nvPr>
        </p:nvGraphicFramePr>
        <p:xfrm>
          <a:off x="610862" y="2407462"/>
          <a:ext cx="3290173" cy="30543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0173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1</a:t>
                      </a:r>
                      <a:endParaRPr kumimoji="0" lang="es-MX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anation</a:t>
                      </a:r>
                      <a:endParaRPr lang="es-MX" sz="12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2</a:t>
                      </a:r>
                      <a:endParaRPr kumimoji="0" lang="es-MX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anation</a:t>
                      </a:r>
                      <a:endParaRPr lang="es-MX" sz="12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T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3189836"/>
                  </a:ext>
                </a:extLst>
              </a:tr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3</a:t>
                      </a:r>
                      <a:endParaRPr kumimoji="0" lang="es-MX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anation</a:t>
                      </a:r>
                      <a:endParaRPr lang="es-MX" sz="12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T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354449"/>
                  </a:ext>
                </a:extLst>
              </a:tr>
            </a:tbl>
          </a:graphicData>
        </a:graphic>
      </p:graphicFrame>
      <p:graphicFrame>
        <p:nvGraphicFramePr>
          <p:cNvPr id="47" name="Tabla 5">
            <a:extLst>
              <a:ext uri="{FF2B5EF4-FFF2-40B4-BE49-F238E27FC236}">
                <a16:creationId xmlns:a16="http://schemas.microsoft.com/office/drawing/2014/main" id="{F52538B9-D8A8-5E6A-5C2D-30CC6C4F3B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8747330"/>
              </p:ext>
            </p:extLst>
          </p:nvPr>
        </p:nvGraphicFramePr>
        <p:xfrm>
          <a:off x="4343937" y="2407462"/>
          <a:ext cx="3290173" cy="30543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0173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1</a:t>
                      </a:r>
                      <a:endParaRPr kumimoji="0" lang="es-MX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anation</a:t>
                      </a:r>
                      <a:endParaRPr lang="es-MX" sz="12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2</a:t>
                      </a:r>
                      <a:endParaRPr kumimoji="0" lang="es-MX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anation</a:t>
                      </a:r>
                      <a:endParaRPr lang="es-MX" sz="12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T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3189836"/>
                  </a:ext>
                </a:extLst>
              </a:tr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3</a:t>
                      </a:r>
                      <a:endParaRPr kumimoji="0" lang="es-MX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anation</a:t>
                      </a:r>
                      <a:endParaRPr lang="es-MX" sz="12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T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354449"/>
                  </a:ext>
                </a:extLst>
              </a:tr>
            </a:tbl>
          </a:graphicData>
        </a:graphic>
      </p:graphicFrame>
      <p:graphicFrame>
        <p:nvGraphicFramePr>
          <p:cNvPr id="67" name="Tabla 5">
            <a:extLst>
              <a:ext uri="{FF2B5EF4-FFF2-40B4-BE49-F238E27FC236}">
                <a16:creationId xmlns:a16="http://schemas.microsoft.com/office/drawing/2014/main" id="{DD1659C0-D2B7-C963-92DC-C799009747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6151570"/>
              </p:ext>
            </p:extLst>
          </p:nvPr>
        </p:nvGraphicFramePr>
        <p:xfrm>
          <a:off x="8075750" y="2407462"/>
          <a:ext cx="3290173" cy="30543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0173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1</a:t>
                      </a:r>
                      <a:endParaRPr kumimoji="0" lang="es-MX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anation</a:t>
                      </a:r>
                      <a:endParaRPr lang="es-MX" sz="12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2</a:t>
                      </a:r>
                      <a:endParaRPr kumimoji="0" lang="es-MX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anation</a:t>
                      </a:r>
                      <a:endParaRPr lang="es-MX" sz="12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T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3189836"/>
                  </a:ext>
                </a:extLst>
              </a:tr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3</a:t>
                      </a:r>
                      <a:endParaRPr kumimoji="0" lang="es-MX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anation</a:t>
                      </a:r>
                      <a:endParaRPr lang="es-MX" sz="12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T w="9525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354449"/>
                  </a:ext>
                </a:extLst>
              </a:tr>
            </a:tbl>
          </a:graphicData>
        </a:graphic>
      </p:graphicFrame>
      <p:sp>
        <p:nvSpPr>
          <p:cNvPr id="8" name="Rectángulo 7">
            <a:extLst>
              <a:ext uri="{FF2B5EF4-FFF2-40B4-BE49-F238E27FC236}">
                <a16:creationId xmlns:a16="http://schemas.microsoft.com/office/drawing/2014/main" id="{57D2C293-6FCA-293A-3012-7C97A2589EDE}"/>
              </a:ext>
            </a:extLst>
          </p:cNvPr>
          <p:cNvSpPr/>
          <p:nvPr/>
        </p:nvSpPr>
        <p:spPr>
          <a:xfrm>
            <a:off x="1965760" y="3085552"/>
            <a:ext cx="8011360" cy="1088701"/>
          </a:xfrm>
          <a:prstGeom prst="rect">
            <a:avLst/>
          </a:prstGeom>
          <a:solidFill>
            <a:srgbClr val="FBB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200" b="1">
                <a:solidFill>
                  <a:schemeClr val="tx1"/>
                </a:solidFill>
              </a:rPr>
              <a:t>Foco en accionables para Bayer</a:t>
            </a:r>
          </a:p>
        </p:txBody>
      </p:sp>
      <p:sp>
        <p:nvSpPr>
          <p:cNvPr id="4" name="Round Same-side Corner of Rectangle 7">
            <a:extLst>
              <a:ext uri="{FF2B5EF4-FFF2-40B4-BE49-F238E27FC236}">
                <a16:creationId xmlns:a16="http://schemas.microsoft.com/office/drawing/2014/main" id="{2EABEEED-E25C-94CE-6A70-CA9B9F5757AC}"/>
              </a:ext>
            </a:extLst>
          </p:cNvPr>
          <p:cNvSpPr/>
          <p:nvPr/>
        </p:nvSpPr>
        <p:spPr>
          <a:xfrm rot="10800000">
            <a:off x="10154862" y="-67235"/>
            <a:ext cx="1681453" cy="574871"/>
          </a:xfrm>
          <a:prstGeom prst="round2SameRect">
            <a:avLst>
              <a:gd name="adj1" fmla="val 24269"/>
              <a:gd name="adj2" fmla="val 0"/>
            </a:avLst>
          </a:prstGeom>
          <a:solidFill>
            <a:schemeClr val="bg2"/>
          </a:solidFill>
          <a:ln w="12700">
            <a:solidFill>
              <a:schemeClr val="tx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13" name="Group 20">
            <a:extLst>
              <a:ext uri="{FF2B5EF4-FFF2-40B4-BE49-F238E27FC236}">
                <a16:creationId xmlns:a16="http://schemas.microsoft.com/office/drawing/2014/main" id="{5AF30906-A037-8E23-977D-C956E0475CCB}"/>
              </a:ext>
            </a:extLst>
          </p:cNvPr>
          <p:cNvGrpSpPr/>
          <p:nvPr/>
        </p:nvGrpSpPr>
        <p:grpSpPr>
          <a:xfrm>
            <a:off x="10366304" y="124456"/>
            <a:ext cx="1401292" cy="307777"/>
            <a:chOff x="1940295" y="2086507"/>
            <a:chExt cx="2955261" cy="649088"/>
          </a:xfrm>
        </p:grpSpPr>
        <p:sp>
          <p:nvSpPr>
            <p:cNvPr id="14" name="Oval 33">
              <a:extLst>
                <a:ext uri="{FF2B5EF4-FFF2-40B4-BE49-F238E27FC236}">
                  <a16:creationId xmlns:a16="http://schemas.microsoft.com/office/drawing/2014/main" id="{244723B5-6EA6-2B1E-DF6E-74F9EF69CEFA}"/>
                </a:ext>
              </a:extLst>
            </p:cNvPr>
            <p:cNvSpPr/>
            <p:nvPr/>
          </p:nvSpPr>
          <p:spPr>
            <a:xfrm>
              <a:off x="1940295" y="2112019"/>
              <a:ext cx="598068" cy="59806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16" name="TextBox 22">
              <a:extLst>
                <a:ext uri="{FF2B5EF4-FFF2-40B4-BE49-F238E27FC236}">
                  <a16:creationId xmlns:a16="http://schemas.microsoft.com/office/drawing/2014/main" id="{31E69B06-A366-243A-68E3-87D568A13FC0}"/>
                </a:ext>
              </a:extLst>
            </p:cNvPr>
            <p:cNvSpPr txBox="1"/>
            <p:nvPr/>
          </p:nvSpPr>
          <p:spPr>
            <a:xfrm>
              <a:off x="2518275" y="2086507"/>
              <a:ext cx="2377281" cy="64908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00BCFF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Audiencia</a:t>
              </a:r>
            </a:p>
          </p:txBody>
        </p:sp>
      </p:grpSp>
      <p:sp>
        <p:nvSpPr>
          <p:cNvPr id="17" name="Google Shape;1138;p39">
            <a:extLst>
              <a:ext uri="{FF2B5EF4-FFF2-40B4-BE49-F238E27FC236}">
                <a16:creationId xmlns:a16="http://schemas.microsoft.com/office/drawing/2014/main" id="{1E0A50A7-E3B0-84E3-275F-B2E47462E8D5}"/>
              </a:ext>
            </a:extLst>
          </p:cNvPr>
          <p:cNvSpPr>
            <a:spLocks noChangeAspect="1"/>
          </p:cNvSpPr>
          <p:nvPr/>
        </p:nvSpPr>
        <p:spPr>
          <a:xfrm>
            <a:off x="10410875" y="209365"/>
            <a:ext cx="184918" cy="12525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55" h="21600" extrusionOk="0">
                <a:moveTo>
                  <a:pt x="10775" y="0"/>
                </a:moveTo>
                <a:cubicBezTo>
                  <a:pt x="8891" y="0"/>
                  <a:pt x="7365" y="2267"/>
                  <a:pt x="7365" y="5054"/>
                </a:cubicBezTo>
                <a:cubicBezTo>
                  <a:pt x="7365" y="7841"/>
                  <a:pt x="8891" y="10098"/>
                  <a:pt x="10775" y="10098"/>
                </a:cubicBezTo>
                <a:cubicBezTo>
                  <a:pt x="12659" y="10098"/>
                  <a:pt x="14185" y="7841"/>
                  <a:pt x="14185" y="5054"/>
                </a:cubicBezTo>
                <a:cubicBezTo>
                  <a:pt x="14185" y="2267"/>
                  <a:pt x="12659" y="0"/>
                  <a:pt x="10775" y="0"/>
                </a:cubicBezTo>
                <a:close/>
                <a:moveTo>
                  <a:pt x="10775" y="920"/>
                </a:moveTo>
                <a:cubicBezTo>
                  <a:pt x="12316" y="920"/>
                  <a:pt x="13569" y="2774"/>
                  <a:pt x="13569" y="5054"/>
                </a:cubicBezTo>
                <a:cubicBezTo>
                  <a:pt x="13569" y="7334"/>
                  <a:pt x="12316" y="9179"/>
                  <a:pt x="10775" y="9179"/>
                </a:cubicBezTo>
                <a:cubicBezTo>
                  <a:pt x="9233" y="9179"/>
                  <a:pt x="7987" y="7334"/>
                  <a:pt x="7987" y="5054"/>
                </a:cubicBezTo>
                <a:cubicBezTo>
                  <a:pt x="7987" y="2774"/>
                  <a:pt x="9233" y="920"/>
                  <a:pt x="10775" y="920"/>
                </a:cubicBezTo>
                <a:close/>
                <a:moveTo>
                  <a:pt x="4083" y="3907"/>
                </a:moveTo>
                <a:cubicBezTo>
                  <a:pt x="2817" y="3905"/>
                  <a:pt x="1790" y="5418"/>
                  <a:pt x="1789" y="7292"/>
                </a:cubicBezTo>
                <a:cubicBezTo>
                  <a:pt x="1788" y="9165"/>
                  <a:pt x="2810" y="10685"/>
                  <a:pt x="4077" y="10686"/>
                </a:cubicBezTo>
                <a:cubicBezTo>
                  <a:pt x="5344" y="10687"/>
                  <a:pt x="6371" y="9175"/>
                  <a:pt x="6372" y="7301"/>
                </a:cubicBezTo>
                <a:cubicBezTo>
                  <a:pt x="6372" y="7300"/>
                  <a:pt x="6372" y="7293"/>
                  <a:pt x="6372" y="7292"/>
                </a:cubicBezTo>
                <a:cubicBezTo>
                  <a:pt x="6370" y="5420"/>
                  <a:pt x="5348" y="3909"/>
                  <a:pt x="4083" y="3907"/>
                </a:cubicBezTo>
                <a:close/>
                <a:moveTo>
                  <a:pt x="17479" y="3907"/>
                </a:moveTo>
                <a:cubicBezTo>
                  <a:pt x="16212" y="3907"/>
                  <a:pt x="15184" y="5418"/>
                  <a:pt x="15184" y="7292"/>
                </a:cubicBezTo>
                <a:cubicBezTo>
                  <a:pt x="15184" y="9165"/>
                  <a:pt x="16212" y="10686"/>
                  <a:pt x="17479" y="10686"/>
                </a:cubicBezTo>
                <a:cubicBezTo>
                  <a:pt x="18746" y="10686"/>
                  <a:pt x="19774" y="9165"/>
                  <a:pt x="19774" y="7292"/>
                </a:cubicBezTo>
                <a:cubicBezTo>
                  <a:pt x="19772" y="5417"/>
                  <a:pt x="18745" y="3908"/>
                  <a:pt x="17479" y="3907"/>
                </a:cubicBezTo>
                <a:close/>
                <a:moveTo>
                  <a:pt x="4077" y="4817"/>
                </a:moveTo>
                <a:cubicBezTo>
                  <a:pt x="5001" y="4816"/>
                  <a:pt x="5749" y="5925"/>
                  <a:pt x="5750" y="7292"/>
                </a:cubicBezTo>
                <a:cubicBezTo>
                  <a:pt x="5749" y="8659"/>
                  <a:pt x="5006" y="9764"/>
                  <a:pt x="4083" y="9766"/>
                </a:cubicBezTo>
                <a:cubicBezTo>
                  <a:pt x="3159" y="9768"/>
                  <a:pt x="2405" y="8659"/>
                  <a:pt x="2404" y="7292"/>
                </a:cubicBezTo>
                <a:cubicBezTo>
                  <a:pt x="2403" y="5925"/>
                  <a:pt x="3153" y="4818"/>
                  <a:pt x="4077" y="4817"/>
                </a:cubicBezTo>
                <a:close/>
                <a:moveTo>
                  <a:pt x="17479" y="4817"/>
                </a:moveTo>
                <a:cubicBezTo>
                  <a:pt x="18403" y="4817"/>
                  <a:pt x="19152" y="5925"/>
                  <a:pt x="19152" y="7292"/>
                </a:cubicBezTo>
                <a:cubicBezTo>
                  <a:pt x="19151" y="8658"/>
                  <a:pt x="18403" y="9765"/>
                  <a:pt x="17479" y="9766"/>
                </a:cubicBezTo>
                <a:cubicBezTo>
                  <a:pt x="16555" y="9766"/>
                  <a:pt x="15806" y="8659"/>
                  <a:pt x="15806" y="7292"/>
                </a:cubicBezTo>
                <a:cubicBezTo>
                  <a:pt x="15806" y="5925"/>
                  <a:pt x="16555" y="4817"/>
                  <a:pt x="17479" y="4817"/>
                </a:cubicBezTo>
                <a:close/>
                <a:moveTo>
                  <a:pt x="10775" y="11246"/>
                </a:moveTo>
                <a:cubicBezTo>
                  <a:pt x="9400" y="11246"/>
                  <a:pt x="8026" y="11950"/>
                  <a:pt x="6916" y="13360"/>
                </a:cubicBezTo>
                <a:cubicBezTo>
                  <a:pt x="6174" y="12202"/>
                  <a:pt x="5143" y="11536"/>
                  <a:pt x="4064" y="11521"/>
                </a:cubicBezTo>
                <a:cubicBezTo>
                  <a:pt x="2059" y="11521"/>
                  <a:pt x="280" y="13959"/>
                  <a:pt x="7" y="17068"/>
                </a:cubicBezTo>
                <a:cubicBezTo>
                  <a:pt x="-22" y="17394"/>
                  <a:pt x="47" y="17720"/>
                  <a:pt x="193" y="17968"/>
                </a:cubicBezTo>
                <a:cubicBezTo>
                  <a:pt x="336" y="18207"/>
                  <a:pt x="541" y="18346"/>
                  <a:pt x="757" y="18348"/>
                </a:cubicBezTo>
                <a:lnTo>
                  <a:pt x="4692" y="18348"/>
                </a:lnTo>
                <a:cubicBezTo>
                  <a:pt x="4593" y="18844"/>
                  <a:pt x="4519" y="19352"/>
                  <a:pt x="4474" y="19865"/>
                </a:cubicBezTo>
                <a:cubicBezTo>
                  <a:pt x="4435" y="20307"/>
                  <a:pt x="4527" y="20751"/>
                  <a:pt x="4724" y="21088"/>
                </a:cubicBezTo>
                <a:cubicBezTo>
                  <a:pt x="4917" y="21413"/>
                  <a:pt x="5195" y="21600"/>
                  <a:pt x="5487" y="21600"/>
                </a:cubicBezTo>
                <a:lnTo>
                  <a:pt x="16063" y="21600"/>
                </a:lnTo>
                <a:cubicBezTo>
                  <a:pt x="16355" y="21600"/>
                  <a:pt x="16633" y="21413"/>
                  <a:pt x="16825" y="21088"/>
                </a:cubicBezTo>
                <a:cubicBezTo>
                  <a:pt x="17023" y="20751"/>
                  <a:pt x="17114" y="20307"/>
                  <a:pt x="17075" y="19865"/>
                </a:cubicBezTo>
                <a:cubicBezTo>
                  <a:pt x="17030" y="19352"/>
                  <a:pt x="16957" y="18844"/>
                  <a:pt x="16857" y="18348"/>
                </a:cubicBezTo>
                <a:lnTo>
                  <a:pt x="20799" y="18348"/>
                </a:lnTo>
                <a:cubicBezTo>
                  <a:pt x="21015" y="18346"/>
                  <a:pt x="21220" y="18208"/>
                  <a:pt x="21363" y="17968"/>
                </a:cubicBezTo>
                <a:cubicBezTo>
                  <a:pt x="21509" y="17720"/>
                  <a:pt x="21578" y="17394"/>
                  <a:pt x="21549" y="17068"/>
                </a:cubicBezTo>
                <a:cubicBezTo>
                  <a:pt x="21276" y="13959"/>
                  <a:pt x="19490" y="11521"/>
                  <a:pt x="17485" y="11521"/>
                </a:cubicBezTo>
                <a:cubicBezTo>
                  <a:pt x="16407" y="11536"/>
                  <a:pt x="15376" y="12202"/>
                  <a:pt x="14633" y="13360"/>
                </a:cubicBezTo>
                <a:cubicBezTo>
                  <a:pt x="13523" y="11950"/>
                  <a:pt x="12149" y="11246"/>
                  <a:pt x="10775" y="11246"/>
                </a:cubicBezTo>
                <a:close/>
                <a:moveTo>
                  <a:pt x="10775" y="12165"/>
                </a:moveTo>
                <a:cubicBezTo>
                  <a:pt x="13578" y="12165"/>
                  <a:pt x="16075" y="15602"/>
                  <a:pt x="16460" y="19979"/>
                </a:cubicBezTo>
                <a:cubicBezTo>
                  <a:pt x="16475" y="20160"/>
                  <a:pt x="16439" y="20343"/>
                  <a:pt x="16357" y="20481"/>
                </a:cubicBezTo>
                <a:cubicBezTo>
                  <a:pt x="16283" y="20608"/>
                  <a:pt x="16176" y="20690"/>
                  <a:pt x="16063" y="20690"/>
                </a:cubicBezTo>
                <a:lnTo>
                  <a:pt x="5487" y="20690"/>
                </a:lnTo>
                <a:cubicBezTo>
                  <a:pt x="5373" y="20690"/>
                  <a:pt x="5267" y="20608"/>
                  <a:pt x="5192" y="20481"/>
                </a:cubicBezTo>
                <a:cubicBezTo>
                  <a:pt x="5111" y="20343"/>
                  <a:pt x="5074" y="20160"/>
                  <a:pt x="5090" y="19979"/>
                </a:cubicBezTo>
                <a:cubicBezTo>
                  <a:pt x="5474" y="15595"/>
                  <a:pt x="7971" y="12165"/>
                  <a:pt x="10775" y="12165"/>
                </a:cubicBezTo>
                <a:close/>
                <a:moveTo>
                  <a:pt x="4064" y="12440"/>
                </a:moveTo>
                <a:cubicBezTo>
                  <a:pt x="4968" y="12456"/>
                  <a:pt x="5831" y="13009"/>
                  <a:pt x="6455" y="13976"/>
                </a:cubicBezTo>
                <a:cubicBezTo>
                  <a:pt x="5784" y="14959"/>
                  <a:pt x="5255" y="16131"/>
                  <a:pt x="4904" y="17428"/>
                </a:cubicBezTo>
                <a:cubicBezTo>
                  <a:pt x="4904" y="17428"/>
                  <a:pt x="757" y="17428"/>
                  <a:pt x="757" y="17428"/>
                </a:cubicBezTo>
                <a:cubicBezTo>
                  <a:pt x="719" y="17428"/>
                  <a:pt x="678" y="17405"/>
                  <a:pt x="654" y="17362"/>
                </a:cubicBezTo>
                <a:cubicBezTo>
                  <a:pt x="625" y="17314"/>
                  <a:pt x="616" y="17255"/>
                  <a:pt x="622" y="17191"/>
                </a:cubicBezTo>
                <a:cubicBezTo>
                  <a:pt x="855" y="14528"/>
                  <a:pt x="2365" y="12440"/>
                  <a:pt x="4064" y="12440"/>
                </a:cubicBezTo>
                <a:close/>
                <a:moveTo>
                  <a:pt x="17485" y="12440"/>
                </a:moveTo>
                <a:cubicBezTo>
                  <a:pt x="19191" y="12440"/>
                  <a:pt x="20695" y="14518"/>
                  <a:pt x="20927" y="17181"/>
                </a:cubicBezTo>
                <a:cubicBezTo>
                  <a:pt x="20935" y="17244"/>
                  <a:pt x="20923" y="17313"/>
                  <a:pt x="20895" y="17362"/>
                </a:cubicBezTo>
                <a:cubicBezTo>
                  <a:pt x="20871" y="17405"/>
                  <a:pt x="20837" y="17428"/>
                  <a:pt x="20799" y="17428"/>
                </a:cubicBezTo>
                <a:lnTo>
                  <a:pt x="16646" y="17428"/>
                </a:lnTo>
                <a:cubicBezTo>
                  <a:pt x="16294" y="16131"/>
                  <a:pt x="15766" y="14959"/>
                  <a:pt x="15095" y="13976"/>
                </a:cubicBezTo>
                <a:cubicBezTo>
                  <a:pt x="15718" y="13009"/>
                  <a:pt x="16582" y="12456"/>
                  <a:pt x="17485" y="12440"/>
                </a:cubicBezTo>
                <a:close/>
              </a:path>
            </a:pathLst>
          </a:cu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EE7D4B24-AED2-8157-5412-D328D8D390E8}"/>
              </a:ext>
            </a:extLst>
          </p:cNvPr>
          <p:cNvSpPr txBox="1"/>
          <p:nvPr/>
        </p:nvSpPr>
        <p:spPr>
          <a:xfrm>
            <a:off x="3085731" y="5507170"/>
            <a:ext cx="54057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GUATEMALA</a:t>
            </a:r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25127389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9C23AAE-735B-FC5A-AAB6-24129CA3E690}"/>
              </a:ext>
            </a:extLst>
          </p:cNvPr>
          <p:cNvSpPr/>
          <p:nvPr/>
        </p:nvSpPr>
        <p:spPr>
          <a:xfrm>
            <a:off x="0" y="0"/>
            <a:ext cx="12192000" cy="1600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3F093E-386E-1B2F-F155-3FACE3CF0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8" y="475354"/>
            <a:ext cx="5130279" cy="1088701"/>
          </a:xfrm>
        </p:spPr>
        <p:txBody>
          <a:bodyPr/>
          <a:lstStyle/>
          <a:p>
            <a:r>
              <a:rPr lang="en-US" sz="2400" b="1" err="1"/>
              <a:t>Aprendizajes</a:t>
            </a:r>
            <a:r>
              <a:rPr lang="en-US" sz="2400" b="1"/>
              <a:t> y </a:t>
            </a:r>
            <a:r>
              <a:rPr lang="en-US" sz="2400" b="1" err="1"/>
              <a:t>recomendaciones</a:t>
            </a:r>
            <a:endParaRPr lang="en-US" sz="2400" b="1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73E806-3455-6A93-8328-6579BDA625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B5AFE4-D107-918F-663A-50B47F3678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ExtraLight" pitchFamily="2" charset="77"/>
                <a:ea typeface="+mn-ea"/>
                <a:cs typeface="Poppins Extra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ExtraLight" pitchFamily="2" charset="77"/>
              <a:ea typeface="+mn-ea"/>
              <a:cs typeface="Poppins ExtraLight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526E898-EF7F-9ACC-44FA-AAB7A80511AE}"/>
              </a:ext>
            </a:extLst>
          </p:cNvPr>
          <p:cNvSpPr/>
          <p:nvPr/>
        </p:nvSpPr>
        <p:spPr>
          <a:xfrm>
            <a:off x="-1818167" y="793970"/>
            <a:ext cx="1818167" cy="215819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360000" rIns="72000" bIns="3600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Key considera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Summarise our insights, learning from the previous data onto this slide as a wrap up before leading to the next phase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67DF2D9-EFAF-9D58-F64D-1D54B391EFFA}"/>
              </a:ext>
            </a:extLst>
          </p:cNvPr>
          <p:cNvSpPr txBox="1"/>
          <p:nvPr/>
        </p:nvSpPr>
        <p:spPr>
          <a:xfrm>
            <a:off x="713308" y="1919294"/>
            <a:ext cx="636861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SemiBold"/>
                <a:ea typeface="+mn-ea"/>
                <a:cs typeface="Poppins Thin" pitchFamily="2" charset="77"/>
              </a:rPr>
              <a:t>0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7C78EC-1805-69C0-C6CF-3F8DD920C7CC}"/>
              </a:ext>
            </a:extLst>
          </p:cNvPr>
          <p:cNvSpPr txBox="1"/>
          <p:nvPr/>
        </p:nvSpPr>
        <p:spPr>
          <a:xfrm>
            <a:off x="1278277" y="2004485"/>
            <a:ext cx="588688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Poppins Thin" pitchFamily="2" charset="77"/>
              </a:rPr>
              <a:t>The key insights from the market/category analysis are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-Regular"/>
                <a:ea typeface="+mn-ea"/>
                <a:cs typeface="Poppins Thin" pitchFamily="2" charset="77"/>
              </a:rPr>
              <a:t>{add text here}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922FE4-FD2B-3454-05FC-45E2E86AC323}"/>
              </a:ext>
            </a:extLst>
          </p:cNvPr>
          <p:cNvSpPr txBox="1"/>
          <p:nvPr/>
        </p:nvSpPr>
        <p:spPr>
          <a:xfrm>
            <a:off x="713308" y="2770179"/>
            <a:ext cx="636861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SemiBold"/>
                <a:ea typeface="+mn-ea"/>
                <a:cs typeface="Poppins Thin" pitchFamily="2" charset="77"/>
              </a:rPr>
              <a:t>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4BF9DFA-27EC-7778-C02F-41CA811E90ED}"/>
              </a:ext>
            </a:extLst>
          </p:cNvPr>
          <p:cNvSpPr txBox="1"/>
          <p:nvPr/>
        </p:nvSpPr>
        <p:spPr>
          <a:xfrm>
            <a:off x="1278277" y="2855369"/>
            <a:ext cx="588688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Poppins Thin" pitchFamily="2" charset="77"/>
              </a:rPr>
              <a:t>The key insights from the competitive analysis are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-Regular"/>
                <a:ea typeface="+mn-ea"/>
                <a:cs typeface="Poppins Thin" pitchFamily="2" charset="77"/>
              </a:rPr>
              <a:t>{add text here}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B34B413-6F27-D0F1-23DD-1F41EBE8C43C}"/>
              </a:ext>
            </a:extLst>
          </p:cNvPr>
          <p:cNvSpPr txBox="1"/>
          <p:nvPr/>
        </p:nvSpPr>
        <p:spPr>
          <a:xfrm>
            <a:off x="713308" y="3605009"/>
            <a:ext cx="636861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SemiBold"/>
                <a:ea typeface="+mn-ea"/>
                <a:cs typeface="Poppins Thin" pitchFamily="2" charset="77"/>
              </a:rPr>
              <a:t>03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4AC720B-B17D-BBBA-A8CB-BB4C84236E67}"/>
              </a:ext>
            </a:extLst>
          </p:cNvPr>
          <p:cNvSpPr txBox="1"/>
          <p:nvPr/>
        </p:nvSpPr>
        <p:spPr>
          <a:xfrm>
            <a:off x="1278277" y="3690200"/>
            <a:ext cx="588688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Poppins Thin" pitchFamily="2" charset="77"/>
              </a:rPr>
              <a:t>The key insights from the audience analysis are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-Regular"/>
                <a:ea typeface="+mn-ea"/>
                <a:cs typeface="Poppins Thin" pitchFamily="2" charset="77"/>
              </a:rPr>
              <a:t>{add text here}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EE8F99F-7E38-F340-668E-7A13FEEBCCC8}"/>
              </a:ext>
            </a:extLst>
          </p:cNvPr>
          <p:cNvSpPr txBox="1"/>
          <p:nvPr/>
        </p:nvSpPr>
        <p:spPr>
          <a:xfrm>
            <a:off x="713308" y="4447867"/>
            <a:ext cx="636861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SemiBold"/>
                <a:ea typeface="+mn-ea"/>
                <a:cs typeface="Poppins Thin" pitchFamily="2" charset="77"/>
              </a:rPr>
              <a:t>0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E88E9EE-9787-5796-C6FE-D227037BE4C5}"/>
              </a:ext>
            </a:extLst>
          </p:cNvPr>
          <p:cNvSpPr txBox="1"/>
          <p:nvPr/>
        </p:nvSpPr>
        <p:spPr>
          <a:xfrm>
            <a:off x="1278277" y="4440724"/>
            <a:ext cx="5886902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Poppins Thin" pitchFamily="2" charset="77"/>
              </a:rPr>
              <a:t>Identified audience segment that holds the source of growth opportunity is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-Regular"/>
                <a:ea typeface="+mn-ea"/>
                <a:cs typeface="Poppins Thin" pitchFamily="2" charset="77"/>
              </a:rPr>
              <a:t>{add audience definition here}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Poppins Thin" pitchFamily="2" charset="77"/>
              </a:rPr>
              <a:t> because of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-Regular"/>
                <a:ea typeface="+mn-ea"/>
                <a:cs typeface="Poppins Thin" pitchFamily="2" charset="77"/>
              </a:rPr>
              <a:t>{add reason here}.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E10A14C-F5BA-2D00-BC8F-2A2BF0E51056}"/>
              </a:ext>
            </a:extLst>
          </p:cNvPr>
          <p:cNvGrpSpPr/>
          <p:nvPr/>
        </p:nvGrpSpPr>
        <p:grpSpPr>
          <a:xfrm>
            <a:off x="776540" y="2574466"/>
            <a:ext cx="6488645" cy="2528572"/>
            <a:chOff x="776541" y="2574466"/>
            <a:chExt cx="5674265" cy="2528572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9E22F2E-1D6B-2927-E410-832A4929321E}"/>
                </a:ext>
              </a:extLst>
            </p:cNvPr>
            <p:cNvCxnSpPr>
              <a:cxnSpLocks/>
            </p:cNvCxnSpPr>
            <p:nvPr/>
          </p:nvCxnSpPr>
          <p:spPr>
            <a:xfrm>
              <a:off x="776541" y="2574466"/>
              <a:ext cx="5674265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accent2"/>
                  </a:gs>
                  <a:gs pos="99000">
                    <a:schemeClr val="tx2"/>
                  </a:gs>
                </a:gsLst>
                <a:lin ang="0" scaled="1"/>
                <a:tileRect/>
              </a:gra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3A3A74B2-2063-955D-70D9-C88E148F3756}"/>
                </a:ext>
              </a:extLst>
            </p:cNvPr>
            <p:cNvCxnSpPr>
              <a:cxnSpLocks/>
            </p:cNvCxnSpPr>
            <p:nvPr/>
          </p:nvCxnSpPr>
          <p:spPr>
            <a:xfrm>
              <a:off x="776541" y="3425350"/>
              <a:ext cx="5674265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accent2"/>
                  </a:gs>
                  <a:gs pos="99000">
                    <a:schemeClr val="tx2"/>
                  </a:gs>
                </a:gsLst>
                <a:lin ang="0" scaled="1"/>
                <a:tileRect/>
              </a:gra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1CD7CB97-DE87-AF94-DF1E-D4FBE5461E73}"/>
                </a:ext>
              </a:extLst>
            </p:cNvPr>
            <p:cNvCxnSpPr>
              <a:cxnSpLocks/>
            </p:cNvCxnSpPr>
            <p:nvPr/>
          </p:nvCxnSpPr>
          <p:spPr>
            <a:xfrm>
              <a:off x="776541" y="4260181"/>
              <a:ext cx="5674265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accent2"/>
                  </a:gs>
                  <a:gs pos="99000">
                    <a:schemeClr val="tx2"/>
                  </a:gs>
                </a:gsLst>
                <a:lin ang="0" scaled="1"/>
                <a:tileRect/>
              </a:gra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68B3F24-C5F7-97F8-03DF-7D389DF22A9A}"/>
                </a:ext>
              </a:extLst>
            </p:cNvPr>
            <p:cNvCxnSpPr>
              <a:cxnSpLocks/>
            </p:cNvCxnSpPr>
            <p:nvPr/>
          </p:nvCxnSpPr>
          <p:spPr>
            <a:xfrm>
              <a:off x="776541" y="5103038"/>
              <a:ext cx="5674265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accent2"/>
                  </a:gs>
                  <a:gs pos="99000">
                    <a:schemeClr val="tx2"/>
                  </a:gs>
                </a:gsLst>
                <a:lin ang="0" scaled="1"/>
                <a:tileRect/>
              </a:gra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E3EFB7F5-8625-C0EA-B9B4-6F6042198FF8}"/>
              </a:ext>
            </a:extLst>
          </p:cNvPr>
          <p:cNvSpPr txBox="1"/>
          <p:nvPr/>
        </p:nvSpPr>
        <p:spPr>
          <a:xfrm>
            <a:off x="713308" y="5298752"/>
            <a:ext cx="636861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SemiBold"/>
                <a:ea typeface="+mn-ea"/>
                <a:cs typeface="Poppins Thin" pitchFamily="2" charset="77"/>
              </a:rPr>
              <a:t>05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B2E6D26-636C-FB5F-E271-F305F5BC6DDC}"/>
              </a:ext>
            </a:extLst>
          </p:cNvPr>
          <p:cNvSpPr txBox="1"/>
          <p:nvPr/>
        </p:nvSpPr>
        <p:spPr>
          <a:xfrm>
            <a:off x="1278277" y="5383941"/>
            <a:ext cx="588688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Poppins Thin" pitchFamily="2" charset="77"/>
              </a:rPr>
              <a:t>The additional insights from the analysis are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-Regular"/>
                <a:ea typeface="+mn-ea"/>
                <a:cs typeface="Poppins Thin" pitchFamily="2" charset="77"/>
              </a:rPr>
              <a:t>{add text here}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4E4ADC7-5816-2564-2794-1BB6E7D1EA04}"/>
              </a:ext>
            </a:extLst>
          </p:cNvPr>
          <p:cNvSpPr txBox="1"/>
          <p:nvPr/>
        </p:nvSpPr>
        <p:spPr>
          <a:xfrm>
            <a:off x="7929563" y="1999819"/>
            <a:ext cx="3721894" cy="14465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-SemiBold"/>
                <a:ea typeface="+mn-ea"/>
                <a:cs typeface="Poppins Thin" pitchFamily="2" charset="77"/>
              </a:rPr>
              <a:t>Recommendations for actio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-Regular"/>
              <a:ea typeface="+mn-ea"/>
              <a:cs typeface="Poppins Thin" pitchFamily="2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-SemiBold"/>
                <a:ea typeface="+mn-ea"/>
                <a:cs typeface="Poppins Thin" pitchFamily="2" charset="77"/>
              </a:rPr>
              <a:t>Brand Building: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SemiBold"/>
              <a:ea typeface="+mn-ea"/>
              <a:cs typeface="Poppins Thin" pitchFamily="2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Poppins Thin" pitchFamily="2" charset="77"/>
              </a:rPr>
              <a:t>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-Regular"/>
              <a:ea typeface="+mn-ea"/>
              <a:cs typeface="Poppins Thin" pitchFamily="2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-SemiBold"/>
                <a:ea typeface="+mn-ea"/>
                <a:cs typeface="Poppins Thin" pitchFamily="2" charset="77"/>
              </a:rPr>
              <a:t>Performance Marketing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Poppins Thin" pitchFamily="2" charset="77"/>
              </a:rPr>
              <a:t>…</a:t>
            </a: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2108E81D-5D9B-3781-4321-7D085B5E3D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" r="3579"/>
          <a:stretch/>
        </p:blipFill>
        <p:spPr>
          <a:xfrm>
            <a:off x="5560465" y="288734"/>
            <a:ext cx="8460089" cy="1010472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8D9F525-0C22-0F76-CB92-BDEFE5DC52A1}"/>
              </a:ext>
            </a:extLst>
          </p:cNvPr>
          <p:cNvCxnSpPr/>
          <p:nvPr/>
        </p:nvCxnSpPr>
        <p:spPr>
          <a:xfrm>
            <a:off x="7650043" y="1796330"/>
            <a:ext cx="0" cy="4202564"/>
          </a:xfrm>
          <a:prstGeom prst="line">
            <a:avLst/>
          </a:prstGeom>
          <a:ln w="12700"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Google Shape;1138;p39">
            <a:extLst>
              <a:ext uri="{FF2B5EF4-FFF2-40B4-BE49-F238E27FC236}">
                <a16:creationId xmlns:a16="http://schemas.microsoft.com/office/drawing/2014/main" id="{C60C8384-2908-563D-8C87-80B843FD7E51}"/>
              </a:ext>
            </a:extLst>
          </p:cNvPr>
          <p:cNvSpPr>
            <a:spLocks noChangeAspect="1"/>
          </p:cNvSpPr>
          <p:nvPr/>
        </p:nvSpPr>
        <p:spPr>
          <a:xfrm>
            <a:off x="10410875" y="209365"/>
            <a:ext cx="184918" cy="12525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55" h="21600" extrusionOk="0">
                <a:moveTo>
                  <a:pt x="10775" y="0"/>
                </a:moveTo>
                <a:cubicBezTo>
                  <a:pt x="8891" y="0"/>
                  <a:pt x="7365" y="2267"/>
                  <a:pt x="7365" y="5054"/>
                </a:cubicBezTo>
                <a:cubicBezTo>
                  <a:pt x="7365" y="7841"/>
                  <a:pt x="8891" y="10098"/>
                  <a:pt x="10775" y="10098"/>
                </a:cubicBezTo>
                <a:cubicBezTo>
                  <a:pt x="12659" y="10098"/>
                  <a:pt x="14185" y="7841"/>
                  <a:pt x="14185" y="5054"/>
                </a:cubicBezTo>
                <a:cubicBezTo>
                  <a:pt x="14185" y="2267"/>
                  <a:pt x="12659" y="0"/>
                  <a:pt x="10775" y="0"/>
                </a:cubicBezTo>
                <a:close/>
                <a:moveTo>
                  <a:pt x="10775" y="920"/>
                </a:moveTo>
                <a:cubicBezTo>
                  <a:pt x="12316" y="920"/>
                  <a:pt x="13569" y="2774"/>
                  <a:pt x="13569" y="5054"/>
                </a:cubicBezTo>
                <a:cubicBezTo>
                  <a:pt x="13569" y="7334"/>
                  <a:pt x="12316" y="9179"/>
                  <a:pt x="10775" y="9179"/>
                </a:cubicBezTo>
                <a:cubicBezTo>
                  <a:pt x="9233" y="9179"/>
                  <a:pt x="7987" y="7334"/>
                  <a:pt x="7987" y="5054"/>
                </a:cubicBezTo>
                <a:cubicBezTo>
                  <a:pt x="7987" y="2774"/>
                  <a:pt x="9233" y="920"/>
                  <a:pt x="10775" y="920"/>
                </a:cubicBezTo>
                <a:close/>
                <a:moveTo>
                  <a:pt x="4083" y="3907"/>
                </a:moveTo>
                <a:cubicBezTo>
                  <a:pt x="2817" y="3905"/>
                  <a:pt x="1790" y="5418"/>
                  <a:pt x="1789" y="7292"/>
                </a:cubicBezTo>
                <a:cubicBezTo>
                  <a:pt x="1788" y="9165"/>
                  <a:pt x="2810" y="10685"/>
                  <a:pt x="4077" y="10686"/>
                </a:cubicBezTo>
                <a:cubicBezTo>
                  <a:pt x="5344" y="10687"/>
                  <a:pt x="6371" y="9175"/>
                  <a:pt x="6372" y="7301"/>
                </a:cubicBezTo>
                <a:cubicBezTo>
                  <a:pt x="6372" y="7300"/>
                  <a:pt x="6372" y="7293"/>
                  <a:pt x="6372" y="7292"/>
                </a:cubicBezTo>
                <a:cubicBezTo>
                  <a:pt x="6370" y="5420"/>
                  <a:pt x="5348" y="3909"/>
                  <a:pt x="4083" y="3907"/>
                </a:cubicBezTo>
                <a:close/>
                <a:moveTo>
                  <a:pt x="17479" y="3907"/>
                </a:moveTo>
                <a:cubicBezTo>
                  <a:pt x="16212" y="3907"/>
                  <a:pt x="15184" y="5418"/>
                  <a:pt x="15184" y="7292"/>
                </a:cubicBezTo>
                <a:cubicBezTo>
                  <a:pt x="15184" y="9165"/>
                  <a:pt x="16212" y="10686"/>
                  <a:pt x="17479" y="10686"/>
                </a:cubicBezTo>
                <a:cubicBezTo>
                  <a:pt x="18746" y="10686"/>
                  <a:pt x="19774" y="9165"/>
                  <a:pt x="19774" y="7292"/>
                </a:cubicBezTo>
                <a:cubicBezTo>
                  <a:pt x="19772" y="5417"/>
                  <a:pt x="18745" y="3908"/>
                  <a:pt x="17479" y="3907"/>
                </a:cubicBezTo>
                <a:close/>
                <a:moveTo>
                  <a:pt x="4077" y="4817"/>
                </a:moveTo>
                <a:cubicBezTo>
                  <a:pt x="5001" y="4816"/>
                  <a:pt x="5749" y="5925"/>
                  <a:pt x="5750" y="7292"/>
                </a:cubicBezTo>
                <a:cubicBezTo>
                  <a:pt x="5749" y="8659"/>
                  <a:pt x="5006" y="9764"/>
                  <a:pt x="4083" y="9766"/>
                </a:cubicBezTo>
                <a:cubicBezTo>
                  <a:pt x="3159" y="9768"/>
                  <a:pt x="2405" y="8659"/>
                  <a:pt x="2404" y="7292"/>
                </a:cubicBezTo>
                <a:cubicBezTo>
                  <a:pt x="2403" y="5925"/>
                  <a:pt x="3153" y="4818"/>
                  <a:pt x="4077" y="4817"/>
                </a:cubicBezTo>
                <a:close/>
                <a:moveTo>
                  <a:pt x="17479" y="4817"/>
                </a:moveTo>
                <a:cubicBezTo>
                  <a:pt x="18403" y="4817"/>
                  <a:pt x="19152" y="5925"/>
                  <a:pt x="19152" y="7292"/>
                </a:cubicBezTo>
                <a:cubicBezTo>
                  <a:pt x="19151" y="8658"/>
                  <a:pt x="18403" y="9765"/>
                  <a:pt x="17479" y="9766"/>
                </a:cubicBezTo>
                <a:cubicBezTo>
                  <a:pt x="16555" y="9766"/>
                  <a:pt x="15806" y="8659"/>
                  <a:pt x="15806" y="7292"/>
                </a:cubicBezTo>
                <a:cubicBezTo>
                  <a:pt x="15806" y="5925"/>
                  <a:pt x="16555" y="4817"/>
                  <a:pt x="17479" y="4817"/>
                </a:cubicBezTo>
                <a:close/>
                <a:moveTo>
                  <a:pt x="10775" y="11246"/>
                </a:moveTo>
                <a:cubicBezTo>
                  <a:pt x="9400" y="11246"/>
                  <a:pt x="8026" y="11950"/>
                  <a:pt x="6916" y="13360"/>
                </a:cubicBezTo>
                <a:cubicBezTo>
                  <a:pt x="6174" y="12202"/>
                  <a:pt x="5143" y="11536"/>
                  <a:pt x="4064" y="11521"/>
                </a:cubicBezTo>
                <a:cubicBezTo>
                  <a:pt x="2059" y="11521"/>
                  <a:pt x="280" y="13959"/>
                  <a:pt x="7" y="17068"/>
                </a:cubicBezTo>
                <a:cubicBezTo>
                  <a:pt x="-22" y="17394"/>
                  <a:pt x="47" y="17720"/>
                  <a:pt x="193" y="17968"/>
                </a:cubicBezTo>
                <a:cubicBezTo>
                  <a:pt x="336" y="18207"/>
                  <a:pt x="541" y="18346"/>
                  <a:pt x="757" y="18348"/>
                </a:cubicBezTo>
                <a:lnTo>
                  <a:pt x="4692" y="18348"/>
                </a:lnTo>
                <a:cubicBezTo>
                  <a:pt x="4593" y="18844"/>
                  <a:pt x="4519" y="19352"/>
                  <a:pt x="4474" y="19865"/>
                </a:cubicBezTo>
                <a:cubicBezTo>
                  <a:pt x="4435" y="20307"/>
                  <a:pt x="4527" y="20751"/>
                  <a:pt x="4724" y="21088"/>
                </a:cubicBezTo>
                <a:cubicBezTo>
                  <a:pt x="4917" y="21413"/>
                  <a:pt x="5195" y="21600"/>
                  <a:pt x="5487" y="21600"/>
                </a:cubicBezTo>
                <a:lnTo>
                  <a:pt x="16063" y="21600"/>
                </a:lnTo>
                <a:cubicBezTo>
                  <a:pt x="16355" y="21600"/>
                  <a:pt x="16633" y="21413"/>
                  <a:pt x="16825" y="21088"/>
                </a:cubicBezTo>
                <a:cubicBezTo>
                  <a:pt x="17023" y="20751"/>
                  <a:pt x="17114" y="20307"/>
                  <a:pt x="17075" y="19865"/>
                </a:cubicBezTo>
                <a:cubicBezTo>
                  <a:pt x="17030" y="19352"/>
                  <a:pt x="16957" y="18844"/>
                  <a:pt x="16857" y="18348"/>
                </a:cubicBezTo>
                <a:lnTo>
                  <a:pt x="20799" y="18348"/>
                </a:lnTo>
                <a:cubicBezTo>
                  <a:pt x="21015" y="18346"/>
                  <a:pt x="21220" y="18208"/>
                  <a:pt x="21363" y="17968"/>
                </a:cubicBezTo>
                <a:cubicBezTo>
                  <a:pt x="21509" y="17720"/>
                  <a:pt x="21578" y="17394"/>
                  <a:pt x="21549" y="17068"/>
                </a:cubicBezTo>
                <a:cubicBezTo>
                  <a:pt x="21276" y="13959"/>
                  <a:pt x="19490" y="11521"/>
                  <a:pt x="17485" y="11521"/>
                </a:cubicBezTo>
                <a:cubicBezTo>
                  <a:pt x="16407" y="11536"/>
                  <a:pt x="15376" y="12202"/>
                  <a:pt x="14633" y="13360"/>
                </a:cubicBezTo>
                <a:cubicBezTo>
                  <a:pt x="13523" y="11950"/>
                  <a:pt x="12149" y="11246"/>
                  <a:pt x="10775" y="11246"/>
                </a:cubicBezTo>
                <a:close/>
                <a:moveTo>
                  <a:pt x="10775" y="12165"/>
                </a:moveTo>
                <a:cubicBezTo>
                  <a:pt x="13578" y="12165"/>
                  <a:pt x="16075" y="15602"/>
                  <a:pt x="16460" y="19979"/>
                </a:cubicBezTo>
                <a:cubicBezTo>
                  <a:pt x="16475" y="20160"/>
                  <a:pt x="16439" y="20343"/>
                  <a:pt x="16357" y="20481"/>
                </a:cubicBezTo>
                <a:cubicBezTo>
                  <a:pt x="16283" y="20608"/>
                  <a:pt x="16176" y="20690"/>
                  <a:pt x="16063" y="20690"/>
                </a:cubicBezTo>
                <a:lnTo>
                  <a:pt x="5487" y="20690"/>
                </a:lnTo>
                <a:cubicBezTo>
                  <a:pt x="5373" y="20690"/>
                  <a:pt x="5267" y="20608"/>
                  <a:pt x="5192" y="20481"/>
                </a:cubicBezTo>
                <a:cubicBezTo>
                  <a:pt x="5111" y="20343"/>
                  <a:pt x="5074" y="20160"/>
                  <a:pt x="5090" y="19979"/>
                </a:cubicBezTo>
                <a:cubicBezTo>
                  <a:pt x="5474" y="15595"/>
                  <a:pt x="7971" y="12165"/>
                  <a:pt x="10775" y="12165"/>
                </a:cubicBezTo>
                <a:close/>
                <a:moveTo>
                  <a:pt x="4064" y="12440"/>
                </a:moveTo>
                <a:cubicBezTo>
                  <a:pt x="4968" y="12456"/>
                  <a:pt x="5831" y="13009"/>
                  <a:pt x="6455" y="13976"/>
                </a:cubicBezTo>
                <a:cubicBezTo>
                  <a:pt x="5784" y="14959"/>
                  <a:pt x="5255" y="16131"/>
                  <a:pt x="4904" y="17428"/>
                </a:cubicBezTo>
                <a:cubicBezTo>
                  <a:pt x="4904" y="17428"/>
                  <a:pt x="757" y="17428"/>
                  <a:pt x="757" y="17428"/>
                </a:cubicBezTo>
                <a:cubicBezTo>
                  <a:pt x="719" y="17428"/>
                  <a:pt x="678" y="17405"/>
                  <a:pt x="654" y="17362"/>
                </a:cubicBezTo>
                <a:cubicBezTo>
                  <a:pt x="625" y="17314"/>
                  <a:pt x="616" y="17255"/>
                  <a:pt x="622" y="17191"/>
                </a:cubicBezTo>
                <a:cubicBezTo>
                  <a:pt x="855" y="14528"/>
                  <a:pt x="2365" y="12440"/>
                  <a:pt x="4064" y="12440"/>
                </a:cubicBezTo>
                <a:close/>
                <a:moveTo>
                  <a:pt x="17485" y="12440"/>
                </a:moveTo>
                <a:cubicBezTo>
                  <a:pt x="19191" y="12440"/>
                  <a:pt x="20695" y="14518"/>
                  <a:pt x="20927" y="17181"/>
                </a:cubicBezTo>
                <a:cubicBezTo>
                  <a:pt x="20935" y="17244"/>
                  <a:pt x="20923" y="17313"/>
                  <a:pt x="20895" y="17362"/>
                </a:cubicBezTo>
                <a:cubicBezTo>
                  <a:pt x="20871" y="17405"/>
                  <a:pt x="20837" y="17428"/>
                  <a:pt x="20799" y="17428"/>
                </a:cubicBezTo>
                <a:lnTo>
                  <a:pt x="16646" y="17428"/>
                </a:lnTo>
                <a:cubicBezTo>
                  <a:pt x="16294" y="16131"/>
                  <a:pt x="15766" y="14959"/>
                  <a:pt x="15095" y="13976"/>
                </a:cubicBezTo>
                <a:cubicBezTo>
                  <a:pt x="15718" y="13009"/>
                  <a:pt x="16582" y="12456"/>
                  <a:pt x="17485" y="12440"/>
                </a:cubicBezTo>
                <a:close/>
              </a:path>
            </a:pathLst>
          </a:cu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DF25D27-DD64-D30A-FD99-F7203602866A}"/>
              </a:ext>
            </a:extLst>
          </p:cNvPr>
          <p:cNvSpPr/>
          <p:nvPr/>
        </p:nvSpPr>
        <p:spPr>
          <a:xfrm>
            <a:off x="-1317172" y="0"/>
            <a:ext cx="1317172" cy="772886"/>
          </a:xfrm>
          <a:prstGeom prst="rect">
            <a:avLst/>
          </a:prstGeom>
          <a:solidFill>
            <a:srgbClr val="FBB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600">
                <a:solidFill>
                  <a:srgbClr val="C00000"/>
                </a:solidFill>
              </a:rPr>
              <a:t>SLIDE GLOBAL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D5A841E-22A3-A48B-8707-FCF65CE4E011}"/>
              </a:ext>
            </a:extLst>
          </p:cNvPr>
          <p:cNvSpPr txBox="1"/>
          <p:nvPr/>
        </p:nvSpPr>
        <p:spPr>
          <a:xfrm>
            <a:off x="3085731" y="3318610"/>
            <a:ext cx="54057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GUATEMALA</a:t>
            </a:r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29443669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1">
            <a:extLst>
              <a:ext uri="{FF2B5EF4-FFF2-40B4-BE49-F238E27FC236}">
                <a16:creationId xmlns:a16="http://schemas.microsoft.com/office/drawing/2014/main" id="{129A87A1-094C-1FE7-D1D1-3CD416CE780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27" r="27"/>
          <a:stretch>
            <a:fillRect/>
          </a:stretch>
        </p:blipFill>
        <p:spPr/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0C1BD4EB-3868-4293-F6AB-14D40953A1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  <p:grpSp>
        <p:nvGrpSpPr>
          <p:cNvPr id="73" name="Group 72">
            <a:extLst>
              <a:ext uri="{FF2B5EF4-FFF2-40B4-BE49-F238E27FC236}">
                <a16:creationId xmlns:a16="http://schemas.microsoft.com/office/drawing/2014/main" id="{66D97D18-2DB0-6FBE-B247-5B32934FE7C4}"/>
              </a:ext>
            </a:extLst>
          </p:cNvPr>
          <p:cNvGrpSpPr/>
          <p:nvPr/>
        </p:nvGrpSpPr>
        <p:grpSpPr>
          <a:xfrm>
            <a:off x="5135467" y="0"/>
            <a:ext cx="7056533" cy="6858000"/>
            <a:chOff x="5135467" y="0"/>
            <a:chExt cx="7056533" cy="6858000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7B569BC-CDBB-27D6-16B1-09AA7992020C}"/>
                </a:ext>
              </a:extLst>
            </p:cNvPr>
            <p:cNvGrpSpPr/>
            <p:nvPr/>
          </p:nvGrpSpPr>
          <p:grpSpPr>
            <a:xfrm>
              <a:off x="5345289" y="389314"/>
              <a:ext cx="6062787" cy="6079372"/>
              <a:chOff x="5345289" y="389314"/>
              <a:chExt cx="6062787" cy="6079372"/>
            </a:xfrm>
          </p:grpSpPr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79DD9EB9-9A11-2052-2A63-F05E4DC9C5E8}"/>
                  </a:ext>
                </a:extLst>
              </p:cNvPr>
              <p:cNvSpPr/>
              <p:nvPr/>
            </p:nvSpPr>
            <p:spPr>
              <a:xfrm>
                <a:off x="5345289" y="389314"/>
                <a:ext cx="2979005" cy="2977535"/>
              </a:xfrm>
              <a:custGeom>
                <a:avLst/>
                <a:gdLst>
                  <a:gd name="connsiteX0" fmla="*/ 2572233 w 2573506"/>
                  <a:gd name="connsiteY0" fmla="*/ 0 h 2572236"/>
                  <a:gd name="connsiteX1" fmla="*/ 2572233 w 2573506"/>
                  <a:gd name="connsiteY1" fmla="*/ 142684 h 2572236"/>
                  <a:gd name="connsiteX2" fmla="*/ 2573506 w 2573506"/>
                  <a:gd name="connsiteY2" fmla="*/ 142684 h 2572236"/>
                  <a:gd name="connsiteX3" fmla="*/ 2573506 w 2573506"/>
                  <a:gd name="connsiteY3" fmla="*/ 1062736 h 2572236"/>
                  <a:gd name="connsiteX4" fmla="*/ 2572233 w 2573506"/>
                  <a:gd name="connsiteY4" fmla="*/ 1062736 h 2572236"/>
                  <a:gd name="connsiteX5" fmla="*/ 2572233 w 2573506"/>
                  <a:gd name="connsiteY5" fmla="*/ 1211105 h 2572236"/>
                  <a:gd name="connsiteX6" fmla="*/ 2572234 w 2573506"/>
                  <a:gd name="connsiteY6" fmla="*/ 1211105 h 2572236"/>
                  <a:gd name="connsiteX7" fmla="*/ 2572234 w 2573506"/>
                  <a:gd name="connsiteY7" fmla="*/ 1511286 h 2572236"/>
                  <a:gd name="connsiteX8" fmla="*/ 2504193 w 2573506"/>
                  <a:gd name="connsiteY8" fmla="*/ 1514721 h 2572236"/>
                  <a:gd name="connsiteX9" fmla="*/ 1502254 w 2573506"/>
                  <a:gd name="connsiteY9" fmla="*/ 2516661 h 2572236"/>
                  <a:gd name="connsiteX10" fmla="*/ 1499448 w 2573506"/>
                  <a:gd name="connsiteY10" fmla="*/ 2572236 h 2572236"/>
                  <a:gd name="connsiteX11" fmla="*/ 1224473 w 2573506"/>
                  <a:gd name="connsiteY11" fmla="*/ 2572236 h 2572236"/>
                  <a:gd name="connsiteX12" fmla="*/ 1224473 w 2573506"/>
                  <a:gd name="connsiteY12" fmla="*/ 2572235 h 2572236"/>
                  <a:gd name="connsiteX13" fmla="*/ 1116361 w 2573506"/>
                  <a:gd name="connsiteY13" fmla="*/ 2572235 h 2572236"/>
                  <a:gd name="connsiteX14" fmla="*/ 825525 w 2573506"/>
                  <a:gd name="connsiteY14" fmla="*/ 2572235 h 2572236"/>
                  <a:gd name="connsiteX15" fmla="*/ 383107 w 2573506"/>
                  <a:gd name="connsiteY15" fmla="*/ 2572235 h 2572236"/>
                  <a:gd name="connsiteX16" fmla="*/ 154670 w 2573506"/>
                  <a:gd name="connsiteY16" fmla="*/ 2572235 h 2572236"/>
                  <a:gd name="connsiteX17" fmla="*/ 0 w 2573506"/>
                  <a:gd name="connsiteY17" fmla="*/ 2572235 h 2572236"/>
                  <a:gd name="connsiteX18" fmla="*/ 2572233 w 2573506"/>
                  <a:gd name="connsiteY18" fmla="*/ 0 h 2572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73506" h="2572236">
                    <a:moveTo>
                      <a:pt x="2572233" y="0"/>
                    </a:moveTo>
                    <a:lnTo>
                      <a:pt x="2572233" y="142684"/>
                    </a:lnTo>
                    <a:lnTo>
                      <a:pt x="2573506" y="142684"/>
                    </a:lnTo>
                    <a:lnTo>
                      <a:pt x="2573506" y="1062736"/>
                    </a:lnTo>
                    <a:lnTo>
                      <a:pt x="2572233" y="1062736"/>
                    </a:lnTo>
                    <a:lnTo>
                      <a:pt x="2572233" y="1211105"/>
                    </a:lnTo>
                    <a:lnTo>
                      <a:pt x="2572234" y="1211105"/>
                    </a:lnTo>
                    <a:lnTo>
                      <a:pt x="2572234" y="1511286"/>
                    </a:lnTo>
                    <a:lnTo>
                      <a:pt x="2504193" y="1514721"/>
                    </a:lnTo>
                    <a:cubicBezTo>
                      <a:pt x="1975899" y="1568373"/>
                      <a:pt x="1555905" y="1988366"/>
                      <a:pt x="1502254" y="2516661"/>
                    </a:cubicBezTo>
                    <a:lnTo>
                      <a:pt x="1499448" y="2572236"/>
                    </a:lnTo>
                    <a:lnTo>
                      <a:pt x="1224473" y="2572236"/>
                    </a:lnTo>
                    <a:lnTo>
                      <a:pt x="1224473" y="2572235"/>
                    </a:lnTo>
                    <a:lnTo>
                      <a:pt x="1116361" y="2572235"/>
                    </a:lnTo>
                    <a:lnTo>
                      <a:pt x="825525" y="2572235"/>
                    </a:lnTo>
                    <a:lnTo>
                      <a:pt x="383107" y="2572235"/>
                    </a:lnTo>
                    <a:lnTo>
                      <a:pt x="154670" y="2572235"/>
                    </a:lnTo>
                    <a:lnTo>
                      <a:pt x="0" y="2572235"/>
                    </a:lnTo>
                    <a:cubicBezTo>
                      <a:pt x="0" y="1151629"/>
                      <a:pt x="1151628" y="0"/>
                      <a:pt x="257223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277DB8B2-1FF9-AD82-2034-76C722C70DC8}"/>
                  </a:ext>
                </a:extLst>
              </p:cNvPr>
              <p:cNvSpPr/>
              <p:nvPr/>
            </p:nvSpPr>
            <p:spPr>
              <a:xfrm>
                <a:off x="8424327" y="389315"/>
                <a:ext cx="2983749" cy="2977535"/>
              </a:xfrm>
              <a:custGeom>
                <a:avLst/>
                <a:gdLst>
                  <a:gd name="connsiteX0" fmla="*/ 0 w 2577604"/>
                  <a:gd name="connsiteY0" fmla="*/ 0 h 2572236"/>
                  <a:gd name="connsiteX1" fmla="*/ 2577604 w 2577604"/>
                  <a:gd name="connsiteY1" fmla="*/ 2572235 h 2572236"/>
                  <a:gd name="connsiteX2" fmla="*/ 2186404 w 2577604"/>
                  <a:gd name="connsiteY2" fmla="*/ 2572235 h 2572236"/>
                  <a:gd name="connsiteX3" fmla="*/ 2186404 w 2577604"/>
                  <a:gd name="connsiteY3" fmla="*/ 2572234 h 2572236"/>
                  <a:gd name="connsiteX4" fmla="*/ 1743066 w 2577604"/>
                  <a:gd name="connsiteY4" fmla="*/ 2572234 h 2572236"/>
                  <a:gd name="connsiteX5" fmla="*/ 1743066 w 2577604"/>
                  <a:gd name="connsiteY5" fmla="*/ 2572235 h 2572236"/>
                  <a:gd name="connsiteX6" fmla="*/ 1345851 w 2577604"/>
                  <a:gd name="connsiteY6" fmla="*/ 2572235 h 2572236"/>
                  <a:gd name="connsiteX7" fmla="*/ 1345851 w 2577604"/>
                  <a:gd name="connsiteY7" fmla="*/ 2572236 h 2572236"/>
                  <a:gd name="connsiteX8" fmla="*/ 1078555 w 2577604"/>
                  <a:gd name="connsiteY8" fmla="*/ 2572236 h 2572236"/>
                  <a:gd name="connsiteX9" fmla="*/ 1075749 w 2577604"/>
                  <a:gd name="connsiteY9" fmla="*/ 2516659 h 2572236"/>
                  <a:gd name="connsiteX10" fmla="*/ 73810 w 2577604"/>
                  <a:gd name="connsiteY10" fmla="*/ 1514719 h 2572236"/>
                  <a:gd name="connsiteX11" fmla="*/ 0 w 2577604"/>
                  <a:gd name="connsiteY11" fmla="*/ 1510992 h 2572236"/>
                  <a:gd name="connsiteX12" fmla="*/ 0 w 2577604"/>
                  <a:gd name="connsiteY12" fmla="*/ 1235270 h 2572236"/>
                  <a:gd name="connsiteX13" fmla="*/ 0 w 2577604"/>
                  <a:gd name="connsiteY13" fmla="*/ 1211104 h 2572236"/>
                  <a:gd name="connsiteX14" fmla="*/ 0 w 2577604"/>
                  <a:gd name="connsiteY14" fmla="*/ 998130 h 2572236"/>
                  <a:gd name="connsiteX15" fmla="*/ 0 w 2577604"/>
                  <a:gd name="connsiteY15" fmla="*/ 828762 h 2572236"/>
                  <a:gd name="connsiteX16" fmla="*/ 0 w 2577604"/>
                  <a:gd name="connsiteY16" fmla="*/ 376267 h 2572236"/>
                  <a:gd name="connsiteX17" fmla="*/ 0 w 2577604"/>
                  <a:gd name="connsiteY17" fmla="*/ 142682 h 2572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577604" h="2572236">
                    <a:moveTo>
                      <a:pt x="0" y="0"/>
                    </a:moveTo>
                    <a:cubicBezTo>
                      <a:pt x="1423572" y="0"/>
                      <a:pt x="2577604" y="1151629"/>
                      <a:pt x="2577604" y="2572235"/>
                    </a:cubicBezTo>
                    <a:lnTo>
                      <a:pt x="2186404" y="2572235"/>
                    </a:lnTo>
                    <a:lnTo>
                      <a:pt x="2186404" y="2572234"/>
                    </a:lnTo>
                    <a:lnTo>
                      <a:pt x="1743066" y="2572234"/>
                    </a:lnTo>
                    <a:lnTo>
                      <a:pt x="1743066" y="2572235"/>
                    </a:lnTo>
                    <a:lnTo>
                      <a:pt x="1345851" y="2572235"/>
                    </a:lnTo>
                    <a:lnTo>
                      <a:pt x="1345851" y="2572236"/>
                    </a:lnTo>
                    <a:lnTo>
                      <a:pt x="1078555" y="2572236"/>
                    </a:lnTo>
                    <a:lnTo>
                      <a:pt x="1075749" y="2516659"/>
                    </a:lnTo>
                    <a:cubicBezTo>
                      <a:pt x="1022097" y="1988364"/>
                      <a:pt x="602104" y="1568371"/>
                      <a:pt x="73810" y="1514719"/>
                    </a:cubicBezTo>
                    <a:lnTo>
                      <a:pt x="0" y="1510992"/>
                    </a:lnTo>
                    <a:lnTo>
                      <a:pt x="0" y="1235270"/>
                    </a:lnTo>
                    <a:lnTo>
                      <a:pt x="0" y="1211104"/>
                    </a:lnTo>
                    <a:lnTo>
                      <a:pt x="0" y="998130"/>
                    </a:lnTo>
                    <a:lnTo>
                      <a:pt x="0" y="828762"/>
                    </a:lnTo>
                    <a:lnTo>
                      <a:pt x="0" y="376267"/>
                    </a:lnTo>
                    <a:lnTo>
                      <a:pt x="0" y="14268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4A8A410F-6328-4587-5699-EEB3B46E2480}"/>
                  </a:ext>
                </a:extLst>
              </p:cNvPr>
              <p:cNvSpPr/>
              <p:nvPr/>
            </p:nvSpPr>
            <p:spPr>
              <a:xfrm>
                <a:off x="8424327" y="3489415"/>
                <a:ext cx="2981618" cy="2977539"/>
              </a:xfrm>
              <a:custGeom>
                <a:avLst/>
                <a:gdLst>
                  <a:gd name="connsiteX0" fmla="*/ 1574207 w 2575763"/>
                  <a:gd name="connsiteY0" fmla="*/ 0 h 2572239"/>
                  <a:gd name="connsiteX1" fmla="*/ 2336003 w 2575763"/>
                  <a:gd name="connsiteY1" fmla="*/ 0 h 2572239"/>
                  <a:gd name="connsiteX2" fmla="*/ 2336003 w 2575763"/>
                  <a:gd name="connsiteY2" fmla="*/ 4 h 2572239"/>
                  <a:gd name="connsiteX3" fmla="*/ 2575763 w 2575763"/>
                  <a:gd name="connsiteY3" fmla="*/ 4 h 2572239"/>
                  <a:gd name="connsiteX4" fmla="*/ 1 w 2575763"/>
                  <a:gd name="connsiteY4" fmla="*/ 2572239 h 2572239"/>
                  <a:gd name="connsiteX5" fmla="*/ 1 w 2575763"/>
                  <a:gd name="connsiteY5" fmla="*/ 2219561 h 2572239"/>
                  <a:gd name="connsiteX6" fmla="*/ 0 w 2575763"/>
                  <a:gd name="connsiteY6" fmla="*/ 2219561 h 2572239"/>
                  <a:gd name="connsiteX7" fmla="*/ 0 w 2575763"/>
                  <a:gd name="connsiteY7" fmla="*/ 1256889 h 2572239"/>
                  <a:gd name="connsiteX8" fmla="*/ 1 w 2575763"/>
                  <a:gd name="connsiteY8" fmla="*/ 1256889 h 2572239"/>
                  <a:gd name="connsiteX9" fmla="*/ 1 w 2575763"/>
                  <a:gd name="connsiteY9" fmla="*/ 1073748 h 2572239"/>
                  <a:gd name="connsiteX10" fmla="*/ 73811 w 2575763"/>
                  <a:gd name="connsiteY10" fmla="*/ 1070021 h 2572239"/>
                  <a:gd name="connsiteX11" fmla="*/ 1075749 w 2575763"/>
                  <a:gd name="connsiteY11" fmla="*/ 68082 h 2572239"/>
                  <a:gd name="connsiteX12" fmla="*/ 1079187 w 2575763"/>
                  <a:gd name="connsiteY12" fmla="*/ 3 h 2572239"/>
                  <a:gd name="connsiteX13" fmla="*/ 1345853 w 2575763"/>
                  <a:gd name="connsiteY13" fmla="*/ 3 h 2572239"/>
                  <a:gd name="connsiteX14" fmla="*/ 1345853 w 2575763"/>
                  <a:gd name="connsiteY14" fmla="*/ 4 h 2572239"/>
                  <a:gd name="connsiteX15" fmla="*/ 1574207 w 2575763"/>
                  <a:gd name="connsiteY15" fmla="*/ 4 h 2572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75763" h="2572239">
                    <a:moveTo>
                      <a:pt x="1574207" y="0"/>
                    </a:moveTo>
                    <a:lnTo>
                      <a:pt x="2336003" y="0"/>
                    </a:lnTo>
                    <a:lnTo>
                      <a:pt x="2336003" y="4"/>
                    </a:lnTo>
                    <a:lnTo>
                      <a:pt x="2575763" y="4"/>
                    </a:lnTo>
                    <a:cubicBezTo>
                      <a:pt x="2575763" y="1420611"/>
                      <a:pt x="1422555" y="2572239"/>
                      <a:pt x="1" y="2572239"/>
                    </a:cubicBezTo>
                    <a:lnTo>
                      <a:pt x="1" y="2219561"/>
                    </a:lnTo>
                    <a:lnTo>
                      <a:pt x="0" y="2219561"/>
                    </a:lnTo>
                    <a:lnTo>
                      <a:pt x="0" y="1256889"/>
                    </a:lnTo>
                    <a:lnTo>
                      <a:pt x="1" y="1256889"/>
                    </a:lnTo>
                    <a:lnTo>
                      <a:pt x="1" y="1073748"/>
                    </a:lnTo>
                    <a:lnTo>
                      <a:pt x="73811" y="1070021"/>
                    </a:lnTo>
                    <a:cubicBezTo>
                      <a:pt x="602105" y="1016370"/>
                      <a:pt x="1022097" y="596376"/>
                      <a:pt x="1075749" y="68082"/>
                    </a:cubicBezTo>
                    <a:lnTo>
                      <a:pt x="1079187" y="3"/>
                    </a:lnTo>
                    <a:lnTo>
                      <a:pt x="1345853" y="3"/>
                    </a:lnTo>
                    <a:lnTo>
                      <a:pt x="1345853" y="4"/>
                    </a:lnTo>
                    <a:lnTo>
                      <a:pt x="1574207" y="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3442245C-5127-5FED-1A58-C898F22B1057}"/>
                  </a:ext>
                </a:extLst>
              </p:cNvPr>
              <p:cNvSpPr/>
              <p:nvPr/>
            </p:nvSpPr>
            <p:spPr>
              <a:xfrm>
                <a:off x="5345292" y="3489416"/>
                <a:ext cx="2971652" cy="2979270"/>
              </a:xfrm>
              <a:custGeom>
                <a:avLst/>
                <a:gdLst>
                  <a:gd name="connsiteX0" fmla="*/ 239097 w 2567154"/>
                  <a:gd name="connsiteY0" fmla="*/ 0 h 2573735"/>
                  <a:gd name="connsiteX1" fmla="*/ 1046842 w 2567154"/>
                  <a:gd name="connsiteY1" fmla="*/ 0 h 2573735"/>
                  <a:gd name="connsiteX2" fmla="*/ 1046842 w 2567154"/>
                  <a:gd name="connsiteY2" fmla="*/ 1 h 2573735"/>
                  <a:gd name="connsiteX3" fmla="*/ 1234354 w 2567154"/>
                  <a:gd name="connsiteY3" fmla="*/ 1 h 2573735"/>
                  <a:gd name="connsiteX4" fmla="*/ 1234354 w 2567154"/>
                  <a:gd name="connsiteY4" fmla="*/ 4 h 2573735"/>
                  <a:gd name="connsiteX5" fmla="*/ 1498815 w 2567154"/>
                  <a:gd name="connsiteY5" fmla="*/ 4 h 2573735"/>
                  <a:gd name="connsiteX6" fmla="*/ 1502253 w 2567154"/>
                  <a:gd name="connsiteY6" fmla="*/ 68081 h 2573735"/>
                  <a:gd name="connsiteX7" fmla="*/ 2504192 w 2567154"/>
                  <a:gd name="connsiteY7" fmla="*/ 1070020 h 2573735"/>
                  <a:gd name="connsiteX8" fmla="*/ 2565992 w 2567154"/>
                  <a:gd name="connsiteY8" fmla="*/ 1073141 h 2573735"/>
                  <a:gd name="connsiteX9" fmla="*/ 2565992 w 2567154"/>
                  <a:gd name="connsiteY9" fmla="*/ 1089677 h 2573735"/>
                  <a:gd name="connsiteX10" fmla="*/ 2567154 w 2567154"/>
                  <a:gd name="connsiteY10" fmla="*/ 1089677 h 2573735"/>
                  <a:gd name="connsiteX11" fmla="*/ 2567154 w 2567154"/>
                  <a:gd name="connsiteY11" fmla="*/ 2573735 h 2573735"/>
                  <a:gd name="connsiteX12" fmla="*/ 2307528 w 2567154"/>
                  <a:gd name="connsiteY12" fmla="*/ 2560606 h 2573735"/>
                  <a:gd name="connsiteX13" fmla="*/ 0 w 2567154"/>
                  <a:gd name="connsiteY13" fmla="*/ 1 h 2573735"/>
                  <a:gd name="connsiteX14" fmla="*/ 239097 w 2567154"/>
                  <a:gd name="connsiteY14" fmla="*/ 1 h 2573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567154" h="2573735">
                    <a:moveTo>
                      <a:pt x="239097" y="0"/>
                    </a:moveTo>
                    <a:lnTo>
                      <a:pt x="1046842" y="0"/>
                    </a:lnTo>
                    <a:lnTo>
                      <a:pt x="1046842" y="1"/>
                    </a:lnTo>
                    <a:lnTo>
                      <a:pt x="1234354" y="1"/>
                    </a:lnTo>
                    <a:lnTo>
                      <a:pt x="1234354" y="4"/>
                    </a:lnTo>
                    <a:lnTo>
                      <a:pt x="1498815" y="4"/>
                    </a:lnTo>
                    <a:lnTo>
                      <a:pt x="1502253" y="68081"/>
                    </a:lnTo>
                    <a:cubicBezTo>
                      <a:pt x="1555904" y="596375"/>
                      <a:pt x="1975897" y="1016369"/>
                      <a:pt x="2504192" y="1070020"/>
                    </a:cubicBezTo>
                    <a:lnTo>
                      <a:pt x="2565992" y="1073141"/>
                    </a:lnTo>
                    <a:lnTo>
                      <a:pt x="2565992" y="1089677"/>
                    </a:lnTo>
                    <a:lnTo>
                      <a:pt x="2567154" y="1089677"/>
                    </a:lnTo>
                    <a:lnTo>
                      <a:pt x="2567154" y="2573735"/>
                    </a:lnTo>
                    <a:lnTo>
                      <a:pt x="2307528" y="2560606"/>
                    </a:lnTo>
                    <a:cubicBezTo>
                      <a:pt x="1011424" y="2428796"/>
                      <a:pt x="0" y="1332678"/>
                      <a:pt x="0" y="1"/>
                    </a:cubicBezTo>
                    <a:lnTo>
                      <a:pt x="239097" y="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24459DA0-85C7-D5F8-A749-238285BECF6B}"/>
                  </a:ext>
                </a:extLst>
              </p:cNvPr>
              <p:cNvGrpSpPr/>
              <p:nvPr/>
            </p:nvGrpSpPr>
            <p:grpSpPr>
              <a:xfrm>
                <a:off x="10038811" y="3114412"/>
                <a:ext cx="618056" cy="618056"/>
                <a:chOff x="12264617" y="3634638"/>
                <a:chExt cx="533927" cy="533927"/>
              </a:xfrm>
            </p:grpSpPr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C05FB97B-CC93-EA0B-8108-0D8C0AFBF5B8}"/>
                    </a:ext>
                  </a:extLst>
                </p:cNvPr>
                <p:cNvSpPr/>
                <p:nvPr/>
              </p:nvSpPr>
              <p:spPr>
                <a:xfrm>
                  <a:off x="12264617" y="3634638"/>
                  <a:ext cx="533927" cy="533927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-Regular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L-Shape 24">
                  <a:extLst>
                    <a:ext uri="{FF2B5EF4-FFF2-40B4-BE49-F238E27FC236}">
                      <a16:creationId xmlns:a16="http://schemas.microsoft.com/office/drawing/2014/main" id="{B15286AC-F190-1EE3-26AD-3AC2D2BEEA93}"/>
                    </a:ext>
                  </a:extLst>
                </p:cNvPr>
                <p:cNvSpPr/>
                <p:nvPr/>
              </p:nvSpPr>
              <p:spPr>
                <a:xfrm rot="2700000" flipH="1">
                  <a:off x="12439126" y="3774247"/>
                  <a:ext cx="184909" cy="184909"/>
                </a:xfrm>
                <a:prstGeom prst="corner">
                  <a:avLst>
                    <a:gd name="adj1" fmla="val 17364"/>
                    <a:gd name="adj2" fmla="val 17364"/>
                  </a:avLst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endParaRPr>
                </a:p>
              </p:txBody>
            </p:sp>
          </p:grp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5D041CBC-188F-498C-20A3-7F68B749A59D}"/>
                  </a:ext>
                </a:extLst>
              </p:cNvPr>
              <p:cNvSpPr txBox="1"/>
              <p:nvPr/>
            </p:nvSpPr>
            <p:spPr>
              <a:xfrm rot="18864559">
                <a:off x="6165332" y="1930033"/>
                <a:ext cx="2108973" cy="583264"/>
              </a:xfrm>
              <a:prstGeom prst="rect">
                <a:avLst/>
              </a:prstGeom>
              <a:noFill/>
            </p:spPr>
            <p:txBody>
              <a:bodyPr wrap="none" rtlCol="0" anchor="ctr">
                <a:prstTxWarp prst="textArchUp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udience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9545C98-CC64-D7A6-C253-754574318E12}"/>
                  </a:ext>
                </a:extLst>
              </p:cNvPr>
              <p:cNvSpPr/>
              <p:nvPr/>
            </p:nvSpPr>
            <p:spPr>
              <a:xfrm rot="2870013">
                <a:off x="8365533" y="1850059"/>
                <a:ext cx="2182239" cy="583264"/>
              </a:xfrm>
              <a:prstGeom prst="rect">
                <a:avLst/>
              </a:prstGeom>
            </p:spPr>
            <p:txBody>
              <a:bodyPr wrap="none" anchor="ctr">
                <a:prstTxWarp prst="textArchUp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llocation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1A52DE34-6680-7802-F815-A0134B6FD1B2}"/>
                  </a:ext>
                </a:extLst>
              </p:cNvPr>
              <p:cNvSpPr/>
              <p:nvPr/>
            </p:nvSpPr>
            <p:spPr>
              <a:xfrm rot="18914344">
                <a:off x="8391559" y="4040115"/>
                <a:ext cx="2173304" cy="1018669"/>
              </a:xfrm>
              <a:prstGeom prst="rect">
                <a:avLst/>
              </a:prstGeom>
            </p:spPr>
            <p:txBody>
              <a:bodyPr wrap="none" anchor="ctr">
                <a:prstTxWarp prst="textArchDown">
                  <a:avLst>
                    <a:gd name="adj" fmla="val 976732"/>
                  </a:avLst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ctivation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5B2724D8-6C06-9B7A-98D1-F49BAC6678EB}"/>
                  </a:ext>
                </a:extLst>
              </p:cNvPr>
              <p:cNvSpPr/>
              <p:nvPr/>
            </p:nvSpPr>
            <p:spPr>
              <a:xfrm rot="2812719">
                <a:off x="6020890" y="4390819"/>
                <a:ext cx="2182239" cy="583264"/>
              </a:xfrm>
              <a:prstGeom prst="rect">
                <a:avLst/>
              </a:prstGeom>
            </p:spPr>
            <p:txBody>
              <a:bodyPr wrap="none" anchor="ctr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ttribution</a:t>
                </a:r>
              </a:p>
            </p:txBody>
          </p: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75D5D25B-99CE-332E-A810-D64A7EA8F5C6}"/>
                  </a:ext>
                </a:extLst>
              </p:cNvPr>
              <p:cNvGrpSpPr/>
              <p:nvPr/>
            </p:nvGrpSpPr>
            <p:grpSpPr>
              <a:xfrm>
                <a:off x="8076720" y="1081427"/>
                <a:ext cx="618056" cy="618056"/>
                <a:chOff x="12264617" y="1548657"/>
                <a:chExt cx="533927" cy="533927"/>
              </a:xfrm>
            </p:grpSpPr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82F1450E-AB51-630D-5524-E477A90EAFDC}"/>
                    </a:ext>
                  </a:extLst>
                </p:cNvPr>
                <p:cNvSpPr/>
                <p:nvPr/>
              </p:nvSpPr>
              <p:spPr>
                <a:xfrm>
                  <a:off x="12264617" y="1548657"/>
                  <a:ext cx="533927" cy="533927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-Regular"/>
                    <a:ea typeface="+mn-ea"/>
                    <a:cs typeface="+mn-cs"/>
                  </a:endParaRPr>
                </a:p>
              </p:txBody>
            </p:sp>
            <p:grpSp>
              <p:nvGrpSpPr>
                <p:cNvPr id="48" name="Group 47">
                  <a:extLst>
                    <a:ext uri="{FF2B5EF4-FFF2-40B4-BE49-F238E27FC236}">
                      <a16:creationId xmlns:a16="http://schemas.microsoft.com/office/drawing/2014/main" id="{AD0D39D2-6112-690C-8F75-512E57812543}"/>
                    </a:ext>
                  </a:extLst>
                </p:cNvPr>
                <p:cNvGrpSpPr/>
                <p:nvPr/>
              </p:nvGrpSpPr>
              <p:grpSpPr>
                <a:xfrm>
                  <a:off x="12398632" y="1657567"/>
                  <a:ext cx="265896" cy="316107"/>
                  <a:chOff x="5953896" y="907548"/>
                  <a:chExt cx="397410" cy="472458"/>
                </a:xfrm>
                <a:solidFill>
                  <a:schemeClr val="tx1"/>
                </a:solidFill>
              </p:grpSpPr>
              <p:sp>
                <p:nvSpPr>
                  <p:cNvPr id="49" name="L-Shape 3">
                    <a:extLst>
                      <a:ext uri="{FF2B5EF4-FFF2-40B4-BE49-F238E27FC236}">
                        <a16:creationId xmlns:a16="http://schemas.microsoft.com/office/drawing/2014/main" id="{40D77181-04CA-A30B-8768-7DD74912D0CC}"/>
                      </a:ext>
                    </a:extLst>
                  </p:cNvPr>
                  <p:cNvSpPr/>
                  <p:nvPr/>
                </p:nvSpPr>
                <p:spPr>
                  <a:xfrm rot="18763950" flipH="1">
                    <a:off x="5953896" y="907548"/>
                    <a:ext cx="232873" cy="232873"/>
                  </a:xfrm>
                  <a:prstGeom prst="corner">
                    <a:avLst>
                      <a:gd name="adj1" fmla="val 17364"/>
                      <a:gd name="adj2" fmla="val 17364"/>
                    </a:avLst>
                  </a:prstGeom>
                  <a:solidFill>
                    <a:schemeClr val="bg2">
                      <a:lumMod val="75000"/>
                    </a:scheme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itchFamily="2" charset="77"/>
                      <a:ea typeface="+mn-ea"/>
                      <a:cs typeface="Poppins" pitchFamily="2" charset="77"/>
                    </a:endParaRPr>
                  </a:p>
                </p:txBody>
              </p:sp>
              <p:sp>
                <p:nvSpPr>
                  <p:cNvPr id="50" name="L-Shape 39">
                    <a:extLst>
                      <a:ext uri="{FF2B5EF4-FFF2-40B4-BE49-F238E27FC236}">
                        <a16:creationId xmlns:a16="http://schemas.microsoft.com/office/drawing/2014/main" id="{54F615E1-3B4D-EE0F-20CC-1015B19B283B}"/>
                      </a:ext>
                    </a:extLst>
                  </p:cNvPr>
                  <p:cNvSpPr/>
                  <p:nvPr/>
                </p:nvSpPr>
                <p:spPr>
                  <a:xfrm rot="2836050">
                    <a:off x="6118432" y="1147132"/>
                    <a:ext cx="232875" cy="232873"/>
                  </a:xfrm>
                  <a:prstGeom prst="corner">
                    <a:avLst>
                      <a:gd name="adj1" fmla="val 17364"/>
                      <a:gd name="adj2" fmla="val 17364"/>
                    </a:avLst>
                  </a:prstGeom>
                  <a:solidFill>
                    <a:schemeClr val="bg2">
                      <a:lumMod val="75000"/>
                    </a:scheme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itchFamily="2" charset="77"/>
                      <a:ea typeface="+mn-ea"/>
                      <a:cs typeface="Poppins" pitchFamily="2" charset="77"/>
                    </a:endParaRPr>
                  </a:p>
                </p:txBody>
              </p:sp>
            </p:grpSp>
          </p:grp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7B2F954F-5791-477E-9658-876A0A074D28}"/>
                  </a:ext>
                </a:extLst>
              </p:cNvPr>
              <p:cNvSpPr/>
              <p:nvPr/>
            </p:nvSpPr>
            <p:spPr>
              <a:xfrm>
                <a:off x="5345289" y="389315"/>
                <a:ext cx="2979005" cy="2977534"/>
              </a:xfrm>
              <a:custGeom>
                <a:avLst/>
                <a:gdLst>
                  <a:gd name="connsiteX0" fmla="*/ 2572233 w 2573506"/>
                  <a:gd name="connsiteY0" fmla="*/ 0 h 2572235"/>
                  <a:gd name="connsiteX1" fmla="*/ 2572233 w 2573506"/>
                  <a:gd name="connsiteY1" fmla="*/ 142684 h 2572235"/>
                  <a:gd name="connsiteX2" fmla="*/ 2573506 w 2573506"/>
                  <a:gd name="connsiteY2" fmla="*/ 142684 h 2572235"/>
                  <a:gd name="connsiteX3" fmla="*/ 2573506 w 2573506"/>
                  <a:gd name="connsiteY3" fmla="*/ 238705 h 2572235"/>
                  <a:gd name="connsiteX4" fmla="*/ 2367556 w 2573506"/>
                  <a:gd name="connsiteY4" fmla="*/ 249105 h 2572235"/>
                  <a:gd name="connsiteX5" fmla="*/ 237850 w 2573506"/>
                  <a:gd name="connsiteY5" fmla="*/ 2378811 h 2572235"/>
                  <a:gd name="connsiteX6" fmla="*/ 228083 w 2573506"/>
                  <a:gd name="connsiteY6" fmla="*/ 2572235 h 2572235"/>
                  <a:gd name="connsiteX7" fmla="*/ 154670 w 2573506"/>
                  <a:gd name="connsiteY7" fmla="*/ 2572235 h 2572235"/>
                  <a:gd name="connsiteX8" fmla="*/ 0 w 2573506"/>
                  <a:gd name="connsiteY8" fmla="*/ 2572235 h 2572235"/>
                  <a:gd name="connsiteX9" fmla="*/ 2572233 w 2573506"/>
                  <a:gd name="connsiteY9" fmla="*/ 0 h 2572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73506" h="2572235">
                    <a:moveTo>
                      <a:pt x="2572233" y="0"/>
                    </a:moveTo>
                    <a:lnTo>
                      <a:pt x="2572233" y="142684"/>
                    </a:lnTo>
                    <a:lnTo>
                      <a:pt x="2573506" y="142684"/>
                    </a:lnTo>
                    <a:lnTo>
                      <a:pt x="2573506" y="238705"/>
                    </a:lnTo>
                    <a:lnTo>
                      <a:pt x="2367556" y="249105"/>
                    </a:lnTo>
                    <a:cubicBezTo>
                      <a:pt x="1244622" y="363145"/>
                      <a:pt x="351890" y="1255877"/>
                      <a:pt x="237850" y="2378811"/>
                    </a:cubicBezTo>
                    <a:lnTo>
                      <a:pt x="228083" y="2572235"/>
                    </a:lnTo>
                    <a:lnTo>
                      <a:pt x="154670" y="2572235"/>
                    </a:lnTo>
                    <a:lnTo>
                      <a:pt x="0" y="2572235"/>
                    </a:lnTo>
                    <a:cubicBezTo>
                      <a:pt x="0" y="1151629"/>
                      <a:pt x="1151628" y="0"/>
                      <a:pt x="2572233" y="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6A6534C9-7AEF-FB00-ED33-BE8E9A15A6BA}"/>
                  </a:ext>
                </a:extLst>
              </p:cNvPr>
              <p:cNvSpPr/>
              <p:nvPr/>
            </p:nvSpPr>
            <p:spPr>
              <a:xfrm>
                <a:off x="8424327" y="389316"/>
                <a:ext cx="2983749" cy="2977534"/>
              </a:xfrm>
              <a:custGeom>
                <a:avLst/>
                <a:gdLst>
                  <a:gd name="connsiteX0" fmla="*/ 0 w 2577604"/>
                  <a:gd name="connsiteY0" fmla="*/ 0 h 2572235"/>
                  <a:gd name="connsiteX1" fmla="*/ 2577604 w 2577604"/>
                  <a:gd name="connsiteY1" fmla="*/ 2572235 h 2572235"/>
                  <a:gd name="connsiteX2" fmla="*/ 2335011 w 2577604"/>
                  <a:gd name="connsiteY2" fmla="*/ 2572235 h 2572235"/>
                  <a:gd name="connsiteX3" fmla="*/ 2325244 w 2577604"/>
                  <a:gd name="connsiteY3" fmla="*/ 2378810 h 2572235"/>
                  <a:gd name="connsiteX4" fmla="*/ 195538 w 2577604"/>
                  <a:gd name="connsiteY4" fmla="*/ 249104 h 2572235"/>
                  <a:gd name="connsiteX5" fmla="*/ 0 w 2577604"/>
                  <a:gd name="connsiteY5" fmla="*/ 239230 h 2572235"/>
                  <a:gd name="connsiteX6" fmla="*/ 0 w 2577604"/>
                  <a:gd name="connsiteY6" fmla="*/ 142682 h 2572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77604" h="2572235">
                    <a:moveTo>
                      <a:pt x="0" y="0"/>
                    </a:moveTo>
                    <a:cubicBezTo>
                      <a:pt x="1423572" y="0"/>
                      <a:pt x="2577604" y="1151629"/>
                      <a:pt x="2577604" y="2572235"/>
                    </a:cubicBezTo>
                    <a:lnTo>
                      <a:pt x="2335011" y="2572235"/>
                    </a:lnTo>
                    <a:lnTo>
                      <a:pt x="2325244" y="2378810"/>
                    </a:lnTo>
                    <a:cubicBezTo>
                      <a:pt x="2211204" y="1255876"/>
                      <a:pt x="1318471" y="363144"/>
                      <a:pt x="195538" y="249104"/>
                    </a:cubicBezTo>
                    <a:lnTo>
                      <a:pt x="0" y="239230"/>
                    </a:lnTo>
                    <a:lnTo>
                      <a:pt x="0" y="142682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96EF2B60-7873-2198-35E7-08B3CFAE4208}"/>
                  </a:ext>
                </a:extLst>
              </p:cNvPr>
              <p:cNvSpPr/>
              <p:nvPr/>
            </p:nvSpPr>
            <p:spPr>
              <a:xfrm>
                <a:off x="8424329" y="3489415"/>
                <a:ext cx="2981616" cy="2977539"/>
              </a:xfrm>
              <a:custGeom>
                <a:avLst/>
                <a:gdLst>
                  <a:gd name="connsiteX0" fmla="*/ 2334766 w 2575762"/>
                  <a:gd name="connsiteY0" fmla="*/ 0 h 2572239"/>
                  <a:gd name="connsiteX1" fmla="*/ 2336002 w 2575762"/>
                  <a:gd name="connsiteY1" fmla="*/ 0 h 2572239"/>
                  <a:gd name="connsiteX2" fmla="*/ 2336002 w 2575762"/>
                  <a:gd name="connsiteY2" fmla="*/ 4 h 2572239"/>
                  <a:gd name="connsiteX3" fmla="*/ 2575762 w 2575762"/>
                  <a:gd name="connsiteY3" fmla="*/ 4 h 2572239"/>
                  <a:gd name="connsiteX4" fmla="*/ 0 w 2575762"/>
                  <a:gd name="connsiteY4" fmla="*/ 2572239 h 2572239"/>
                  <a:gd name="connsiteX5" fmla="*/ 0 w 2575762"/>
                  <a:gd name="connsiteY5" fmla="*/ 2328177 h 2572239"/>
                  <a:gd name="connsiteX6" fmla="*/ 195537 w 2575762"/>
                  <a:gd name="connsiteY6" fmla="*/ 2318304 h 2572239"/>
                  <a:gd name="connsiteX7" fmla="*/ 2325243 w 2575762"/>
                  <a:gd name="connsiteY7" fmla="*/ 188598 h 2572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75762" h="2572239">
                    <a:moveTo>
                      <a:pt x="2334766" y="0"/>
                    </a:moveTo>
                    <a:lnTo>
                      <a:pt x="2336002" y="0"/>
                    </a:lnTo>
                    <a:lnTo>
                      <a:pt x="2336002" y="4"/>
                    </a:lnTo>
                    <a:lnTo>
                      <a:pt x="2575762" y="4"/>
                    </a:lnTo>
                    <a:cubicBezTo>
                      <a:pt x="2575762" y="1420611"/>
                      <a:pt x="1422554" y="2572239"/>
                      <a:pt x="0" y="2572239"/>
                    </a:cubicBezTo>
                    <a:lnTo>
                      <a:pt x="0" y="2328177"/>
                    </a:lnTo>
                    <a:lnTo>
                      <a:pt x="195537" y="2318304"/>
                    </a:lnTo>
                    <a:cubicBezTo>
                      <a:pt x="1318470" y="2204264"/>
                      <a:pt x="2211203" y="1311532"/>
                      <a:pt x="2325243" y="188598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7E3844FF-0F92-D8F7-374A-3E4F50CC8BFA}"/>
                  </a:ext>
                </a:extLst>
              </p:cNvPr>
              <p:cNvSpPr/>
              <p:nvPr/>
            </p:nvSpPr>
            <p:spPr>
              <a:xfrm>
                <a:off x="5345292" y="3489417"/>
                <a:ext cx="2971652" cy="2979269"/>
              </a:xfrm>
              <a:custGeom>
                <a:avLst/>
                <a:gdLst>
                  <a:gd name="connsiteX0" fmla="*/ 0 w 2567154"/>
                  <a:gd name="connsiteY0" fmla="*/ 0 h 2573734"/>
                  <a:gd name="connsiteX1" fmla="*/ 228323 w 2567154"/>
                  <a:gd name="connsiteY1" fmla="*/ 0 h 2573734"/>
                  <a:gd name="connsiteX2" fmla="*/ 237847 w 2567154"/>
                  <a:gd name="connsiteY2" fmla="*/ 188596 h 2573734"/>
                  <a:gd name="connsiteX3" fmla="*/ 2367553 w 2567154"/>
                  <a:gd name="connsiteY3" fmla="*/ 2318302 h 2573734"/>
                  <a:gd name="connsiteX4" fmla="*/ 2567154 w 2567154"/>
                  <a:gd name="connsiteY4" fmla="*/ 2328381 h 2573734"/>
                  <a:gd name="connsiteX5" fmla="*/ 2567154 w 2567154"/>
                  <a:gd name="connsiteY5" fmla="*/ 2573734 h 2573734"/>
                  <a:gd name="connsiteX6" fmla="*/ 2307528 w 2567154"/>
                  <a:gd name="connsiteY6" fmla="*/ 2560605 h 2573734"/>
                  <a:gd name="connsiteX7" fmla="*/ 0 w 2567154"/>
                  <a:gd name="connsiteY7" fmla="*/ 0 h 2573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67154" h="2573734">
                    <a:moveTo>
                      <a:pt x="0" y="0"/>
                    </a:moveTo>
                    <a:lnTo>
                      <a:pt x="228323" y="0"/>
                    </a:lnTo>
                    <a:lnTo>
                      <a:pt x="237847" y="188596"/>
                    </a:lnTo>
                    <a:cubicBezTo>
                      <a:pt x="351887" y="1311530"/>
                      <a:pt x="1244619" y="2204262"/>
                      <a:pt x="2367553" y="2318302"/>
                    </a:cubicBezTo>
                    <a:lnTo>
                      <a:pt x="2567154" y="2328381"/>
                    </a:lnTo>
                    <a:lnTo>
                      <a:pt x="2567154" y="2573734"/>
                    </a:lnTo>
                    <a:lnTo>
                      <a:pt x="2307528" y="2560605"/>
                    </a:lnTo>
                    <a:cubicBezTo>
                      <a:pt x="1011424" y="2428795"/>
                      <a:pt x="0" y="1332677"/>
                      <a:pt x="0" y="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B22F6817-7D79-C9AB-2FD8-B4C2333BCCA4}"/>
                  </a:ext>
                </a:extLst>
              </p:cNvPr>
              <p:cNvSpPr/>
              <p:nvPr/>
            </p:nvSpPr>
            <p:spPr>
              <a:xfrm>
                <a:off x="5987644" y="985824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7" name="Google Shape;1138;p39">
                <a:extLst>
                  <a:ext uri="{FF2B5EF4-FFF2-40B4-BE49-F238E27FC236}">
                    <a16:creationId xmlns:a16="http://schemas.microsoft.com/office/drawing/2014/main" id="{AF988C19-359F-7A5A-0023-DDFEEC1272F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94820" y="1174417"/>
                <a:ext cx="504693" cy="34186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55" h="21600" extrusionOk="0">
                    <a:moveTo>
                      <a:pt x="10775" y="0"/>
                    </a:moveTo>
                    <a:cubicBezTo>
                      <a:pt x="8891" y="0"/>
                      <a:pt x="7365" y="2267"/>
                      <a:pt x="7365" y="5054"/>
                    </a:cubicBezTo>
                    <a:cubicBezTo>
                      <a:pt x="7365" y="7841"/>
                      <a:pt x="8891" y="10098"/>
                      <a:pt x="10775" y="10098"/>
                    </a:cubicBezTo>
                    <a:cubicBezTo>
                      <a:pt x="12659" y="10098"/>
                      <a:pt x="14185" y="7841"/>
                      <a:pt x="14185" y="5054"/>
                    </a:cubicBezTo>
                    <a:cubicBezTo>
                      <a:pt x="14185" y="2267"/>
                      <a:pt x="12659" y="0"/>
                      <a:pt x="10775" y="0"/>
                    </a:cubicBezTo>
                    <a:close/>
                    <a:moveTo>
                      <a:pt x="10775" y="920"/>
                    </a:moveTo>
                    <a:cubicBezTo>
                      <a:pt x="12316" y="920"/>
                      <a:pt x="13569" y="2774"/>
                      <a:pt x="13569" y="5054"/>
                    </a:cubicBezTo>
                    <a:cubicBezTo>
                      <a:pt x="13569" y="7334"/>
                      <a:pt x="12316" y="9179"/>
                      <a:pt x="10775" y="9179"/>
                    </a:cubicBezTo>
                    <a:cubicBezTo>
                      <a:pt x="9233" y="9179"/>
                      <a:pt x="7987" y="7334"/>
                      <a:pt x="7987" y="5054"/>
                    </a:cubicBezTo>
                    <a:cubicBezTo>
                      <a:pt x="7987" y="2774"/>
                      <a:pt x="9233" y="920"/>
                      <a:pt x="10775" y="920"/>
                    </a:cubicBezTo>
                    <a:close/>
                    <a:moveTo>
                      <a:pt x="4083" y="3907"/>
                    </a:moveTo>
                    <a:cubicBezTo>
                      <a:pt x="2817" y="3905"/>
                      <a:pt x="1790" y="5418"/>
                      <a:pt x="1789" y="7292"/>
                    </a:cubicBezTo>
                    <a:cubicBezTo>
                      <a:pt x="1788" y="9165"/>
                      <a:pt x="2810" y="10685"/>
                      <a:pt x="4077" y="10686"/>
                    </a:cubicBezTo>
                    <a:cubicBezTo>
                      <a:pt x="5344" y="10687"/>
                      <a:pt x="6371" y="9175"/>
                      <a:pt x="6372" y="7301"/>
                    </a:cubicBezTo>
                    <a:cubicBezTo>
                      <a:pt x="6372" y="7300"/>
                      <a:pt x="6372" y="7293"/>
                      <a:pt x="6372" y="7292"/>
                    </a:cubicBezTo>
                    <a:cubicBezTo>
                      <a:pt x="6370" y="5420"/>
                      <a:pt x="5348" y="3909"/>
                      <a:pt x="4083" y="3907"/>
                    </a:cubicBezTo>
                    <a:close/>
                    <a:moveTo>
                      <a:pt x="17479" y="3907"/>
                    </a:moveTo>
                    <a:cubicBezTo>
                      <a:pt x="16212" y="3907"/>
                      <a:pt x="15184" y="5418"/>
                      <a:pt x="15184" y="7292"/>
                    </a:cubicBezTo>
                    <a:cubicBezTo>
                      <a:pt x="15184" y="9165"/>
                      <a:pt x="16212" y="10686"/>
                      <a:pt x="17479" y="10686"/>
                    </a:cubicBezTo>
                    <a:cubicBezTo>
                      <a:pt x="18746" y="10686"/>
                      <a:pt x="19774" y="9165"/>
                      <a:pt x="19774" y="7292"/>
                    </a:cubicBezTo>
                    <a:cubicBezTo>
                      <a:pt x="19772" y="5417"/>
                      <a:pt x="18745" y="3908"/>
                      <a:pt x="17479" y="3907"/>
                    </a:cubicBezTo>
                    <a:close/>
                    <a:moveTo>
                      <a:pt x="4077" y="4817"/>
                    </a:moveTo>
                    <a:cubicBezTo>
                      <a:pt x="5001" y="4816"/>
                      <a:pt x="5749" y="5925"/>
                      <a:pt x="5750" y="7292"/>
                    </a:cubicBezTo>
                    <a:cubicBezTo>
                      <a:pt x="5749" y="8659"/>
                      <a:pt x="5006" y="9764"/>
                      <a:pt x="4083" y="9766"/>
                    </a:cubicBezTo>
                    <a:cubicBezTo>
                      <a:pt x="3159" y="9768"/>
                      <a:pt x="2405" y="8659"/>
                      <a:pt x="2404" y="7292"/>
                    </a:cubicBezTo>
                    <a:cubicBezTo>
                      <a:pt x="2403" y="5925"/>
                      <a:pt x="3153" y="4818"/>
                      <a:pt x="4077" y="4817"/>
                    </a:cubicBezTo>
                    <a:close/>
                    <a:moveTo>
                      <a:pt x="17479" y="4817"/>
                    </a:moveTo>
                    <a:cubicBezTo>
                      <a:pt x="18403" y="4817"/>
                      <a:pt x="19152" y="5925"/>
                      <a:pt x="19152" y="7292"/>
                    </a:cubicBezTo>
                    <a:cubicBezTo>
                      <a:pt x="19151" y="8658"/>
                      <a:pt x="18403" y="9765"/>
                      <a:pt x="17479" y="9766"/>
                    </a:cubicBezTo>
                    <a:cubicBezTo>
                      <a:pt x="16555" y="9766"/>
                      <a:pt x="15806" y="8659"/>
                      <a:pt x="15806" y="7292"/>
                    </a:cubicBezTo>
                    <a:cubicBezTo>
                      <a:pt x="15806" y="5925"/>
                      <a:pt x="16555" y="4817"/>
                      <a:pt x="17479" y="4817"/>
                    </a:cubicBezTo>
                    <a:close/>
                    <a:moveTo>
                      <a:pt x="10775" y="11246"/>
                    </a:moveTo>
                    <a:cubicBezTo>
                      <a:pt x="9400" y="11246"/>
                      <a:pt x="8026" y="11950"/>
                      <a:pt x="6916" y="13360"/>
                    </a:cubicBezTo>
                    <a:cubicBezTo>
                      <a:pt x="6174" y="12202"/>
                      <a:pt x="5143" y="11536"/>
                      <a:pt x="4064" y="11521"/>
                    </a:cubicBezTo>
                    <a:cubicBezTo>
                      <a:pt x="2059" y="11521"/>
                      <a:pt x="280" y="13959"/>
                      <a:pt x="7" y="17068"/>
                    </a:cubicBezTo>
                    <a:cubicBezTo>
                      <a:pt x="-22" y="17394"/>
                      <a:pt x="47" y="17720"/>
                      <a:pt x="193" y="17968"/>
                    </a:cubicBezTo>
                    <a:cubicBezTo>
                      <a:pt x="336" y="18207"/>
                      <a:pt x="541" y="18346"/>
                      <a:pt x="757" y="18348"/>
                    </a:cubicBezTo>
                    <a:lnTo>
                      <a:pt x="4692" y="18348"/>
                    </a:lnTo>
                    <a:cubicBezTo>
                      <a:pt x="4593" y="18844"/>
                      <a:pt x="4519" y="19352"/>
                      <a:pt x="4474" y="19865"/>
                    </a:cubicBezTo>
                    <a:cubicBezTo>
                      <a:pt x="4435" y="20307"/>
                      <a:pt x="4527" y="20751"/>
                      <a:pt x="4724" y="21088"/>
                    </a:cubicBezTo>
                    <a:cubicBezTo>
                      <a:pt x="4917" y="21413"/>
                      <a:pt x="5195" y="21600"/>
                      <a:pt x="5487" y="21600"/>
                    </a:cubicBezTo>
                    <a:lnTo>
                      <a:pt x="16063" y="21600"/>
                    </a:lnTo>
                    <a:cubicBezTo>
                      <a:pt x="16355" y="21600"/>
                      <a:pt x="16633" y="21413"/>
                      <a:pt x="16825" y="21088"/>
                    </a:cubicBezTo>
                    <a:cubicBezTo>
                      <a:pt x="17023" y="20751"/>
                      <a:pt x="17114" y="20307"/>
                      <a:pt x="17075" y="19865"/>
                    </a:cubicBezTo>
                    <a:cubicBezTo>
                      <a:pt x="17030" y="19352"/>
                      <a:pt x="16957" y="18844"/>
                      <a:pt x="16857" y="18348"/>
                    </a:cubicBezTo>
                    <a:lnTo>
                      <a:pt x="20799" y="18348"/>
                    </a:lnTo>
                    <a:cubicBezTo>
                      <a:pt x="21015" y="18346"/>
                      <a:pt x="21220" y="18208"/>
                      <a:pt x="21363" y="17968"/>
                    </a:cubicBezTo>
                    <a:cubicBezTo>
                      <a:pt x="21509" y="17720"/>
                      <a:pt x="21578" y="17394"/>
                      <a:pt x="21549" y="17068"/>
                    </a:cubicBezTo>
                    <a:cubicBezTo>
                      <a:pt x="21276" y="13959"/>
                      <a:pt x="19490" y="11521"/>
                      <a:pt x="17485" y="11521"/>
                    </a:cubicBezTo>
                    <a:cubicBezTo>
                      <a:pt x="16407" y="11536"/>
                      <a:pt x="15376" y="12202"/>
                      <a:pt x="14633" y="13360"/>
                    </a:cubicBezTo>
                    <a:cubicBezTo>
                      <a:pt x="13523" y="11950"/>
                      <a:pt x="12149" y="11246"/>
                      <a:pt x="10775" y="11246"/>
                    </a:cubicBezTo>
                    <a:close/>
                    <a:moveTo>
                      <a:pt x="10775" y="12165"/>
                    </a:moveTo>
                    <a:cubicBezTo>
                      <a:pt x="13578" y="12165"/>
                      <a:pt x="16075" y="15602"/>
                      <a:pt x="16460" y="19979"/>
                    </a:cubicBezTo>
                    <a:cubicBezTo>
                      <a:pt x="16475" y="20160"/>
                      <a:pt x="16439" y="20343"/>
                      <a:pt x="16357" y="20481"/>
                    </a:cubicBezTo>
                    <a:cubicBezTo>
                      <a:pt x="16283" y="20608"/>
                      <a:pt x="16176" y="20690"/>
                      <a:pt x="16063" y="20690"/>
                    </a:cubicBezTo>
                    <a:lnTo>
                      <a:pt x="5487" y="20690"/>
                    </a:lnTo>
                    <a:cubicBezTo>
                      <a:pt x="5373" y="20690"/>
                      <a:pt x="5267" y="20608"/>
                      <a:pt x="5192" y="20481"/>
                    </a:cubicBezTo>
                    <a:cubicBezTo>
                      <a:pt x="5111" y="20343"/>
                      <a:pt x="5074" y="20160"/>
                      <a:pt x="5090" y="19979"/>
                    </a:cubicBezTo>
                    <a:cubicBezTo>
                      <a:pt x="5474" y="15595"/>
                      <a:pt x="7971" y="12165"/>
                      <a:pt x="10775" y="12165"/>
                    </a:cubicBezTo>
                    <a:close/>
                    <a:moveTo>
                      <a:pt x="4064" y="12440"/>
                    </a:moveTo>
                    <a:cubicBezTo>
                      <a:pt x="4968" y="12456"/>
                      <a:pt x="5831" y="13009"/>
                      <a:pt x="6455" y="13976"/>
                    </a:cubicBezTo>
                    <a:cubicBezTo>
                      <a:pt x="5784" y="14959"/>
                      <a:pt x="5255" y="16131"/>
                      <a:pt x="4904" y="17428"/>
                    </a:cubicBezTo>
                    <a:cubicBezTo>
                      <a:pt x="4904" y="17428"/>
                      <a:pt x="757" y="17428"/>
                      <a:pt x="757" y="17428"/>
                    </a:cubicBezTo>
                    <a:cubicBezTo>
                      <a:pt x="719" y="17428"/>
                      <a:pt x="678" y="17405"/>
                      <a:pt x="654" y="17362"/>
                    </a:cubicBezTo>
                    <a:cubicBezTo>
                      <a:pt x="625" y="17314"/>
                      <a:pt x="616" y="17255"/>
                      <a:pt x="622" y="17191"/>
                    </a:cubicBezTo>
                    <a:cubicBezTo>
                      <a:pt x="855" y="14528"/>
                      <a:pt x="2365" y="12440"/>
                      <a:pt x="4064" y="12440"/>
                    </a:cubicBezTo>
                    <a:close/>
                    <a:moveTo>
                      <a:pt x="17485" y="12440"/>
                    </a:moveTo>
                    <a:cubicBezTo>
                      <a:pt x="19191" y="12440"/>
                      <a:pt x="20695" y="14518"/>
                      <a:pt x="20927" y="17181"/>
                    </a:cubicBezTo>
                    <a:cubicBezTo>
                      <a:pt x="20935" y="17244"/>
                      <a:pt x="20923" y="17313"/>
                      <a:pt x="20895" y="17362"/>
                    </a:cubicBezTo>
                    <a:cubicBezTo>
                      <a:pt x="20871" y="17405"/>
                      <a:pt x="20837" y="17428"/>
                      <a:pt x="20799" y="17428"/>
                    </a:cubicBezTo>
                    <a:lnTo>
                      <a:pt x="16646" y="17428"/>
                    </a:lnTo>
                    <a:cubicBezTo>
                      <a:pt x="16294" y="16131"/>
                      <a:pt x="15766" y="14959"/>
                      <a:pt x="15095" y="13976"/>
                    </a:cubicBezTo>
                    <a:cubicBezTo>
                      <a:pt x="15718" y="13009"/>
                      <a:pt x="16582" y="12456"/>
                      <a:pt x="17485" y="1244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36EB5D9D-5DF4-36C5-618F-411123FE9846}"/>
                  </a:ext>
                </a:extLst>
              </p:cNvPr>
              <p:cNvSpPr/>
              <p:nvPr/>
            </p:nvSpPr>
            <p:spPr>
              <a:xfrm>
                <a:off x="10010932" y="985824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9" name="Google Shape;1124;p39">
                <a:extLst>
                  <a:ext uri="{FF2B5EF4-FFF2-40B4-BE49-F238E27FC236}">
                    <a16:creationId xmlns:a16="http://schemas.microsoft.com/office/drawing/2014/main" id="{18D728D0-8914-4608-F2FC-2AF53C6BBDC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156603" y="1105849"/>
                <a:ext cx="425735" cy="4789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035" h="21600" extrusionOk="0">
                    <a:moveTo>
                      <a:pt x="10517" y="0"/>
                    </a:moveTo>
                    <a:cubicBezTo>
                      <a:pt x="9403" y="6"/>
                      <a:pt x="8505" y="835"/>
                      <a:pt x="8508" y="1851"/>
                    </a:cubicBezTo>
                    <a:cubicBezTo>
                      <a:pt x="8512" y="2757"/>
                      <a:pt x="9235" y="3523"/>
                      <a:pt x="10215" y="3661"/>
                    </a:cubicBezTo>
                    <a:cubicBezTo>
                      <a:pt x="10215" y="3661"/>
                      <a:pt x="10195" y="3661"/>
                      <a:pt x="10195" y="3661"/>
                    </a:cubicBezTo>
                    <a:lnTo>
                      <a:pt x="10195" y="4122"/>
                    </a:lnTo>
                    <a:cubicBezTo>
                      <a:pt x="10195" y="4282"/>
                      <a:pt x="10342" y="4410"/>
                      <a:pt x="10517" y="4410"/>
                    </a:cubicBezTo>
                    <a:cubicBezTo>
                      <a:pt x="10692" y="4410"/>
                      <a:pt x="10832" y="4282"/>
                      <a:pt x="10832" y="4122"/>
                    </a:cubicBezTo>
                    <a:lnTo>
                      <a:pt x="10832" y="3661"/>
                    </a:lnTo>
                    <a:cubicBezTo>
                      <a:pt x="11932" y="3500"/>
                      <a:pt x="12683" y="2556"/>
                      <a:pt x="12506" y="1552"/>
                    </a:cubicBezTo>
                    <a:cubicBezTo>
                      <a:pt x="12350" y="660"/>
                      <a:pt x="11507" y="1"/>
                      <a:pt x="10517" y="0"/>
                    </a:cubicBezTo>
                    <a:close/>
                    <a:moveTo>
                      <a:pt x="10510" y="581"/>
                    </a:moveTo>
                    <a:cubicBezTo>
                      <a:pt x="11274" y="582"/>
                      <a:pt x="11890" y="1148"/>
                      <a:pt x="11889" y="1845"/>
                    </a:cubicBezTo>
                    <a:cubicBezTo>
                      <a:pt x="11888" y="2541"/>
                      <a:pt x="11273" y="3109"/>
                      <a:pt x="10510" y="3110"/>
                    </a:cubicBezTo>
                    <a:cubicBezTo>
                      <a:pt x="9746" y="3109"/>
                      <a:pt x="9124" y="2543"/>
                      <a:pt x="9125" y="1845"/>
                    </a:cubicBezTo>
                    <a:cubicBezTo>
                      <a:pt x="9126" y="1150"/>
                      <a:pt x="9748" y="582"/>
                      <a:pt x="10510" y="581"/>
                    </a:cubicBezTo>
                    <a:close/>
                    <a:moveTo>
                      <a:pt x="2028" y="4482"/>
                    </a:moveTo>
                    <a:cubicBezTo>
                      <a:pt x="1321" y="4478"/>
                      <a:pt x="641" y="4818"/>
                      <a:pt x="269" y="5404"/>
                    </a:cubicBezTo>
                    <a:cubicBezTo>
                      <a:pt x="-283" y="6288"/>
                      <a:pt x="51" y="7415"/>
                      <a:pt x="1017" y="7921"/>
                    </a:cubicBezTo>
                    <a:cubicBezTo>
                      <a:pt x="1878" y="8371"/>
                      <a:pt x="2969" y="8177"/>
                      <a:pt x="3591" y="7472"/>
                    </a:cubicBezTo>
                    <a:cubicBezTo>
                      <a:pt x="3591" y="7472"/>
                      <a:pt x="3584" y="7484"/>
                      <a:pt x="3584" y="7484"/>
                    </a:cubicBezTo>
                    <a:lnTo>
                      <a:pt x="4017" y="7717"/>
                    </a:lnTo>
                    <a:cubicBezTo>
                      <a:pt x="4169" y="7797"/>
                      <a:pt x="4363" y="7748"/>
                      <a:pt x="4451" y="7609"/>
                    </a:cubicBezTo>
                    <a:cubicBezTo>
                      <a:pt x="4538" y="7471"/>
                      <a:pt x="4491" y="7294"/>
                      <a:pt x="4339" y="7214"/>
                    </a:cubicBezTo>
                    <a:lnTo>
                      <a:pt x="3899" y="6980"/>
                    </a:lnTo>
                    <a:cubicBezTo>
                      <a:pt x="4297" y="6030"/>
                      <a:pt x="3778" y="4970"/>
                      <a:pt x="2737" y="4608"/>
                    </a:cubicBezTo>
                    <a:cubicBezTo>
                      <a:pt x="2506" y="4527"/>
                      <a:pt x="2264" y="4483"/>
                      <a:pt x="2028" y="4482"/>
                    </a:cubicBezTo>
                    <a:close/>
                    <a:moveTo>
                      <a:pt x="18763" y="4500"/>
                    </a:moveTo>
                    <a:cubicBezTo>
                      <a:pt x="18503" y="4530"/>
                      <a:pt x="18249" y="4606"/>
                      <a:pt x="18008" y="4733"/>
                    </a:cubicBezTo>
                    <a:cubicBezTo>
                      <a:pt x="17151" y="5189"/>
                      <a:pt x="16782" y="6148"/>
                      <a:pt x="17141" y="6992"/>
                    </a:cubicBezTo>
                    <a:cubicBezTo>
                      <a:pt x="17141" y="6992"/>
                      <a:pt x="17135" y="6980"/>
                      <a:pt x="17135" y="6980"/>
                    </a:cubicBezTo>
                    <a:lnTo>
                      <a:pt x="16695" y="7208"/>
                    </a:lnTo>
                    <a:cubicBezTo>
                      <a:pt x="16543" y="7288"/>
                      <a:pt x="16496" y="7465"/>
                      <a:pt x="16583" y="7603"/>
                    </a:cubicBezTo>
                    <a:cubicBezTo>
                      <a:pt x="16671" y="7742"/>
                      <a:pt x="16865" y="7791"/>
                      <a:pt x="17017" y="7711"/>
                    </a:cubicBezTo>
                    <a:lnTo>
                      <a:pt x="17450" y="7478"/>
                    </a:lnTo>
                    <a:cubicBezTo>
                      <a:pt x="18152" y="8267"/>
                      <a:pt x="19428" y="8388"/>
                      <a:pt x="20293" y="7747"/>
                    </a:cubicBezTo>
                    <a:cubicBezTo>
                      <a:pt x="21061" y="7177"/>
                      <a:pt x="21260" y="6181"/>
                      <a:pt x="20765" y="5399"/>
                    </a:cubicBezTo>
                    <a:cubicBezTo>
                      <a:pt x="20343" y="4740"/>
                      <a:pt x="19543" y="4409"/>
                      <a:pt x="18763" y="4500"/>
                    </a:cubicBezTo>
                    <a:close/>
                    <a:moveTo>
                      <a:pt x="18842" y="5063"/>
                    </a:moveTo>
                    <a:cubicBezTo>
                      <a:pt x="19376" y="5003"/>
                      <a:pt x="19927" y="5234"/>
                      <a:pt x="20214" y="5686"/>
                    </a:cubicBezTo>
                    <a:cubicBezTo>
                      <a:pt x="20595" y="6290"/>
                      <a:pt x="20364" y="7058"/>
                      <a:pt x="19702" y="7406"/>
                    </a:cubicBezTo>
                    <a:cubicBezTo>
                      <a:pt x="19041" y="7753"/>
                      <a:pt x="18200" y="7547"/>
                      <a:pt x="17817" y="6944"/>
                    </a:cubicBezTo>
                    <a:cubicBezTo>
                      <a:pt x="17436" y="6340"/>
                      <a:pt x="17661" y="5573"/>
                      <a:pt x="18323" y="5225"/>
                    </a:cubicBezTo>
                    <a:cubicBezTo>
                      <a:pt x="18488" y="5138"/>
                      <a:pt x="18664" y="5083"/>
                      <a:pt x="18842" y="5063"/>
                    </a:cubicBezTo>
                    <a:close/>
                    <a:moveTo>
                      <a:pt x="2186" y="5081"/>
                    </a:moveTo>
                    <a:cubicBezTo>
                      <a:pt x="2364" y="5101"/>
                      <a:pt x="2539" y="5155"/>
                      <a:pt x="2704" y="5243"/>
                    </a:cubicBezTo>
                    <a:cubicBezTo>
                      <a:pt x="3364" y="5592"/>
                      <a:pt x="3590" y="6359"/>
                      <a:pt x="3210" y="6962"/>
                    </a:cubicBezTo>
                    <a:cubicBezTo>
                      <a:pt x="2827" y="7566"/>
                      <a:pt x="1980" y="7773"/>
                      <a:pt x="1319" y="7424"/>
                    </a:cubicBezTo>
                    <a:cubicBezTo>
                      <a:pt x="659" y="7075"/>
                      <a:pt x="433" y="6301"/>
                      <a:pt x="814" y="5698"/>
                    </a:cubicBezTo>
                    <a:cubicBezTo>
                      <a:pt x="1101" y="5246"/>
                      <a:pt x="1651" y="5020"/>
                      <a:pt x="2186" y="5081"/>
                    </a:cubicBezTo>
                    <a:close/>
                    <a:moveTo>
                      <a:pt x="10517" y="5081"/>
                    </a:moveTo>
                    <a:cubicBezTo>
                      <a:pt x="10342" y="5081"/>
                      <a:pt x="10202" y="5215"/>
                      <a:pt x="10202" y="5375"/>
                    </a:cubicBezTo>
                    <a:lnTo>
                      <a:pt x="10202" y="6417"/>
                    </a:lnTo>
                    <a:cubicBezTo>
                      <a:pt x="10202" y="6577"/>
                      <a:pt x="10342" y="6705"/>
                      <a:pt x="10517" y="6705"/>
                    </a:cubicBezTo>
                    <a:cubicBezTo>
                      <a:pt x="10692" y="6705"/>
                      <a:pt x="10839" y="6577"/>
                      <a:pt x="10839" y="6417"/>
                    </a:cubicBezTo>
                    <a:lnTo>
                      <a:pt x="10839" y="5375"/>
                    </a:lnTo>
                    <a:cubicBezTo>
                      <a:pt x="10839" y="5215"/>
                      <a:pt x="10692" y="5081"/>
                      <a:pt x="10517" y="5081"/>
                    </a:cubicBezTo>
                    <a:close/>
                    <a:moveTo>
                      <a:pt x="10530" y="7388"/>
                    </a:moveTo>
                    <a:cubicBezTo>
                      <a:pt x="10355" y="7388"/>
                      <a:pt x="10215" y="7515"/>
                      <a:pt x="10215" y="7675"/>
                    </a:cubicBezTo>
                    <a:lnTo>
                      <a:pt x="10215" y="8113"/>
                    </a:lnTo>
                    <a:lnTo>
                      <a:pt x="9322" y="8113"/>
                    </a:lnTo>
                    <a:cubicBezTo>
                      <a:pt x="8639" y="8113"/>
                      <a:pt x="8046" y="8470"/>
                      <a:pt x="7760" y="8994"/>
                    </a:cubicBezTo>
                    <a:lnTo>
                      <a:pt x="7399" y="8802"/>
                    </a:lnTo>
                    <a:cubicBezTo>
                      <a:pt x="7247" y="8721"/>
                      <a:pt x="7054" y="8772"/>
                      <a:pt x="6965" y="8910"/>
                    </a:cubicBezTo>
                    <a:cubicBezTo>
                      <a:pt x="6877" y="9048"/>
                      <a:pt x="6925" y="9224"/>
                      <a:pt x="7077" y="9305"/>
                    </a:cubicBezTo>
                    <a:lnTo>
                      <a:pt x="7576" y="9575"/>
                    </a:lnTo>
                    <a:cubicBezTo>
                      <a:pt x="7572" y="9618"/>
                      <a:pt x="7576" y="9662"/>
                      <a:pt x="7576" y="9707"/>
                    </a:cubicBezTo>
                    <a:lnTo>
                      <a:pt x="7576" y="11893"/>
                    </a:lnTo>
                    <a:cubicBezTo>
                      <a:pt x="7576" y="11938"/>
                      <a:pt x="7572" y="11982"/>
                      <a:pt x="7576" y="12025"/>
                    </a:cubicBezTo>
                    <a:lnTo>
                      <a:pt x="7077" y="12295"/>
                    </a:lnTo>
                    <a:cubicBezTo>
                      <a:pt x="6925" y="12376"/>
                      <a:pt x="6877" y="12552"/>
                      <a:pt x="6965" y="12690"/>
                    </a:cubicBezTo>
                    <a:cubicBezTo>
                      <a:pt x="7024" y="12783"/>
                      <a:pt x="7132" y="12834"/>
                      <a:pt x="7241" y="12834"/>
                    </a:cubicBezTo>
                    <a:cubicBezTo>
                      <a:pt x="7295" y="12834"/>
                      <a:pt x="7348" y="12819"/>
                      <a:pt x="7399" y="12792"/>
                    </a:cubicBezTo>
                    <a:lnTo>
                      <a:pt x="7760" y="12606"/>
                    </a:lnTo>
                    <a:cubicBezTo>
                      <a:pt x="8046" y="13130"/>
                      <a:pt x="8639" y="13487"/>
                      <a:pt x="9322" y="13487"/>
                    </a:cubicBezTo>
                    <a:lnTo>
                      <a:pt x="10215" y="13487"/>
                    </a:lnTo>
                    <a:lnTo>
                      <a:pt x="10215" y="13925"/>
                    </a:lnTo>
                    <a:cubicBezTo>
                      <a:pt x="10215" y="14085"/>
                      <a:pt x="10355" y="14212"/>
                      <a:pt x="10530" y="14212"/>
                    </a:cubicBezTo>
                    <a:cubicBezTo>
                      <a:pt x="10705" y="14212"/>
                      <a:pt x="10845" y="14085"/>
                      <a:pt x="10845" y="13925"/>
                    </a:cubicBezTo>
                    <a:lnTo>
                      <a:pt x="10845" y="13487"/>
                    </a:lnTo>
                    <a:lnTo>
                      <a:pt x="11718" y="13487"/>
                    </a:lnTo>
                    <a:cubicBezTo>
                      <a:pt x="12402" y="13487"/>
                      <a:pt x="12995" y="13130"/>
                      <a:pt x="13281" y="12606"/>
                    </a:cubicBezTo>
                    <a:lnTo>
                      <a:pt x="13635" y="12792"/>
                    </a:lnTo>
                    <a:cubicBezTo>
                      <a:pt x="13686" y="12819"/>
                      <a:pt x="13745" y="12834"/>
                      <a:pt x="13800" y="12834"/>
                    </a:cubicBezTo>
                    <a:cubicBezTo>
                      <a:pt x="13909" y="12834"/>
                      <a:pt x="14016" y="12783"/>
                      <a:pt x="14075" y="12690"/>
                    </a:cubicBezTo>
                    <a:cubicBezTo>
                      <a:pt x="14164" y="12552"/>
                      <a:pt x="14115" y="12376"/>
                      <a:pt x="13964" y="12295"/>
                    </a:cubicBezTo>
                    <a:lnTo>
                      <a:pt x="13458" y="12025"/>
                    </a:lnTo>
                    <a:cubicBezTo>
                      <a:pt x="13462" y="11982"/>
                      <a:pt x="13465" y="11938"/>
                      <a:pt x="13465" y="11893"/>
                    </a:cubicBezTo>
                    <a:lnTo>
                      <a:pt x="13465" y="9707"/>
                    </a:lnTo>
                    <a:cubicBezTo>
                      <a:pt x="13465" y="9662"/>
                      <a:pt x="13462" y="9618"/>
                      <a:pt x="13458" y="9575"/>
                    </a:cubicBezTo>
                    <a:lnTo>
                      <a:pt x="13964" y="9305"/>
                    </a:lnTo>
                    <a:cubicBezTo>
                      <a:pt x="14115" y="9224"/>
                      <a:pt x="14164" y="9048"/>
                      <a:pt x="14075" y="8910"/>
                    </a:cubicBezTo>
                    <a:cubicBezTo>
                      <a:pt x="13987" y="8772"/>
                      <a:pt x="13787" y="8721"/>
                      <a:pt x="13635" y="8802"/>
                    </a:cubicBezTo>
                    <a:lnTo>
                      <a:pt x="13281" y="8994"/>
                    </a:lnTo>
                    <a:cubicBezTo>
                      <a:pt x="12995" y="8470"/>
                      <a:pt x="12402" y="8113"/>
                      <a:pt x="11718" y="8113"/>
                    </a:cubicBezTo>
                    <a:lnTo>
                      <a:pt x="10845" y="8113"/>
                    </a:lnTo>
                    <a:lnTo>
                      <a:pt x="10845" y="7675"/>
                    </a:lnTo>
                    <a:cubicBezTo>
                      <a:pt x="10845" y="7515"/>
                      <a:pt x="10705" y="7388"/>
                      <a:pt x="10530" y="7388"/>
                    </a:cubicBezTo>
                    <a:close/>
                    <a:moveTo>
                      <a:pt x="5160" y="7687"/>
                    </a:moveTo>
                    <a:cubicBezTo>
                      <a:pt x="5081" y="7706"/>
                      <a:pt x="5007" y="7756"/>
                      <a:pt x="4963" y="7825"/>
                    </a:cubicBezTo>
                    <a:cubicBezTo>
                      <a:pt x="4874" y="7963"/>
                      <a:pt x="4923" y="8145"/>
                      <a:pt x="5074" y="8227"/>
                    </a:cubicBezTo>
                    <a:lnTo>
                      <a:pt x="6059" y="8754"/>
                    </a:lnTo>
                    <a:cubicBezTo>
                      <a:pt x="6210" y="8835"/>
                      <a:pt x="6410" y="8790"/>
                      <a:pt x="6499" y="8652"/>
                    </a:cubicBezTo>
                    <a:cubicBezTo>
                      <a:pt x="6588" y="8514"/>
                      <a:pt x="6532" y="8332"/>
                      <a:pt x="6381" y="8251"/>
                    </a:cubicBezTo>
                    <a:lnTo>
                      <a:pt x="5396" y="7723"/>
                    </a:lnTo>
                    <a:cubicBezTo>
                      <a:pt x="5321" y="7683"/>
                      <a:pt x="5238" y="7669"/>
                      <a:pt x="5160" y="7687"/>
                    </a:cubicBezTo>
                    <a:close/>
                    <a:moveTo>
                      <a:pt x="15881" y="7687"/>
                    </a:moveTo>
                    <a:cubicBezTo>
                      <a:pt x="15802" y="7669"/>
                      <a:pt x="15720" y="7683"/>
                      <a:pt x="15644" y="7723"/>
                    </a:cubicBezTo>
                    <a:lnTo>
                      <a:pt x="14653" y="8251"/>
                    </a:lnTo>
                    <a:cubicBezTo>
                      <a:pt x="14502" y="8332"/>
                      <a:pt x="14453" y="8514"/>
                      <a:pt x="14541" y="8652"/>
                    </a:cubicBezTo>
                    <a:cubicBezTo>
                      <a:pt x="14630" y="8790"/>
                      <a:pt x="14824" y="8835"/>
                      <a:pt x="14975" y="8754"/>
                    </a:cubicBezTo>
                    <a:lnTo>
                      <a:pt x="15966" y="8227"/>
                    </a:lnTo>
                    <a:cubicBezTo>
                      <a:pt x="16117" y="8145"/>
                      <a:pt x="16160" y="7963"/>
                      <a:pt x="16071" y="7825"/>
                    </a:cubicBezTo>
                    <a:cubicBezTo>
                      <a:pt x="16027" y="7756"/>
                      <a:pt x="15959" y="7706"/>
                      <a:pt x="15881" y="7687"/>
                    </a:cubicBezTo>
                    <a:close/>
                    <a:moveTo>
                      <a:pt x="9322" y="8688"/>
                    </a:moveTo>
                    <a:lnTo>
                      <a:pt x="11718" y="8688"/>
                    </a:lnTo>
                    <a:cubicBezTo>
                      <a:pt x="12331" y="8688"/>
                      <a:pt x="12828" y="9147"/>
                      <a:pt x="12828" y="9707"/>
                    </a:cubicBezTo>
                    <a:lnTo>
                      <a:pt x="12828" y="11893"/>
                    </a:lnTo>
                    <a:cubicBezTo>
                      <a:pt x="12828" y="12452"/>
                      <a:pt x="12331" y="12906"/>
                      <a:pt x="11718" y="12906"/>
                    </a:cubicBezTo>
                    <a:lnTo>
                      <a:pt x="9322" y="12906"/>
                    </a:lnTo>
                    <a:cubicBezTo>
                      <a:pt x="8710" y="12906"/>
                      <a:pt x="8206" y="12452"/>
                      <a:pt x="8206" y="11893"/>
                    </a:cubicBezTo>
                    <a:lnTo>
                      <a:pt x="8206" y="9707"/>
                    </a:lnTo>
                    <a:cubicBezTo>
                      <a:pt x="8206" y="9147"/>
                      <a:pt x="8710" y="8688"/>
                      <a:pt x="9322" y="8688"/>
                    </a:cubicBezTo>
                    <a:close/>
                    <a:moveTo>
                      <a:pt x="6302" y="12816"/>
                    </a:moveTo>
                    <a:cubicBezTo>
                      <a:pt x="6224" y="12798"/>
                      <a:pt x="6135" y="12806"/>
                      <a:pt x="6059" y="12846"/>
                    </a:cubicBezTo>
                    <a:lnTo>
                      <a:pt x="5074" y="13373"/>
                    </a:lnTo>
                    <a:cubicBezTo>
                      <a:pt x="4923" y="13455"/>
                      <a:pt x="4874" y="13637"/>
                      <a:pt x="4963" y="13775"/>
                    </a:cubicBezTo>
                    <a:cubicBezTo>
                      <a:pt x="5052" y="13913"/>
                      <a:pt x="5245" y="13958"/>
                      <a:pt x="5396" y="13877"/>
                    </a:cubicBezTo>
                    <a:lnTo>
                      <a:pt x="6381" y="13349"/>
                    </a:lnTo>
                    <a:cubicBezTo>
                      <a:pt x="6532" y="13268"/>
                      <a:pt x="6588" y="13086"/>
                      <a:pt x="6499" y="12948"/>
                    </a:cubicBezTo>
                    <a:cubicBezTo>
                      <a:pt x="6455" y="12879"/>
                      <a:pt x="6381" y="12835"/>
                      <a:pt x="6302" y="12816"/>
                    </a:cubicBezTo>
                    <a:close/>
                    <a:moveTo>
                      <a:pt x="14732" y="12816"/>
                    </a:moveTo>
                    <a:cubicBezTo>
                      <a:pt x="14653" y="12835"/>
                      <a:pt x="14586" y="12879"/>
                      <a:pt x="14541" y="12948"/>
                    </a:cubicBezTo>
                    <a:cubicBezTo>
                      <a:pt x="14452" y="13086"/>
                      <a:pt x="14502" y="13268"/>
                      <a:pt x="14653" y="13349"/>
                    </a:cubicBezTo>
                    <a:lnTo>
                      <a:pt x="15644" y="13877"/>
                    </a:lnTo>
                    <a:cubicBezTo>
                      <a:pt x="15795" y="13958"/>
                      <a:pt x="15982" y="13913"/>
                      <a:pt x="16071" y="13775"/>
                    </a:cubicBezTo>
                    <a:cubicBezTo>
                      <a:pt x="16160" y="13637"/>
                      <a:pt x="16117" y="13455"/>
                      <a:pt x="15966" y="13373"/>
                    </a:cubicBezTo>
                    <a:lnTo>
                      <a:pt x="14975" y="12846"/>
                    </a:lnTo>
                    <a:cubicBezTo>
                      <a:pt x="14899" y="12806"/>
                      <a:pt x="14810" y="12798"/>
                      <a:pt x="14732" y="12816"/>
                    </a:cubicBezTo>
                    <a:close/>
                    <a:moveTo>
                      <a:pt x="2225" y="13451"/>
                    </a:moveTo>
                    <a:cubicBezTo>
                      <a:pt x="1712" y="13403"/>
                      <a:pt x="1180" y="13538"/>
                      <a:pt x="748" y="13859"/>
                    </a:cubicBezTo>
                    <a:cubicBezTo>
                      <a:pt x="-20" y="14429"/>
                      <a:pt x="-226" y="15419"/>
                      <a:pt x="269" y="16201"/>
                    </a:cubicBezTo>
                    <a:cubicBezTo>
                      <a:pt x="831" y="17079"/>
                      <a:pt x="2069" y="17377"/>
                      <a:pt x="3033" y="16867"/>
                    </a:cubicBezTo>
                    <a:cubicBezTo>
                      <a:pt x="3890" y="16411"/>
                      <a:pt x="4258" y="15458"/>
                      <a:pt x="3899" y="14614"/>
                    </a:cubicBezTo>
                    <a:cubicBezTo>
                      <a:pt x="3899" y="14614"/>
                      <a:pt x="3906" y="14626"/>
                      <a:pt x="3906" y="14626"/>
                    </a:cubicBezTo>
                    <a:lnTo>
                      <a:pt x="4339" y="14398"/>
                    </a:lnTo>
                    <a:cubicBezTo>
                      <a:pt x="4491" y="14318"/>
                      <a:pt x="4545" y="14135"/>
                      <a:pt x="4457" y="13997"/>
                    </a:cubicBezTo>
                    <a:cubicBezTo>
                      <a:pt x="4370" y="13858"/>
                      <a:pt x="4176" y="13815"/>
                      <a:pt x="4024" y="13895"/>
                    </a:cubicBezTo>
                    <a:lnTo>
                      <a:pt x="3584" y="14122"/>
                    </a:lnTo>
                    <a:cubicBezTo>
                      <a:pt x="3233" y="13728"/>
                      <a:pt x="2739" y="13500"/>
                      <a:pt x="2225" y="13451"/>
                    </a:cubicBezTo>
                    <a:close/>
                    <a:moveTo>
                      <a:pt x="19341" y="13469"/>
                    </a:moveTo>
                    <a:cubicBezTo>
                      <a:pt x="18641" y="13366"/>
                      <a:pt x="17909" y="13599"/>
                      <a:pt x="17443" y="14128"/>
                    </a:cubicBezTo>
                    <a:cubicBezTo>
                      <a:pt x="17443" y="14128"/>
                      <a:pt x="17450" y="14116"/>
                      <a:pt x="17450" y="14116"/>
                    </a:cubicBezTo>
                    <a:lnTo>
                      <a:pt x="17017" y="13889"/>
                    </a:lnTo>
                    <a:cubicBezTo>
                      <a:pt x="16865" y="13809"/>
                      <a:pt x="16671" y="13858"/>
                      <a:pt x="16583" y="13997"/>
                    </a:cubicBezTo>
                    <a:cubicBezTo>
                      <a:pt x="16496" y="14135"/>
                      <a:pt x="16549" y="14312"/>
                      <a:pt x="16701" y="14392"/>
                    </a:cubicBezTo>
                    <a:lnTo>
                      <a:pt x="17135" y="14620"/>
                    </a:lnTo>
                    <a:cubicBezTo>
                      <a:pt x="16737" y="15570"/>
                      <a:pt x="17263" y="16636"/>
                      <a:pt x="18303" y="16998"/>
                    </a:cubicBezTo>
                    <a:cubicBezTo>
                      <a:pt x="19228" y="17321"/>
                      <a:pt x="20269" y="16984"/>
                      <a:pt x="20765" y="16201"/>
                    </a:cubicBezTo>
                    <a:cubicBezTo>
                      <a:pt x="21317" y="15318"/>
                      <a:pt x="20983" y="14191"/>
                      <a:pt x="20017" y="13685"/>
                    </a:cubicBezTo>
                    <a:cubicBezTo>
                      <a:pt x="19802" y="13573"/>
                      <a:pt x="19574" y="13504"/>
                      <a:pt x="19341" y="13469"/>
                    </a:cubicBezTo>
                    <a:close/>
                    <a:moveTo>
                      <a:pt x="19196" y="14021"/>
                    </a:moveTo>
                    <a:cubicBezTo>
                      <a:pt x="19374" y="14041"/>
                      <a:pt x="19550" y="14095"/>
                      <a:pt x="19715" y="14182"/>
                    </a:cubicBezTo>
                    <a:cubicBezTo>
                      <a:pt x="20375" y="14531"/>
                      <a:pt x="20601" y="15299"/>
                      <a:pt x="20220" y="15902"/>
                    </a:cubicBezTo>
                    <a:cubicBezTo>
                      <a:pt x="19837" y="16505"/>
                      <a:pt x="18991" y="16713"/>
                      <a:pt x="18330" y="16363"/>
                    </a:cubicBezTo>
                    <a:cubicBezTo>
                      <a:pt x="17670" y="16014"/>
                      <a:pt x="17444" y="15247"/>
                      <a:pt x="17824" y="14644"/>
                    </a:cubicBezTo>
                    <a:cubicBezTo>
                      <a:pt x="18111" y="14191"/>
                      <a:pt x="18661" y="13959"/>
                      <a:pt x="19196" y="14021"/>
                    </a:cubicBezTo>
                    <a:close/>
                    <a:moveTo>
                      <a:pt x="1858" y="14039"/>
                    </a:moveTo>
                    <a:cubicBezTo>
                      <a:pt x="2392" y="13978"/>
                      <a:pt x="2936" y="14204"/>
                      <a:pt x="3223" y="14656"/>
                    </a:cubicBezTo>
                    <a:cubicBezTo>
                      <a:pt x="3604" y="15260"/>
                      <a:pt x="3373" y="16033"/>
                      <a:pt x="2711" y="16381"/>
                    </a:cubicBezTo>
                    <a:cubicBezTo>
                      <a:pt x="2050" y="16728"/>
                      <a:pt x="1209" y="16522"/>
                      <a:pt x="827" y="15920"/>
                    </a:cubicBezTo>
                    <a:cubicBezTo>
                      <a:pt x="446" y="15316"/>
                      <a:pt x="670" y="14542"/>
                      <a:pt x="1332" y="14194"/>
                    </a:cubicBezTo>
                    <a:cubicBezTo>
                      <a:pt x="1498" y="14108"/>
                      <a:pt x="1680" y="14059"/>
                      <a:pt x="1858" y="14039"/>
                    </a:cubicBezTo>
                    <a:close/>
                    <a:moveTo>
                      <a:pt x="10517" y="14889"/>
                    </a:moveTo>
                    <a:cubicBezTo>
                      <a:pt x="10342" y="14889"/>
                      <a:pt x="10202" y="15017"/>
                      <a:pt x="10202" y="15177"/>
                    </a:cubicBezTo>
                    <a:lnTo>
                      <a:pt x="10202" y="16225"/>
                    </a:lnTo>
                    <a:cubicBezTo>
                      <a:pt x="10202" y="16385"/>
                      <a:pt x="10342" y="16513"/>
                      <a:pt x="10517" y="16513"/>
                    </a:cubicBezTo>
                    <a:cubicBezTo>
                      <a:pt x="10692" y="16513"/>
                      <a:pt x="10839" y="16385"/>
                      <a:pt x="10839" y="16225"/>
                    </a:cubicBezTo>
                    <a:lnTo>
                      <a:pt x="10839" y="15177"/>
                    </a:lnTo>
                    <a:cubicBezTo>
                      <a:pt x="10839" y="15017"/>
                      <a:pt x="10692" y="14889"/>
                      <a:pt x="10517" y="14889"/>
                    </a:cubicBezTo>
                    <a:close/>
                    <a:moveTo>
                      <a:pt x="10524" y="17190"/>
                    </a:moveTo>
                    <a:cubicBezTo>
                      <a:pt x="10348" y="17190"/>
                      <a:pt x="10202" y="17324"/>
                      <a:pt x="10202" y="17484"/>
                    </a:cubicBezTo>
                    <a:lnTo>
                      <a:pt x="10202" y="17945"/>
                    </a:lnTo>
                    <a:cubicBezTo>
                      <a:pt x="9102" y="18106"/>
                      <a:pt x="8358" y="19050"/>
                      <a:pt x="8534" y="20054"/>
                    </a:cubicBezTo>
                    <a:cubicBezTo>
                      <a:pt x="8691" y="20946"/>
                      <a:pt x="9533" y="21599"/>
                      <a:pt x="10524" y="21600"/>
                    </a:cubicBezTo>
                    <a:cubicBezTo>
                      <a:pt x="11638" y="21594"/>
                      <a:pt x="12535" y="20771"/>
                      <a:pt x="12533" y="19755"/>
                    </a:cubicBezTo>
                    <a:cubicBezTo>
                      <a:pt x="12529" y="18849"/>
                      <a:pt x="11806" y="18077"/>
                      <a:pt x="10826" y="17939"/>
                    </a:cubicBezTo>
                    <a:cubicBezTo>
                      <a:pt x="10826" y="17939"/>
                      <a:pt x="10839" y="17939"/>
                      <a:pt x="10839" y="17939"/>
                    </a:cubicBezTo>
                    <a:lnTo>
                      <a:pt x="10839" y="17484"/>
                    </a:lnTo>
                    <a:cubicBezTo>
                      <a:pt x="10839" y="17324"/>
                      <a:pt x="10699" y="17190"/>
                      <a:pt x="10524" y="17190"/>
                    </a:cubicBezTo>
                    <a:close/>
                    <a:moveTo>
                      <a:pt x="10530" y="18496"/>
                    </a:moveTo>
                    <a:cubicBezTo>
                      <a:pt x="11294" y="18497"/>
                      <a:pt x="11910" y="19063"/>
                      <a:pt x="11909" y="19761"/>
                    </a:cubicBezTo>
                    <a:cubicBezTo>
                      <a:pt x="11908" y="20456"/>
                      <a:pt x="11293" y="21024"/>
                      <a:pt x="10530" y="21025"/>
                    </a:cubicBezTo>
                    <a:cubicBezTo>
                      <a:pt x="9766" y="21024"/>
                      <a:pt x="9144" y="20458"/>
                      <a:pt x="9145" y="19761"/>
                    </a:cubicBezTo>
                    <a:cubicBezTo>
                      <a:pt x="9146" y="19065"/>
                      <a:pt x="9768" y="18497"/>
                      <a:pt x="10530" y="18496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rgbClr val="FFFFFF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F7DD05F9-5111-47F7-BFD3-71B58D84FB84}"/>
                  </a:ext>
                </a:extLst>
              </p:cNvPr>
              <p:cNvSpPr/>
              <p:nvPr/>
            </p:nvSpPr>
            <p:spPr>
              <a:xfrm>
                <a:off x="5987644" y="5179342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A2951D5B-41AB-74A6-DA7A-0DA29F0F4AB7}"/>
                  </a:ext>
                </a:extLst>
              </p:cNvPr>
              <p:cNvSpPr/>
              <p:nvPr/>
            </p:nvSpPr>
            <p:spPr>
              <a:xfrm>
                <a:off x="10067322" y="5111810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Google Shape;1289;p42">
                <a:extLst>
                  <a:ext uri="{FF2B5EF4-FFF2-40B4-BE49-F238E27FC236}">
                    <a16:creationId xmlns:a16="http://schemas.microsoft.com/office/drawing/2014/main" id="{E808E6E3-CF68-BE3F-3306-502E86A421F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137428" y="5325129"/>
                <a:ext cx="395506" cy="3953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29" h="21561" extrusionOk="0">
                    <a:moveTo>
                      <a:pt x="2333" y="17662"/>
                    </a:moveTo>
                    <a:cubicBezTo>
                      <a:pt x="2051" y="17674"/>
                      <a:pt x="1776" y="17573"/>
                      <a:pt x="1568" y="17383"/>
                    </a:cubicBezTo>
                    <a:cubicBezTo>
                      <a:pt x="895" y="16708"/>
                      <a:pt x="698" y="15663"/>
                      <a:pt x="639" y="15099"/>
                    </a:cubicBezTo>
                    <a:cubicBezTo>
                      <a:pt x="631" y="15013"/>
                      <a:pt x="693" y="14937"/>
                      <a:pt x="778" y="14929"/>
                    </a:cubicBezTo>
                    <a:cubicBezTo>
                      <a:pt x="783" y="14928"/>
                      <a:pt x="789" y="14928"/>
                      <a:pt x="794" y="14928"/>
                    </a:cubicBezTo>
                    <a:lnTo>
                      <a:pt x="811" y="14928"/>
                    </a:lnTo>
                    <a:cubicBezTo>
                      <a:pt x="1367" y="14985"/>
                      <a:pt x="2393" y="15178"/>
                      <a:pt x="3066" y="15832"/>
                    </a:cubicBezTo>
                    <a:lnTo>
                      <a:pt x="3080" y="15849"/>
                    </a:lnTo>
                    <a:cubicBezTo>
                      <a:pt x="3397" y="16195"/>
                      <a:pt x="3456" y="16704"/>
                      <a:pt x="3227" y="17113"/>
                    </a:cubicBezTo>
                    <a:cubicBezTo>
                      <a:pt x="3017" y="16822"/>
                      <a:pt x="2768" y="16561"/>
                      <a:pt x="2488" y="16338"/>
                    </a:cubicBezTo>
                    <a:cubicBezTo>
                      <a:pt x="2356" y="16228"/>
                      <a:pt x="2161" y="16246"/>
                      <a:pt x="2051" y="16377"/>
                    </a:cubicBezTo>
                    <a:cubicBezTo>
                      <a:pt x="1942" y="16509"/>
                      <a:pt x="1960" y="16705"/>
                      <a:pt x="2091" y="16814"/>
                    </a:cubicBezTo>
                    <a:cubicBezTo>
                      <a:pt x="2101" y="16822"/>
                      <a:pt x="2111" y="16830"/>
                      <a:pt x="2122" y="16837"/>
                    </a:cubicBezTo>
                    <a:cubicBezTo>
                      <a:pt x="2370" y="17043"/>
                      <a:pt x="2590" y="17281"/>
                      <a:pt x="2775" y="17544"/>
                    </a:cubicBezTo>
                    <a:cubicBezTo>
                      <a:pt x="2638" y="17615"/>
                      <a:pt x="2487" y="17656"/>
                      <a:pt x="2333" y="17662"/>
                    </a:cubicBezTo>
                    <a:cubicBezTo>
                      <a:pt x="2333" y="17662"/>
                      <a:pt x="2333" y="17662"/>
                      <a:pt x="2333" y="17662"/>
                    </a:cubicBezTo>
                    <a:close/>
                    <a:moveTo>
                      <a:pt x="5294" y="15849"/>
                    </a:moveTo>
                    <a:lnTo>
                      <a:pt x="5308" y="15832"/>
                    </a:lnTo>
                    <a:cubicBezTo>
                      <a:pt x="5981" y="15178"/>
                      <a:pt x="7011" y="14985"/>
                      <a:pt x="7563" y="14928"/>
                    </a:cubicBezTo>
                    <a:cubicBezTo>
                      <a:pt x="7648" y="14919"/>
                      <a:pt x="7724" y="14981"/>
                      <a:pt x="7733" y="15066"/>
                    </a:cubicBezTo>
                    <a:cubicBezTo>
                      <a:pt x="7735" y="15077"/>
                      <a:pt x="7735" y="15088"/>
                      <a:pt x="7733" y="15099"/>
                    </a:cubicBezTo>
                    <a:cubicBezTo>
                      <a:pt x="7676" y="15663"/>
                      <a:pt x="7480" y="16708"/>
                      <a:pt x="6816" y="17375"/>
                    </a:cubicBezTo>
                    <a:cubicBezTo>
                      <a:pt x="6485" y="17683"/>
                      <a:pt x="5997" y="17751"/>
                      <a:pt x="5596" y="17544"/>
                    </a:cubicBezTo>
                    <a:cubicBezTo>
                      <a:pt x="5781" y="17279"/>
                      <a:pt x="6002" y="17042"/>
                      <a:pt x="6254" y="16839"/>
                    </a:cubicBezTo>
                    <a:cubicBezTo>
                      <a:pt x="6388" y="16733"/>
                      <a:pt x="6412" y="16538"/>
                      <a:pt x="6306" y="16403"/>
                    </a:cubicBezTo>
                    <a:cubicBezTo>
                      <a:pt x="6205" y="16274"/>
                      <a:pt x="6021" y="16246"/>
                      <a:pt x="5887" y="16339"/>
                    </a:cubicBezTo>
                    <a:cubicBezTo>
                      <a:pt x="5606" y="16563"/>
                      <a:pt x="5357" y="16824"/>
                      <a:pt x="5147" y="17115"/>
                    </a:cubicBezTo>
                    <a:cubicBezTo>
                      <a:pt x="4918" y="16705"/>
                      <a:pt x="4977" y="16195"/>
                      <a:pt x="5294" y="15849"/>
                    </a:cubicBezTo>
                    <a:cubicBezTo>
                      <a:pt x="5294" y="15849"/>
                      <a:pt x="5294" y="15849"/>
                      <a:pt x="5294" y="15849"/>
                    </a:cubicBezTo>
                    <a:close/>
                    <a:moveTo>
                      <a:pt x="8153" y="10232"/>
                    </a:moveTo>
                    <a:cubicBezTo>
                      <a:pt x="7480" y="9557"/>
                      <a:pt x="7283" y="8512"/>
                      <a:pt x="7224" y="7948"/>
                    </a:cubicBezTo>
                    <a:cubicBezTo>
                      <a:pt x="7216" y="7862"/>
                      <a:pt x="7278" y="7786"/>
                      <a:pt x="7363" y="7778"/>
                    </a:cubicBezTo>
                    <a:cubicBezTo>
                      <a:pt x="7368" y="7777"/>
                      <a:pt x="7374" y="7777"/>
                      <a:pt x="7379" y="7777"/>
                    </a:cubicBezTo>
                    <a:lnTo>
                      <a:pt x="7396" y="7777"/>
                    </a:lnTo>
                    <a:cubicBezTo>
                      <a:pt x="7952" y="7834"/>
                      <a:pt x="8978" y="8027"/>
                      <a:pt x="9651" y="8681"/>
                    </a:cubicBezTo>
                    <a:cubicBezTo>
                      <a:pt x="9656" y="8688"/>
                      <a:pt x="9661" y="8693"/>
                      <a:pt x="9667" y="8698"/>
                    </a:cubicBezTo>
                    <a:cubicBezTo>
                      <a:pt x="9982" y="9044"/>
                      <a:pt x="10041" y="9554"/>
                      <a:pt x="9812" y="9962"/>
                    </a:cubicBezTo>
                    <a:cubicBezTo>
                      <a:pt x="9602" y="9672"/>
                      <a:pt x="9354" y="9411"/>
                      <a:pt x="9074" y="9187"/>
                    </a:cubicBezTo>
                    <a:cubicBezTo>
                      <a:pt x="8936" y="9085"/>
                      <a:pt x="8742" y="9114"/>
                      <a:pt x="8641" y="9252"/>
                    </a:cubicBezTo>
                    <a:cubicBezTo>
                      <a:pt x="8539" y="9390"/>
                      <a:pt x="8568" y="9584"/>
                      <a:pt x="8706" y="9686"/>
                    </a:cubicBezTo>
                    <a:cubicBezTo>
                      <a:pt x="8957" y="9890"/>
                      <a:pt x="9179" y="10127"/>
                      <a:pt x="9365" y="10392"/>
                    </a:cubicBezTo>
                    <a:cubicBezTo>
                      <a:pt x="8967" y="10597"/>
                      <a:pt x="8484" y="10533"/>
                      <a:pt x="8153" y="10232"/>
                    </a:cubicBezTo>
                    <a:cubicBezTo>
                      <a:pt x="8153" y="10232"/>
                      <a:pt x="8153" y="10232"/>
                      <a:pt x="8153" y="10232"/>
                    </a:cubicBezTo>
                    <a:close/>
                    <a:moveTo>
                      <a:pt x="11879" y="8698"/>
                    </a:moveTo>
                    <a:lnTo>
                      <a:pt x="11893" y="8683"/>
                    </a:lnTo>
                    <a:cubicBezTo>
                      <a:pt x="12566" y="8027"/>
                      <a:pt x="13595" y="7834"/>
                      <a:pt x="14148" y="7777"/>
                    </a:cubicBezTo>
                    <a:cubicBezTo>
                      <a:pt x="14233" y="7768"/>
                      <a:pt x="14309" y="7830"/>
                      <a:pt x="14318" y="7915"/>
                    </a:cubicBezTo>
                    <a:cubicBezTo>
                      <a:pt x="14319" y="7926"/>
                      <a:pt x="14319" y="7937"/>
                      <a:pt x="14318" y="7948"/>
                    </a:cubicBezTo>
                    <a:cubicBezTo>
                      <a:pt x="14261" y="8512"/>
                      <a:pt x="14064" y="9557"/>
                      <a:pt x="13400" y="10224"/>
                    </a:cubicBezTo>
                    <a:cubicBezTo>
                      <a:pt x="13071" y="10530"/>
                      <a:pt x="12586" y="10598"/>
                      <a:pt x="12185" y="10395"/>
                    </a:cubicBezTo>
                    <a:cubicBezTo>
                      <a:pt x="12370" y="10131"/>
                      <a:pt x="12590" y="9893"/>
                      <a:pt x="12838" y="9688"/>
                    </a:cubicBezTo>
                    <a:cubicBezTo>
                      <a:pt x="12973" y="9582"/>
                      <a:pt x="12997" y="9387"/>
                      <a:pt x="12891" y="9252"/>
                    </a:cubicBezTo>
                    <a:cubicBezTo>
                      <a:pt x="12790" y="9123"/>
                      <a:pt x="12606" y="9095"/>
                      <a:pt x="12472" y="9188"/>
                    </a:cubicBezTo>
                    <a:cubicBezTo>
                      <a:pt x="12192" y="9413"/>
                      <a:pt x="11943" y="9673"/>
                      <a:pt x="11732" y="9964"/>
                    </a:cubicBezTo>
                    <a:cubicBezTo>
                      <a:pt x="11503" y="9554"/>
                      <a:pt x="11562" y="9044"/>
                      <a:pt x="11879" y="8698"/>
                    </a:cubicBezTo>
                    <a:cubicBezTo>
                      <a:pt x="11879" y="8698"/>
                      <a:pt x="11879" y="8698"/>
                      <a:pt x="11879" y="8698"/>
                    </a:cubicBezTo>
                    <a:close/>
                    <a:moveTo>
                      <a:pt x="12291" y="14685"/>
                    </a:moveTo>
                    <a:lnTo>
                      <a:pt x="12301" y="14677"/>
                    </a:lnTo>
                    <a:cubicBezTo>
                      <a:pt x="12632" y="14517"/>
                      <a:pt x="13000" y="14454"/>
                      <a:pt x="13365" y="14495"/>
                    </a:cubicBezTo>
                    <a:cubicBezTo>
                      <a:pt x="13415" y="14498"/>
                      <a:pt x="13461" y="14527"/>
                      <a:pt x="13486" y="14571"/>
                    </a:cubicBezTo>
                    <a:cubicBezTo>
                      <a:pt x="13509" y="14616"/>
                      <a:pt x="13509" y="14670"/>
                      <a:pt x="13486" y="14716"/>
                    </a:cubicBezTo>
                    <a:cubicBezTo>
                      <a:pt x="13337" y="15056"/>
                      <a:pt x="13094" y="15348"/>
                      <a:pt x="12786" y="15555"/>
                    </a:cubicBezTo>
                    <a:cubicBezTo>
                      <a:pt x="12543" y="15688"/>
                      <a:pt x="12238" y="15599"/>
                      <a:pt x="12105" y="15356"/>
                    </a:cubicBezTo>
                    <a:cubicBezTo>
                      <a:pt x="11976" y="15120"/>
                      <a:pt x="12055" y="14824"/>
                      <a:pt x="12284" y="14685"/>
                    </a:cubicBezTo>
                    <a:cubicBezTo>
                      <a:pt x="12284" y="14685"/>
                      <a:pt x="12291" y="14685"/>
                      <a:pt x="12291" y="14685"/>
                    </a:cubicBezTo>
                    <a:close/>
                    <a:moveTo>
                      <a:pt x="15715" y="18484"/>
                    </a:moveTo>
                    <a:cubicBezTo>
                      <a:pt x="15592" y="18523"/>
                      <a:pt x="15458" y="18512"/>
                      <a:pt x="15343" y="18455"/>
                    </a:cubicBezTo>
                    <a:cubicBezTo>
                      <a:pt x="15031" y="18246"/>
                      <a:pt x="14785" y="17952"/>
                      <a:pt x="14636" y="17608"/>
                    </a:cubicBezTo>
                    <a:cubicBezTo>
                      <a:pt x="14612" y="17563"/>
                      <a:pt x="14612" y="17509"/>
                      <a:pt x="14636" y="17464"/>
                    </a:cubicBezTo>
                    <a:cubicBezTo>
                      <a:pt x="14661" y="17420"/>
                      <a:pt x="14706" y="17392"/>
                      <a:pt x="14756" y="17388"/>
                    </a:cubicBezTo>
                    <a:cubicBezTo>
                      <a:pt x="14821" y="17388"/>
                      <a:pt x="14893" y="17380"/>
                      <a:pt x="14967" y="17380"/>
                    </a:cubicBezTo>
                    <a:cubicBezTo>
                      <a:pt x="15263" y="17371"/>
                      <a:pt x="15556" y="17436"/>
                      <a:pt x="15821" y="17569"/>
                    </a:cubicBezTo>
                    <a:lnTo>
                      <a:pt x="15832" y="17569"/>
                    </a:lnTo>
                    <a:cubicBezTo>
                      <a:pt x="16067" y="17717"/>
                      <a:pt x="16137" y="18027"/>
                      <a:pt x="15990" y="18262"/>
                    </a:cubicBezTo>
                    <a:cubicBezTo>
                      <a:pt x="15926" y="18364"/>
                      <a:pt x="15828" y="18439"/>
                      <a:pt x="15713" y="18475"/>
                    </a:cubicBezTo>
                    <a:cubicBezTo>
                      <a:pt x="15713" y="18475"/>
                      <a:pt x="15715" y="18484"/>
                      <a:pt x="15715" y="18484"/>
                    </a:cubicBezTo>
                    <a:close/>
                    <a:moveTo>
                      <a:pt x="15502" y="3360"/>
                    </a:moveTo>
                    <a:cubicBezTo>
                      <a:pt x="15221" y="3373"/>
                      <a:pt x="14945" y="3273"/>
                      <a:pt x="14738" y="3081"/>
                    </a:cubicBezTo>
                    <a:cubicBezTo>
                      <a:pt x="14066" y="2406"/>
                      <a:pt x="13869" y="1361"/>
                      <a:pt x="13809" y="798"/>
                    </a:cubicBezTo>
                    <a:cubicBezTo>
                      <a:pt x="13803" y="751"/>
                      <a:pt x="13819" y="705"/>
                      <a:pt x="13852" y="671"/>
                    </a:cubicBezTo>
                    <a:cubicBezTo>
                      <a:pt x="13882" y="642"/>
                      <a:pt x="13921" y="626"/>
                      <a:pt x="13962" y="626"/>
                    </a:cubicBezTo>
                    <a:lnTo>
                      <a:pt x="13979" y="626"/>
                    </a:lnTo>
                    <a:cubicBezTo>
                      <a:pt x="14535" y="684"/>
                      <a:pt x="15560" y="877"/>
                      <a:pt x="16233" y="1530"/>
                    </a:cubicBezTo>
                    <a:lnTo>
                      <a:pt x="16249" y="1549"/>
                    </a:lnTo>
                    <a:cubicBezTo>
                      <a:pt x="16564" y="1894"/>
                      <a:pt x="16623" y="2403"/>
                      <a:pt x="16396" y="2811"/>
                    </a:cubicBezTo>
                    <a:cubicBezTo>
                      <a:pt x="16184" y="2521"/>
                      <a:pt x="15935" y="2261"/>
                      <a:pt x="15656" y="2036"/>
                    </a:cubicBezTo>
                    <a:cubicBezTo>
                      <a:pt x="15518" y="1934"/>
                      <a:pt x="15324" y="1964"/>
                      <a:pt x="15222" y="2103"/>
                    </a:cubicBezTo>
                    <a:cubicBezTo>
                      <a:pt x="15121" y="2241"/>
                      <a:pt x="15151" y="2435"/>
                      <a:pt x="15289" y="2537"/>
                    </a:cubicBezTo>
                    <a:cubicBezTo>
                      <a:pt x="15538" y="2741"/>
                      <a:pt x="15758" y="2979"/>
                      <a:pt x="15942" y="3244"/>
                    </a:cubicBezTo>
                    <a:cubicBezTo>
                      <a:pt x="15805" y="3313"/>
                      <a:pt x="15656" y="3353"/>
                      <a:pt x="15502" y="3360"/>
                    </a:cubicBezTo>
                    <a:close/>
                    <a:moveTo>
                      <a:pt x="18464" y="1549"/>
                    </a:moveTo>
                    <a:lnTo>
                      <a:pt x="18478" y="1532"/>
                    </a:lnTo>
                    <a:cubicBezTo>
                      <a:pt x="19151" y="877"/>
                      <a:pt x="20180" y="684"/>
                      <a:pt x="20733" y="628"/>
                    </a:cubicBezTo>
                    <a:cubicBezTo>
                      <a:pt x="20818" y="619"/>
                      <a:pt x="20894" y="680"/>
                      <a:pt x="20903" y="766"/>
                    </a:cubicBezTo>
                    <a:cubicBezTo>
                      <a:pt x="20904" y="776"/>
                      <a:pt x="20904" y="787"/>
                      <a:pt x="20903" y="798"/>
                    </a:cubicBezTo>
                    <a:cubicBezTo>
                      <a:pt x="20846" y="1361"/>
                      <a:pt x="20649" y="2407"/>
                      <a:pt x="19985" y="3073"/>
                    </a:cubicBezTo>
                    <a:cubicBezTo>
                      <a:pt x="19776" y="3269"/>
                      <a:pt x="19497" y="3373"/>
                      <a:pt x="19211" y="3360"/>
                    </a:cubicBezTo>
                    <a:cubicBezTo>
                      <a:pt x="19057" y="3354"/>
                      <a:pt x="18906" y="3315"/>
                      <a:pt x="18769" y="3246"/>
                    </a:cubicBezTo>
                    <a:cubicBezTo>
                      <a:pt x="18954" y="2981"/>
                      <a:pt x="19174" y="2743"/>
                      <a:pt x="19422" y="2537"/>
                    </a:cubicBezTo>
                    <a:cubicBezTo>
                      <a:pt x="19563" y="2440"/>
                      <a:pt x="19598" y="2246"/>
                      <a:pt x="19501" y="2105"/>
                    </a:cubicBezTo>
                    <a:cubicBezTo>
                      <a:pt x="19404" y="1964"/>
                      <a:pt x="19211" y="1929"/>
                      <a:pt x="19070" y="2026"/>
                    </a:cubicBezTo>
                    <a:cubicBezTo>
                      <a:pt x="19065" y="2030"/>
                      <a:pt x="19060" y="2034"/>
                      <a:pt x="19055" y="2037"/>
                    </a:cubicBezTo>
                    <a:cubicBezTo>
                      <a:pt x="18775" y="2262"/>
                      <a:pt x="18527" y="2523"/>
                      <a:pt x="18315" y="2813"/>
                    </a:cubicBezTo>
                    <a:cubicBezTo>
                      <a:pt x="18087" y="2404"/>
                      <a:pt x="18147" y="1894"/>
                      <a:pt x="18464" y="1549"/>
                    </a:cubicBezTo>
                    <a:close/>
                    <a:moveTo>
                      <a:pt x="19101" y="8984"/>
                    </a:moveTo>
                    <a:lnTo>
                      <a:pt x="19115" y="8973"/>
                    </a:lnTo>
                    <a:cubicBezTo>
                      <a:pt x="19620" y="8633"/>
                      <a:pt x="20275" y="8584"/>
                      <a:pt x="20739" y="8601"/>
                    </a:cubicBezTo>
                    <a:cubicBezTo>
                      <a:pt x="20787" y="8602"/>
                      <a:pt x="20832" y="8626"/>
                      <a:pt x="20860" y="8666"/>
                    </a:cubicBezTo>
                    <a:cubicBezTo>
                      <a:pt x="20887" y="8706"/>
                      <a:pt x="20895" y="8756"/>
                      <a:pt x="20880" y="8802"/>
                    </a:cubicBezTo>
                    <a:cubicBezTo>
                      <a:pt x="20736" y="9252"/>
                      <a:pt x="20457" y="9863"/>
                      <a:pt x="19960" y="10213"/>
                    </a:cubicBezTo>
                    <a:cubicBezTo>
                      <a:pt x="19794" y="10321"/>
                      <a:pt x="19591" y="10358"/>
                      <a:pt x="19397" y="10316"/>
                    </a:cubicBezTo>
                    <a:cubicBezTo>
                      <a:pt x="19328" y="10300"/>
                      <a:pt x="19262" y="10274"/>
                      <a:pt x="19200" y="10240"/>
                    </a:cubicBezTo>
                    <a:cubicBezTo>
                      <a:pt x="19364" y="10103"/>
                      <a:pt x="19540" y="9983"/>
                      <a:pt x="19727" y="9880"/>
                    </a:cubicBezTo>
                    <a:cubicBezTo>
                      <a:pt x="19882" y="9808"/>
                      <a:pt x="19949" y="9623"/>
                      <a:pt x="19876" y="9468"/>
                    </a:cubicBezTo>
                    <a:cubicBezTo>
                      <a:pt x="19804" y="9313"/>
                      <a:pt x="19620" y="9245"/>
                      <a:pt x="19465" y="9318"/>
                    </a:cubicBezTo>
                    <a:cubicBezTo>
                      <a:pt x="19459" y="9321"/>
                      <a:pt x="19454" y="9323"/>
                      <a:pt x="19448" y="9326"/>
                    </a:cubicBezTo>
                    <a:cubicBezTo>
                      <a:pt x="19228" y="9446"/>
                      <a:pt x="19021" y="9586"/>
                      <a:pt x="18829" y="9747"/>
                    </a:cubicBezTo>
                    <a:cubicBezTo>
                      <a:pt x="18765" y="9461"/>
                      <a:pt x="18871" y="9164"/>
                      <a:pt x="19101" y="8984"/>
                    </a:cubicBezTo>
                    <a:close/>
                    <a:moveTo>
                      <a:pt x="21214" y="20942"/>
                    </a:moveTo>
                    <a:lnTo>
                      <a:pt x="17666" y="20942"/>
                    </a:lnTo>
                    <a:lnTo>
                      <a:pt x="17666" y="13551"/>
                    </a:lnTo>
                    <a:cubicBezTo>
                      <a:pt x="17647" y="12493"/>
                      <a:pt x="18030" y="11466"/>
                      <a:pt x="18738" y="10680"/>
                    </a:cubicBezTo>
                    <a:cubicBezTo>
                      <a:pt x="18894" y="10798"/>
                      <a:pt x="19074" y="10881"/>
                      <a:pt x="19265" y="10922"/>
                    </a:cubicBezTo>
                    <a:cubicBezTo>
                      <a:pt x="19361" y="10943"/>
                      <a:pt x="19459" y="10953"/>
                      <a:pt x="19556" y="10953"/>
                    </a:cubicBezTo>
                    <a:cubicBezTo>
                      <a:pt x="19823" y="10952"/>
                      <a:pt x="20083" y="10874"/>
                      <a:pt x="20306" y="10728"/>
                    </a:cubicBezTo>
                    <a:cubicBezTo>
                      <a:pt x="20954" y="10272"/>
                      <a:pt x="21296" y="9531"/>
                      <a:pt x="21470" y="8991"/>
                    </a:cubicBezTo>
                    <a:cubicBezTo>
                      <a:pt x="21600" y="8584"/>
                      <a:pt x="21376" y="8147"/>
                      <a:pt x="20969" y="8017"/>
                    </a:cubicBezTo>
                    <a:cubicBezTo>
                      <a:pt x="20902" y="7995"/>
                      <a:pt x="20833" y="7983"/>
                      <a:pt x="20764" y="7980"/>
                    </a:cubicBezTo>
                    <a:cubicBezTo>
                      <a:pt x="20197" y="7957"/>
                      <a:pt x="19385" y="8027"/>
                      <a:pt x="18736" y="8481"/>
                    </a:cubicBezTo>
                    <a:lnTo>
                      <a:pt x="18699" y="8512"/>
                    </a:lnTo>
                    <a:cubicBezTo>
                      <a:pt x="18196" y="8920"/>
                      <a:pt x="18045" y="9624"/>
                      <a:pt x="18335" y="10203"/>
                    </a:cubicBezTo>
                    <a:cubicBezTo>
                      <a:pt x="18078" y="10478"/>
                      <a:pt x="17853" y="10782"/>
                      <a:pt x="17666" y="11110"/>
                    </a:cubicBezTo>
                    <a:lnTo>
                      <a:pt x="17666" y="6951"/>
                    </a:lnTo>
                    <a:cubicBezTo>
                      <a:pt x="17648" y="5841"/>
                      <a:pt x="17914" y="4746"/>
                      <a:pt x="18440" y="3770"/>
                    </a:cubicBezTo>
                    <a:cubicBezTo>
                      <a:pt x="18672" y="3898"/>
                      <a:pt x="18931" y="3969"/>
                      <a:pt x="19196" y="3979"/>
                    </a:cubicBezTo>
                    <a:lnTo>
                      <a:pt x="19262" y="3979"/>
                    </a:lnTo>
                    <a:cubicBezTo>
                      <a:pt x="19694" y="3977"/>
                      <a:pt x="20108" y="3810"/>
                      <a:pt x="20422" y="3514"/>
                    </a:cubicBezTo>
                    <a:cubicBezTo>
                      <a:pt x="21230" y="2704"/>
                      <a:pt x="21460" y="1498"/>
                      <a:pt x="21525" y="854"/>
                    </a:cubicBezTo>
                    <a:cubicBezTo>
                      <a:pt x="21569" y="428"/>
                      <a:pt x="21259" y="48"/>
                      <a:pt x="20834" y="4"/>
                    </a:cubicBezTo>
                    <a:cubicBezTo>
                      <a:pt x="20782" y="-1"/>
                      <a:pt x="20729" y="-1"/>
                      <a:pt x="20677" y="4"/>
                    </a:cubicBezTo>
                    <a:cubicBezTo>
                      <a:pt x="20032" y="69"/>
                      <a:pt x="18831" y="301"/>
                      <a:pt x="18022" y="1110"/>
                    </a:cubicBezTo>
                    <a:cubicBezTo>
                      <a:pt x="18010" y="1123"/>
                      <a:pt x="17999" y="1136"/>
                      <a:pt x="17988" y="1150"/>
                    </a:cubicBezTo>
                    <a:cubicBezTo>
                      <a:pt x="17439" y="1779"/>
                      <a:pt x="17425" y="2714"/>
                      <a:pt x="17956" y="3359"/>
                    </a:cubicBezTo>
                    <a:cubicBezTo>
                      <a:pt x="17705" y="3790"/>
                      <a:pt x="17506" y="4250"/>
                      <a:pt x="17365" y="4728"/>
                    </a:cubicBezTo>
                    <a:cubicBezTo>
                      <a:pt x="17222" y="4250"/>
                      <a:pt x="17023" y="3790"/>
                      <a:pt x="16772" y="3359"/>
                    </a:cubicBezTo>
                    <a:cubicBezTo>
                      <a:pt x="17302" y="2714"/>
                      <a:pt x="17288" y="1779"/>
                      <a:pt x="16739" y="1150"/>
                    </a:cubicBezTo>
                    <a:cubicBezTo>
                      <a:pt x="16729" y="1136"/>
                      <a:pt x="16718" y="1122"/>
                      <a:pt x="16705" y="1110"/>
                    </a:cubicBezTo>
                    <a:cubicBezTo>
                      <a:pt x="15897" y="301"/>
                      <a:pt x="14693" y="69"/>
                      <a:pt x="14051" y="4"/>
                    </a:cubicBezTo>
                    <a:cubicBezTo>
                      <a:pt x="13625" y="-39"/>
                      <a:pt x="13245" y="271"/>
                      <a:pt x="13202" y="697"/>
                    </a:cubicBezTo>
                    <a:cubicBezTo>
                      <a:pt x="13197" y="749"/>
                      <a:pt x="13197" y="802"/>
                      <a:pt x="13202" y="854"/>
                    </a:cubicBezTo>
                    <a:cubicBezTo>
                      <a:pt x="13267" y="1499"/>
                      <a:pt x="13498" y="2704"/>
                      <a:pt x="14315" y="3523"/>
                    </a:cubicBezTo>
                    <a:cubicBezTo>
                      <a:pt x="14628" y="3814"/>
                      <a:pt x="15039" y="3976"/>
                      <a:pt x="15465" y="3974"/>
                    </a:cubicBezTo>
                    <a:lnTo>
                      <a:pt x="15533" y="3974"/>
                    </a:lnTo>
                    <a:cubicBezTo>
                      <a:pt x="15797" y="3965"/>
                      <a:pt x="16055" y="3893"/>
                      <a:pt x="16286" y="3765"/>
                    </a:cubicBezTo>
                    <a:cubicBezTo>
                      <a:pt x="16814" y="4741"/>
                      <a:pt x="17080" y="5836"/>
                      <a:pt x="17060" y="6946"/>
                    </a:cubicBezTo>
                    <a:lnTo>
                      <a:pt x="17060" y="18462"/>
                    </a:lnTo>
                    <a:lnTo>
                      <a:pt x="16673" y="18238"/>
                    </a:lnTo>
                    <a:cubicBezTo>
                      <a:pt x="16770" y="17789"/>
                      <a:pt x="16586" y="17326"/>
                      <a:pt x="16208" y="17067"/>
                    </a:cubicBezTo>
                    <a:lnTo>
                      <a:pt x="16171" y="17040"/>
                    </a:lnTo>
                    <a:cubicBezTo>
                      <a:pt x="15728" y="16809"/>
                      <a:pt x="15226" y="16714"/>
                      <a:pt x="14728" y="16766"/>
                    </a:cubicBezTo>
                    <a:cubicBezTo>
                      <a:pt x="14302" y="16799"/>
                      <a:pt x="13984" y="17173"/>
                      <a:pt x="14018" y="17600"/>
                    </a:cubicBezTo>
                    <a:cubicBezTo>
                      <a:pt x="14025" y="17694"/>
                      <a:pt x="14050" y="17787"/>
                      <a:pt x="14091" y="17873"/>
                    </a:cubicBezTo>
                    <a:cubicBezTo>
                      <a:pt x="14297" y="18334"/>
                      <a:pt x="14634" y="18723"/>
                      <a:pt x="15060" y="18993"/>
                    </a:cubicBezTo>
                    <a:cubicBezTo>
                      <a:pt x="15499" y="19224"/>
                      <a:pt x="16037" y="19139"/>
                      <a:pt x="16385" y="18785"/>
                    </a:cubicBezTo>
                    <a:lnTo>
                      <a:pt x="17064" y="19179"/>
                    </a:lnTo>
                    <a:lnTo>
                      <a:pt x="17064" y="20938"/>
                    </a:lnTo>
                    <a:lnTo>
                      <a:pt x="11075" y="20938"/>
                    </a:lnTo>
                    <a:lnTo>
                      <a:pt x="11075" y="16285"/>
                    </a:lnTo>
                    <a:lnTo>
                      <a:pt x="11750" y="15896"/>
                    </a:lnTo>
                    <a:cubicBezTo>
                      <a:pt x="11961" y="16112"/>
                      <a:pt x="12249" y="16233"/>
                      <a:pt x="12551" y="16232"/>
                    </a:cubicBezTo>
                    <a:cubicBezTo>
                      <a:pt x="12737" y="16232"/>
                      <a:pt x="12920" y="16185"/>
                      <a:pt x="13085" y="16097"/>
                    </a:cubicBezTo>
                    <a:cubicBezTo>
                      <a:pt x="13506" y="15828"/>
                      <a:pt x="13840" y="15441"/>
                      <a:pt x="14044" y="14984"/>
                    </a:cubicBezTo>
                    <a:cubicBezTo>
                      <a:pt x="14228" y="14597"/>
                      <a:pt x="14065" y="14135"/>
                      <a:pt x="13679" y="13950"/>
                    </a:cubicBezTo>
                    <a:cubicBezTo>
                      <a:pt x="13593" y="13909"/>
                      <a:pt x="13500" y="13884"/>
                      <a:pt x="13405" y="13877"/>
                    </a:cubicBezTo>
                    <a:cubicBezTo>
                      <a:pt x="12908" y="13822"/>
                      <a:pt x="12406" y="13918"/>
                      <a:pt x="11964" y="14151"/>
                    </a:cubicBezTo>
                    <a:cubicBezTo>
                      <a:pt x="11951" y="14159"/>
                      <a:pt x="11938" y="14168"/>
                      <a:pt x="11927" y="14177"/>
                    </a:cubicBezTo>
                    <a:cubicBezTo>
                      <a:pt x="11549" y="14437"/>
                      <a:pt x="11365" y="14900"/>
                      <a:pt x="11462" y="15348"/>
                    </a:cubicBezTo>
                    <a:lnTo>
                      <a:pt x="11080" y="15569"/>
                    </a:lnTo>
                    <a:lnTo>
                      <a:pt x="11080" y="14101"/>
                    </a:lnTo>
                    <a:cubicBezTo>
                      <a:pt x="11061" y="12992"/>
                      <a:pt x="11327" y="11897"/>
                      <a:pt x="11854" y="10921"/>
                    </a:cubicBezTo>
                    <a:cubicBezTo>
                      <a:pt x="12499" y="11275"/>
                      <a:pt x="13298" y="11174"/>
                      <a:pt x="13835" y="10671"/>
                    </a:cubicBezTo>
                    <a:cubicBezTo>
                      <a:pt x="14643" y="9860"/>
                      <a:pt x="14874" y="8655"/>
                      <a:pt x="14939" y="8011"/>
                    </a:cubicBezTo>
                    <a:cubicBezTo>
                      <a:pt x="14982" y="7585"/>
                      <a:pt x="14673" y="7205"/>
                      <a:pt x="14247" y="7161"/>
                    </a:cubicBezTo>
                    <a:cubicBezTo>
                      <a:pt x="14195" y="7156"/>
                      <a:pt x="14143" y="7156"/>
                      <a:pt x="14091" y="7161"/>
                    </a:cubicBezTo>
                    <a:cubicBezTo>
                      <a:pt x="13445" y="7227"/>
                      <a:pt x="12244" y="7458"/>
                      <a:pt x="11436" y="8267"/>
                    </a:cubicBezTo>
                    <a:cubicBezTo>
                      <a:pt x="11423" y="8279"/>
                      <a:pt x="11412" y="8293"/>
                      <a:pt x="11402" y="8307"/>
                    </a:cubicBezTo>
                    <a:cubicBezTo>
                      <a:pt x="10852" y="8936"/>
                      <a:pt x="10838" y="9871"/>
                      <a:pt x="11368" y="10516"/>
                    </a:cubicBezTo>
                    <a:cubicBezTo>
                      <a:pt x="11118" y="10947"/>
                      <a:pt x="10919" y="11407"/>
                      <a:pt x="10777" y="11885"/>
                    </a:cubicBezTo>
                    <a:cubicBezTo>
                      <a:pt x="10635" y="11406"/>
                      <a:pt x="10436" y="10946"/>
                      <a:pt x="10185" y="10514"/>
                    </a:cubicBezTo>
                    <a:cubicBezTo>
                      <a:pt x="10716" y="9868"/>
                      <a:pt x="10699" y="8931"/>
                      <a:pt x="10147" y="8303"/>
                    </a:cubicBezTo>
                    <a:cubicBezTo>
                      <a:pt x="10136" y="8289"/>
                      <a:pt x="10125" y="8275"/>
                      <a:pt x="10113" y="8263"/>
                    </a:cubicBezTo>
                    <a:cubicBezTo>
                      <a:pt x="9305" y="7453"/>
                      <a:pt x="8100" y="7222"/>
                      <a:pt x="7458" y="7157"/>
                    </a:cubicBezTo>
                    <a:cubicBezTo>
                      <a:pt x="7033" y="7113"/>
                      <a:pt x="6652" y="7422"/>
                      <a:pt x="6608" y="7848"/>
                    </a:cubicBezTo>
                    <a:cubicBezTo>
                      <a:pt x="6603" y="7901"/>
                      <a:pt x="6603" y="7954"/>
                      <a:pt x="6608" y="8007"/>
                    </a:cubicBezTo>
                    <a:cubicBezTo>
                      <a:pt x="6675" y="8652"/>
                      <a:pt x="6905" y="9855"/>
                      <a:pt x="7723" y="10676"/>
                    </a:cubicBezTo>
                    <a:cubicBezTo>
                      <a:pt x="8262" y="11173"/>
                      <a:pt x="9058" y="11268"/>
                      <a:pt x="9699" y="10913"/>
                    </a:cubicBezTo>
                    <a:cubicBezTo>
                      <a:pt x="10222" y="11891"/>
                      <a:pt x="10485" y="12988"/>
                      <a:pt x="10461" y="14097"/>
                    </a:cubicBezTo>
                    <a:lnTo>
                      <a:pt x="10461" y="16057"/>
                    </a:lnTo>
                    <a:cubicBezTo>
                      <a:pt x="10455" y="16095"/>
                      <a:pt x="10455" y="16133"/>
                      <a:pt x="10461" y="16170"/>
                    </a:cubicBezTo>
                    <a:lnTo>
                      <a:pt x="10461" y="20945"/>
                    </a:lnTo>
                    <a:lnTo>
                      <a:pt x="4501" y="20945"/>
                    </a:lnTo>
                    <a:cubicBezTo>
                      <a:pt x="4521" y="19941"/>
                      <a:pt x="4781" y="18955"/>
                      <a:pt x="5258" y="18072"/>
                    </a:cubicBezTo>
                    <a:cubicBezTo>
                      <a:pt x="5491" y="18202"/>
                      <a:pt x="5751" y="18275"/>
                      <a:pt x="6017" y="18284"/>
                    </a:cubicBezTo>
                    <a:lnTo>
                      <a:pt x="6083" y="18284"/>
                    </a:lnTo>
                    <a:cubicBezTo>
                      <a:pt x="6515" y="18283"/>
                      <a:pt x="6930" y="18117"/>
                      <a:pt x="7243" y="17819"/>
                    </a:cubicBezTo>
                    <a:cubicBezTo>
                      <a:pt x="8051" y="17008"/>
                      <a:pt x="8281" y="15803"/>
                      <a:pt x="8348" y="15159"/>
                    </a:cubicBezTo>
                    <a:cubicBezTo>
                      <a:pt x="8391" y="14733"/>
                      <a:pt x="8082" y="14353"/>
                      <a:pt x="7656" y="14309"/>
                    </a:cubicBezTo>
                    <a:cubicBezTo>
                      <a:pt x="7604" y="14304"/>
                      <a:pt x="7551" y="14304"/>
                      <a:pt x="7498" y="14309"/>
                    </a:cubicBezTo>
                    <a:cubicBezTo>
                      <a:pt x="6854" y="14374"/>
                      <a:pt x="5653" y="14605"/>
                      <a:pt x="4843" y="15415"/>
                    </a:cubicBezTo>
                    <a:cubicBezTo>
                      <a:pt x="4831" y="15427"/>
                      <a:pt x="4820" y="15441"/>
                      <a:pt x="4811" y="15455"/>
                    </a:cubicBezTo>
                    <a:cubicBezTo>
                      <a:pt x="4262" y="16084"/>
                      <a:pt x="4248" y="17017"/>
                      <a:pt x="4777" y="17662"/>
                    </a:cubicBezTo>
                    <a:cubicBezTo>
                      <a:pt x="4526" y="18094"/>
                      <a:pt x="4327" y="18554"/>
                      <a:pt x="4186" y="19033"/>
                    </a:cubicBezTo>
                    <a:cubicBezTo>
                      <a:pt x="4044" y="18554"/>
                      <a:pt x="3846" y="18094"/>
                      <a:pt x="3594" y="17662"/>
                    </a:cubicBezTo>
                    <a:cubicBezTo>
                      <a:pt x="4124" y="17018"/>
                      <a:pt x="4110" y="16084"/>
                      <a:pt x="3562" y="15455"/>
                    </a:cubicBezTo>
                    <a:cubicBezTo>
                      <a:pt x="3551" y="15441"/>
                      <a:pt x="3540" y="15428"/>
                      <a:pt x="3528" y="15415"/>
                    </a:cubicBezTo>
                    <a:cubicBezTo>
                      <a:pt x="2718" y="14605"/>
                      <a:pt x="1515" y="14374"/>
                      <a:pt x="873" y="14309"/>
                    </a:cubicBezTo>
                    <a:cubicBezTo>
                      <a:pt x="448" y="14265"/>
                      <a:pt x="67" y="14575"/>
                      <a:pt x="23" y="15001"/>
                    </a:cubicBezTo>
                    <a:cubicBezTo>
                      <a:pt x="18" y="15053"/>
                      <a:pt x="18" y="15106"/>
                      <a:pt x="23" y="15159"/>
                    </a:cubicBezTo>
                    <a:cubicBezTo>
                      <a:pt x="90" y="15804"/>
                      <a:pt x="320" y="17008"/>
                      <a:pt x="1136" y="17827"/>
                    </a:cubicBezTo>
                    <a:cubicBezTo>
                      <a:pt x="1448" y="18119"/>
                      <a:pt x="1860" y="18281"/>
                      <a:pt x="2288" y="18279"/>
                    </a:cubicBezTo>
                    <a:lnTo>
                      <a:pt x="2354" y="18279"/>
                    </a:lnTo>
                    <a:cubicBezTo>
                      <a:pt x="2619" y="18270"/>
                      <a:pt x="2877" y="18198"/>
                      <a:pt x="3108" y="18070"/>
                    </a:cubicBezTo>
                    <a:cubicBezTo>
                      <a:pt x="3586" y="18953"/>
                      <a:pt x="3847" y="19937"/>
                      <a:pt x="3870" y="20941"/>
                    </a:cubicBezTo>
                    <a:lnTo>
                      <a:pt x="310" y="20941"/>
                    </a:lnTo>
                    <a:cubicBezTo>
                      <a:pt x="139" y="20941"/>
                      <a:pt x="0" y="21080"/>
                      <a:pt x="0" y="21251"/>
                    </a:cubicBezTo>
                    <a:cubicBezTo>
                      <a:pt x="0" y="21422"/>
                      <a:pt x="139" y="21561"/>
                      <a:pt x="310" y="21561"/>
                    </a:cubicBezTo>
                    <a:lnTo>
                      <a:pt x="21207" y="21561"/>
                    </a:lnTo>
                    <a:cubicBezTo>
                      <a:pt x="21378" y="21561"/>
                      <a:pt x="21516" y="21422"/>
                      <a:pt x="21516" y="21251"/>
                    </a:cubicBezTo>
                    <a:cubicBezTo>
                      <a:pt x="21516" y="21080"/>
                      <a:pt x="21378" y="20941"/>
                      <a:pt x="21207" y="20941"/>
                    </a:cubicBezTo>
                    <a:cubicBezTo>
                      <a:pt x="21207" y="20941"/>
                      <a:pt x="21214" y="20942"/>
                      <a:pt x="21214" y="20942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rgbClr val="FFFFFF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sp>
            <p:nvSpPr>
              <p:cNvPr id="43" name="Google Shape;1194;p40">
                <a:extLst>
                  <a:ext uri="{FF2B5EF4-FFF2-40B4-BE49-F238E27FC236}">
                    <a16:creationId xmlns:a16="http://schemas.microsoft.com/office/drawing/2014/main" id="{AD8E7901-50E1-CF88-8CDD-23E32839DC5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144913" y="5248491"/>
                <a:ext cx="520702" cy="4315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481" h="21576" extrusionOk="0">
                    <a:moveTo>
                      <a:pt x="7840" y="37"/>
                    </a:moveTo>
                    <a:cubicBezTo>
                      <a:pt x="7725" y="-14"/>
                      <a:pt x="7599" y="-12"/>
                      <a:pt x="7477" y="44"/>
                    </a:cubicBezTo>
                    <a:lnTo>
                      <a:pt x="6944" y="297"/>
                    </a:lnTo>
                    <a:cubicBezTo>
                      <a:pt x="6700" y="413"/>
                      <a:pt x="6565" y="730"/>
                      <a:pt x="6630" y="1037"/>
                    </a:cubicBezTo>
                    <a:lnTo>
                      <a:pt x="6779" y="1737"/>
                    </a:lnTo>
                    <a:cubicBezTo>
                      <a:pt x="6654" y="1858"/>
                      <a:pt x="6537" y="1991"/>
                      <a:pt x="6432" y="2137"/>
                    </a:cubicBezTo>
                    <a:lnTo>
                      <a:pt x="5871" y="1923"/>
                    </a:lnTo>
                    <a:cubicBezTo>
                      <a:pt x="5620" y="1829"/>
                      <a:pt x="5349" y="1978"/>
                      <a:pt x="5244" y="2270"/>
                    </a:cubicBezTo>
                    <a:lnTo>
                      <a:pt x="5013" y="2916"/>
                    </a:lnTo>
                    <a:cubicBezTo>
                      <a:pt x="4909" y="3207"/>
                      <a:pt x="4998" y="3547"/>
                      <a:pt x="5222" y="3709"/>
                    </a:cubicBezTo>
                    <a:lnTo>
                      <a:pt x="5734" y="4076"/>
                    </a:lnTo>
                    <a:cubicBezTo>
                      <a:pt x="5716" y="4270"/>
                      <a:pt x="5712" y="4468"/>
                      <a:pt x="5723" y="4662"/>
                    </a:cubicBezTo>
                    <a:lnTo>
                      <a:pt x="5200" y="4996"/>
                    </a:lnTo>
                    <a:cubicBezTo>
                      <a:pt x="4973" y="5144"/>
                      <a:pt x="4866" y="5474"/>
                      <a:pt x="4953" y="5769"/>
                    </a:cubicBezTo>
                    <a:lnTo>
                      <a:pt x="5162" y="6422"/>
                    </a:lnTo>
                    <a:cubicBezTo>
                      <a:pt x="5256" y="6718"/>
                      <a:pt x="5519" y="6881"/>
                      <a:pt x="5772" y="6802"/>
                    </a:cubicBezTo>
                    <a:lnTo>
                      <a:pt x="6344" y="6622"/>
                    </a:lnTo>
                    <a:cubicBezTo>
                      <a:pt x="6444" y="6773"/>
                      <a:pt x="6554" y="6913"/>
                      <a:pt x="6674" y="7041"/>
                    </a:cubicBezTo>
                    <a:lnTo>
                      <a:pt x="6504" y="7735"/>
                    </a:lnTo>
                    <a:cubicBezTo>
                      <a:pt x="6427" y="8038"/>
                      <a:pt x="6545" y="8359"/>
                      <a:pt x="6784" y="8488"/>
                    </a:cubicBezTo>
                    <a:lnTo>
                      <a:pt x="7318" y="8774"/>
                    </a:lnTo>
                    <a:cubicBezTo>
                      <a:pt x="7558" y="8903"/>
                      <a:pt x="7839" y="8796"/>
                      <a:pt x="7972" y="8521"/>
                    </a:cubicBezTo>
                    <a:lnTo>
                      <a:pt x="8274" y="7894"/>
                    </a:lnTo>
                    <a:cubicBezTo>
                      <a:pt x="8432" y="7915"/>
                      <a:pt x="8589" y="7926"/>
                      <a:pt x="8747" y="7914"/>
                    </a:cubicBezTo>
                    <a:lnTo>
                      <a:pt x="9028" y="8554"/>
                    </a:lnTo>
                    <a:cubicBezTo>
                      <a:pt x="9117" y="8759"/>
                      <a:pt x="9293" y="8888"/>
                      <a:pt x="9484" y="8887"/>
                    </a:cubicBezTo>
                    <a:cubicBezTo>
                      <a:pt x="9547" y="8888"/>
                      <a:pt x="9607" y="8875"/>
                      <a:pt x="9666" y="8847"/>
                    </a:cubicBezTo>
                    <a:lnTo>
                      <a:pt x="10210" y="8594"/>
                    </a:lnTo>
                    <a:cubicBezTo>
                      <a:pt x="10453" y="8477"/>
                      <a:pt x="10587" y="8162"/>
                      <a:pt x="10523" y="7854"/>
                    </a:cubicBezTo>
                    <a:lnTo>
                      <a:pt x="10375" y="7155"/>
                    </a:lnTo>
                    <a:cubicBezTo>
                      <a:pt x="10500" y="7031"/>
                      <a:pt x="10614" y="6895"/>
                      <a:pt x="10721" y="6748"/>
                    </a:cubicBezTo>
                    <a:lnTo>
                      <a:pt x="11288" y="6961"/>
                    </a:lnTo>
                    <a:cubicBezTo>
                      <a:pt x="11539" y="7056"/>
                      <a:pt x="11804" y="6907"/>
                      <a:pt x="11909" y="6615"/>
                    </a:cubicBezTo>
                    <a:lnTo>
                      <a:pt x="12146" y="5969"/>
                    </a:lnTo>
                    <a:cubicBezTo>
                      <a:pt x="12250" y="5678"/>
                      <a:pt x="12156" y="5338"/>
                      <a:pt x="11931" y="5175"/>
                    </a:cubicBezTo>
                    <a:lnTo>
                      <a:pt x="11425" y="4809"/>
                    </a:lnTo>
                    <a:cubicBezTo>
                      <a:pt x="11442" y="4615"/>
                      <a:pt x="11446" y="4424"/>
                      <a:pt x="11436" y="4229"/>
                    </a:cubicBezTo>
                    <a:lnTo>
                      <a:pt x="11959" y="3889"/>
                    </a:lnTo>
                    <a:cubicBezTo>
                      <a:pt x="12187" y="3739"/>
                      <a:pt x="12287" y="3404"/>
                      <a:pt x="12195" y="3110"/>
                    </a:cubicBezTo>
                    <a:lnTo>
                      <a:pt x="11986" y="2457"/>
                    </a:lnTo>
                    <a:cubicBezTo>
                      <a:pt x="11892" y="2160"/>
                      <a:pt x="11630" y="1997"/>
                      <a:pt x="11376" y="2077"/>
                    </a:cubicBezTo>
                    <a:lnTo>
                      <a:pt x="10804" y="2257"/>
                    </a:lnTo>
                    <a:cubicBezTo>
                      <a:pt x="10704" y="2105"/>
                      <a:pt x="10594" y="1965"/>
                      <a:pt x="10474" y="1837"/>
                    </a:cubicBezTo>
                    <a:lnTo>
                      <a:pt x="10650" y="1144"/>
                    </a:lnTo>
                    <a:cubicBezTo>
                      <a:pt x="10726" y="840"/>
                      <a:pt x="10604" y="519"/>
                      <a:pt x="10364" y="391"/>
                    </a:cubicBezTo>
                    <a:lnTo>
                      <a:pt x="9831" y="104"/>
                    </a:lnTo>
                    <a:cubicBezTo>
                      <a:pt x="9590" y="-24"/>
                      <a:pt x="9309" y="83"/>
                      <a:pt x="9176" y="357"/>
                    </a:cubicBezTo>
                    <a:lnTo>
                      <a:pt x="8874" y="984"/>
                    </a:lnTo>
                    <a:cubicBezTo>
                      <a:pt x="8716" y="963"/>
                      <a:pt x="8560" y="952"/>
                      <a:pt x="8401" y="964"/>
                    </a:cubicBezTo>
                    <a:lnTo>
                      <a:pt x="8120" y="331"/>
                    </a:lnTo>
                    <a:cubicBezTo>
                      <a:pt x="8059" y="191"/>
                      <a:pt x="7954" y="89"/>
                      <a:pt x="7840" y="37"/>
                    </a:cubicBezTo>
                    <a:close/>
                    <a:moveTo>
                      <a:pt x="7647" y="644"/>
                    </a:moveTo>
                    <a:lnTo>
                      <a:pt x="7928" y="1270"/>
                    </a:lnTo>
                    <a:cubicBezTo>
                      <a:pt x="8022" y="1488"/>
                      <a:pt x="8215" y="1619"/>
                      <a:pt x="8417" y="1603"/>
                    </a:cubicBezTo>
                    <a:cubicBezTo>
                      <a:pt x="8554" y="1593"/>
                      <a:pt x="8688" y="1599"/>
                      <a:pt x="8824" y="1617"/>
                    </a:cubicBezTo>
                    <a:cubicBezTo>
                      <a:pt x="9025" y="1643"/>
                      <a:pt x="9223" y="1522"/>
                      <a:pt x="9325" y="1310"/>
                    </a:cubicBezTo>
                    <a:lnTo>
                      <a:pt x="9622" y="691"/>
                    </a:lnTo>
                    <a:lnTo>
                      <a:pt x="10122" y="964"/>
                    </a:lnTo>
                    <a:lnTo>
                      <a:pt x="9952" y="1643"/>
                    </a:lnTo>
                    <a:cubicBezTo>
                      <a:pt x="9891" y="1879"/>
                      <a:pt x="9948" y="2140"/>
                      <a:pt x="10100" y="2303"/>
                    </a:cubicBezTo>
                    <a:cubicBezTo>
                      <a:pt x="10203" y="2414"/>
                      <a:pt x="10300" y="2533"/>
                      <a:pt x="10386" y="2663"/>
                    </a:cubicBezTo>
                    <a:cubicBezTo>
                      <a:pt x="10513" y="2856"/>
                      <a:pt x="10723" y="2940"/>
                      <a:pt x="10919" y="2876"/>
                    </a:cubicBezTo>
                    <a:lnTo>
                      <a:pt x="11486" y="2696"/>
                    </a:lnTo>
                    <a:lnTo>
                      <a:pt x="11684" y="3323"/>
                    </a:lnTo>
                    <a:lnTo>
                      <a:pt x="11167" y="3656"/>
                    </a:lnTo>
                    <a:cubicBezTo>
                      <a:pt x="10988" y="3771"/>
                      <a:pt x="10880" y="3997"/>
                      <a:pt x="10892" y="4243"/>
                    </a:cubicBezTo>
                    <a:cubicBezTo>
                      <a:pt x="10901" y="4410"/>
                      <a:pt x="10897" y="4583"/>
                      <a:pt x="10881" y="4749"/>
                    </a:cubicBezTo>
                    <a:cubicBezTo>
                      <a:pt x="10860" y="4992"/>
                      <a:pt x="10960" y="5224"/>
                      <a:pt x="11134" y="5349"/>
                    </a:cubicBezTo>
                    <a:lnTo>
                      <a:pt x="11640" y="5715"/>
                    </a:lnTo>
                    <a:lnTo>
                      <a:pt x="11420" y="6328"/>
                    </a:lnTo>
                    <a:lnTo>
                      <a:pt x="10864" y="6122"/>
                    </a:lnTo>
                    <a:cubicBezTo>
                      <a:pt x="10669" y="6049"/>
                      <a:pt x="10454" y="6121"/>
                      <a:pt x="10320" y="6308"/>
                    </a:cubicBezTo>
                    <a:cubicBezTo>
                      <a:pt x="10230" y="6434"/>
                      <a:pt x="10131" y="6551"/>
                      <a:pt x="10023" y="6655"/>
                    </a:cubicBezTo>
                    <a:cubicBezTo>
                      <a:pt x="9865" y="6810"/>
                      <a:pt x="9796" y="7064"/>
                      <a:pt x="9847" y="7301"/>
                    </a:cubicBezTo>
                    <a:lnTo>
                      <a:pt x="9996" y="7994"/>
                    </a:lnTo>
                    <a:lnTo>
                      <a:pt x="9484" y="8234"/>
                    </a:lnTo>
                    <a:lnTo>
                      <a:pt x="9209" y="7601"/>
                    </a:lnTo>
                    <a:cubicBezTo>
                      <a:pt x="9120" y="7395"/>
                      <a:pt x="8945" y="7268"/>
                      <a:pt x="8753" y="7268"/>
                    </a:cubicBezTo>
                    <a:lnTo>
                      <a:pt x="8720" y="7268"/>
                    </a:lnTo>
                    <a:cubicBezTo>
                      <a:pt x="8583" y="7278"/>
                      <a:pt x="8449" y="7272"/>
                      <a:pt x="8313" y="7255"/>
                    </a:cubicBezTo>
                    <a:cubicBezTo>
                      <a:pt x="8112" y="7228"/>
                      <a:pt x="7914" y="7349"/>
                      <a:pt x="7812" y="7561"/>
                    </a:cubicBezTo>
                    <a:lnTo>
                      <a:pt x="7515" y="8181"/>
                    </a:lnTo>
                    <a:lnTo>
                      <a:pt x="7010" y="7908"/>
                    </a:lnTo>
                    <a:lnTo>
                      <a:pt x="7186" y="7221"/>
                    </a:lnTo>
                    <a:cubicBezTo>
                      <a:pt x="7245" y="6986"/>
                      <a:pt x="7189" y="6732"/>
                      <a:pt x="7037" y="6568"/>
                    </a:cubicBezTo>
                    <a:cubicBezTo>
                      <a:pt x="6934" y="6458"/>
                      <a:pt x="6836" y="6339"/>
                      <a:pt x="6751" y="6208"/>
                    </a:cubicBezTo>
                    <a:cubicBezTo>
                      <a:pt x="6624" y="6016"/>
                      <a:pt x="6414" y="5932"/>
                      <a:pt x="6218" y="5995"/>
                    </a:cubicBezTo>
                    <a:lnTo>
                      <a:pt x="5651" y="6175"/>
                    </a:lnTo>
                    <a:lnTo>
                      <a:pt x="5453" y="5549"/>
                    </a:lnTo>
                    <a:cubicBezTo>
                      <a:pt x="5453" y="5549"/>
                      <a:pt x="5976" y="5215"/>
                      <a:pt x="5976" y="5215"/>
                    </a:cubicBezTo>
                    <a:cubicBezTo>
                      <a:pt x="6155" y="5100"/>
                      <a:pt x="6262" y="4868"/>
                      <a:pt x="6251" y="4622"/>
                    </a:cubicBezTo>
                    <a:cubicBezTo>
                      <a:pt x="6241" y="4455"/>
                      <a:pt x="6242" y="4289"/>
                      <a:pt x="6256" y="4123"/>
                    </a:cubicBezTo>
                    <a:cubicBezTo>
                      <a:pt x="6277" y="3880"/>
                      <a:pt x="6182" y="3647"/>
                      <a:pt x="6009" y="3523"/>
                    </a:cubicBezTo>
                    <a:lnTo>
                      <a:pt x="5497" y="3156"/>
                    </a:lnTo>
                    <a:lnTo>
                      <a:pt x="5723" y="2543"/>
                    </a:lnTo>
                    <a:lnTo>
                      <a:pt x="6284" y="2750"/>
                    </a:lnTo>
                    <a:cubicBezTo>
                      <a:pt x="6475" y="2820"/>
                      <a:pt x="6679" y="2752"/>
                      <a:pt x="6812" y="2570"/>
                    </a:cubicBezTo>
                    <a:cubicBezTo>
                      <a:pt x="6902" y="2444"/>
                      <a:pt x="7006" y="2327"/>
                      <a:pt x="7114" y="2223"/>
                    </a:cubicBezTo>
                    <a:cubicBezTo>
                      <a:pt x="7271" y="2068"/>
                      <a:pt x="7336" y="1814"/>
                      <a:pt x="7285" y="1577"/>
                    </a:cubicBezTo>
                    <a:lnTo>
                      <a:pt x="7136" y="884"/>
                    </a:lnTo>
                    <a:lnTo>
                      <a:pt x="7647" y="644"/>
                    </a:lnTo>
                    <a:close/>
                    <a:moveTo>
                      <a:pt x="8571" y="2350"/>
                    </a:moveTo>
                    <a:cubicBezTo>
                      <a:pt x="7616" y="2354"/>
                      <a:pt x="6847" y="3292"/>
                      <a:pt x="6850" y="4449"/>
                    </a:cubicBezTo>
                    <a:cubicBezTo>
                      <a:pt x="6853" y="5459"/>
                      <a:pt x="7449" y="6328"/>
                      <a:pt x="8269" y="6508"/>
                    </a:cubicBezTo>
                    <a:cubicBezTo>
                      <a:pt x="8373" y="6531"/>
                      <a:pt x="8477" y="6542"/>
                      <a:pt x="8582" y="6542"/>
                    </a:cubicBezTo>
                    <a:cubicBezTo>
                      <a:pt x="9537" y="6538"/>
                      <a:pt x="10312" y="5593"/>
                      <a:pt x="10309" y="4436"/>
                    </a:cubicBezTo>
                    <a:cubicBezTo>
                      <a:pt x="10306" y="3278"/>
                      <a:pt x="9526" y="2346"/>
                      <a:pt x="8571" y="2350"/>
                    </a:cubicBezTo>
                    <a:close/>
                    <a:moveTo>
                      <a:pt x="8577" y="2996"/>
                    </a:moveTo>
                    <a:cubicBezTo>
                      <a:pt x="8650" y="2996"/>
                      <a:pt x="8725" y="3000"/>
                      <a:pt x="8797" y="3016"/>
                    </a:cubicBezTo>
                    <a:cubicBezTo>
                      <a:pt x="9447" y="3160"/>
                      <a:pt x="9878" y="3914"/>
                      <a:pt x="9759" y="4702"/>
                    </a:cubicBezTo>
                    <a:cubicBezTo>
                      <a:pt x="9640" y="5491"/>
                      <a:pt x="9013" y="6019"/>
                      <a:pt x="8362" y="5875"/>
                    </a:cubicBezTo>
                    <a:cubicBezTo>
                      <a:pt x="7712" y="5731"/>
                      <a:pt x="7281" y="4971"/>
                      <a:pt x="7400" y="4183"/>
                    </a:cubicBezTo>
                    <a:cubicBezTo>
                      <a:pt x="7504" y="3495"/>
                      <a:pt x="8000" y="2998"/>
                      <a:pt x="8577" y="2996"/>
                    </a:cubicBezTo>
                    <a:close/>
                    <a:moveTo>
                      <a:pt x="15984" y="6455"/>
                    </a:moveTo>
                    <a:cubicBezTo>
                      <a:pt x="15735" y="6496"/>
                      <a:pt x="15520" y="6701"/>
                      <a:pt x="15429" y="7001"/>
                    </a:cubicBezTo>
                    <a:lnTo>
                      <a:pt x="15071" y="8181"/>
                    </a:lnTo>
                    <a:cubicBezTo>
                      <a:pt x="15052" y="8252"/>
                      <a:pt x="15000" y="8301"/>
                      <a:pt x="14939" y="8308"/>
                    </a:cubicBezTo>
                    <a:cubicBezTo>
                      <a:pt x="14664" y="8333"/>
                      <a:pt x="14393" y="8385"/>
                      <a:pt x="14125" y="8468"/>
                    </a:cubicBezTo>
                    <a:cubicBezTo>
                      <a:pt x="14064" y="8486"/>
                      <a:pt x="13998" y="8455"/>
                      <a:pt x="13960" y="8394"/>
                    </a:cubicBezTo>
                    <a:lnTo>
                      <a:pt x="13317" y="7421"/>
                    </a:lnTo>
                    <a:cubicBezTo>
                      <a:pt x="13099" y="7088"/>
                      <a:pt x="12709" y="6999"/>
                      <a:pt x="12410" y="7221"/>
                    </a:cubicBezTo>
                    <a:lnTo>
                      <a:pt x="11568" y="7848"/>
                    </a:lnTo>
                    <a:cubicBezTo>
                      <a:pt x="11269" y="8073"/>
                      <a:pt x="11157" y="8539"/>
                      <a:pt x="11304" y="8927"/>
                    </a:cubicBezTo>
                    <a:lnTo>
                      <a:pt x="11733" y="10054"/>
                    </a:lnTo>
                    <a:cubicBezTo>
                      <a:pt x="11760" y="10122"/>
                      <a:pt x="11751" y="10202"/>
                      <a:pt x="11711" y="10260"/>
                    </a:cubicBezTo>
                    <a:cubicBezTo>
                      <a:pt x="11529" y="10514"/>
                      <a:pt x="11369" y="10791"/>
                      <a:pt x="11227" y="11080"/>
                    </a:cubicBezTo>
                    <a:cubicBezTo>
                      <a:pt x="11195" y="11144"/>
                      <a:pt x="11135" y="11176"/>
                      <a:pt x="11073" y="11167"/>
                    </a:cubicBezTo>
                    <a:lnTo>
                      <a:pt x="10051" y="11020"/>
                    </a:lnTo>
                    <a:cubicBezTo>
                      <a:pt x="9700" y="10970"/>
                      <a:pt x="9377" y="11249"/>
                      <a:pt x="9297" y="11666"/>
                    </a:cubicBezTo>
                    <a:lnTo>
                      <a:pt x="9066" y="12833"/>
                    </a:lnTo>
                    <a:cubicBezTo>
                      <a:pt x="8985" y="13248"/>
                      <a:pt x="9170" y="13670"/>
                      <a:pt x="9501" y="13819"/>
                    </a:cubicBezTo>
                    <a:lnTo>
                      <a:pt x="10468" y="14252"/>
                    </a:lnTo>
                    <a:cubicBezTo>
                      <a:pt x="10526" y="14278"/>
                      <a:pt x="10566" y="14339"/>
                      <a:pt x="10573" y="14412"/>
                    </a:cubicBezTo>
                    <a:cubicBezTo>
                      <a:pt x="10592" y="14747"/>
                      <a:pt x="10636" y="15079"/>
                      <a:pt x="10705" y="15405"/>
                    </a:cubicBezTo>
                    <a:cubicBezTo>
                      <a:pt x="10718" y="15483"/>
                      <a:pt x="10694" y="15567"/>
                      <a:pt x="10639" y="15612"/>
                    </a:cubicBezTo>
                    <a:lnTo>
                      <a:pt x="9842" y="16385"/>
                    </a:lnTo>
                    <a:cubicBezTo>
                      <a:pt x="9570" y="16652"/>
                      <a:pt x="9503" y="17120"/>
                      <a:pt x="9682" y="17484"/>
                    </a:cubicBezTo>
                    <a:lnTo>
                      <a:pt x="10194" y="18504"/>
                    </a:lnTo>
                    <a:cubicBezTo>
                      <a:pt x="10378" y="18869"/>
                      <a:pt x="10759" y="19011"/>
                      <a:pt x="11079" y="18830"/>
                    </a:cubicBezTo>
                    <a:lnTo>
                      <a:pt x="12014" y="18304"/>
                    </a:lnTo>
                    <a:cubicBezTo>
                      <a:pt x="12069" y="18272"/>
                      <a:pt x="12132" y="18283"/>
                      <a:pt x="12179" y="18331"/>
                    </a:cubicBezTo>
                    <a:cubicBezTo>
                      <a:pt x="12386" y="18551"/>
                      <a:pt x="12608" y="18745"/>
                      <a:pt x="12844" y="18917"/>
                    </a:cubicBezTo>
                    <a:cubicBezTo>
                      <a:pt x="12898" y="18957"/>
                      <a:pt x="12929" y="19034"/>
                      <a:pt x="12921" y="19110"/>
                    </a:cubicBezTo>
                    <a:lnTo>
                      <a:pt x="12800" y="20356"/>
                    </a:lnTo>
                    <a:cubicBezTo>
                      <a:pt x="12760" y="20782"/>
                      <a:pt x="12990" y="21178"/>
                      <a:pt x="13333" y="21276"/>
                    </a:cubicBezTo>
                    <a:lnTo>
                      <a:pt x="14290" y="21556"/>
                    </a:lnTo>
                    <a:cubicBezTo>
                      <a:pt x="14343" y="21571"/>
                      <a:pt x="14396" y="21576"/>
                      <a:pt x="14450" y="21576"/>
                    </a:cubicBezTo>
                    <a:cubicBezTo>
                      <a:pt x="14742" y="21575"/>
                      <a:pt x="15004" y="21355"/>
                      <a:pt x="15104" y="21023"/>
                    </a:cubicBezTo>
                    <a:lnTo>
                      <a:pt x="15456" y="19843"/>
                    </a:lnTo>
                    <a:cubicBezTo>
                      <a:pt x="15477" y="19773"/>
                      <a:pt x="15533" y="19725"/>
                      <a:pt x="15594" y="19717"/>
                    </a:cubicBezTo>
                    <a:cubicBezTo>
                      <a:pt x="15869" y="19693"/>
                      <a:pt x="16140" y="19640"/>
                      <a:pt x="16407" y="19557"/>
                    </a:cubicBezTo>
                    <a:cubicBezTo>
                      <a:pt x="16468" y="19539"/>
                      <a:pt x="16530" y="19563"/>
                      <a:pt x="16567" y="19623"/>
                    </a:cubicBezTo>
                    <a:lnTo>
                      <a:pt x="17205" y="20610"/>
                    </a:lnTo>
                    <a:cubicBezTo>
                      <a:pt x="17422" y="20943"/>
                      <a:pt x="17813" y="21024"/>
                      <a:pt x="18112" y="20803"/>
                    </a:cubicBezTo>
                    <a:lnTo>
                      <a:pt x="18959" y="20183"/>
                    </a:lnTo>
                    <a:cubicBezTo>
                      <a:pt x="19257" y="19958"/>
                      <a:pt x="19369" y="19498"/>
                      <a:pt x="19223" y="19110"/>
                    </a:cubicBezTo>
                    <a:lnTo>
                      <a:pt x="18794" y="17971"/>
                    </a:lnTo>
                    <a:cubicBezTo>
                      <a:pt x="18768" y="17902"/>
                      <a:pt x="18776" y="17822"/>
                      <a:pt x="18816" y="17764"/>
                    </a:cubicBezTo>
                    <a:cubicBezTo>
                      <a:pt x="18996" y="17513"/>
                      <a:pt x="19159" y="17243"/>
                      <a:pt x="19300" y="16958"/>
                    </a:cubicBezTo>
                    <a:cubicBezTo>
                      <a:pt x="19333" y="16891"/>
                      <a:pt x="19390" y="16853"/>
                      <a:pt x="19454" y="16858"/>
                    </a:cubicBezTo>
                    <a:lnTo>
                      <a:pt x="20477" y="17004"/>
                    </a:lnTo>
                    <a:cubicBezTo>
                      <a:pt x="20828" y="17054"/>
                      <a:pt x="21156" y="16775"/>
                      <a:pt x="21236" y="16358"/>
                    </a:cubicBezTo>
                    <a:lnTo>
                      <a:pt x="21461" y="15192"/>
                    </a:lnTo>
                    <a:cubicBezTo>
                      <a:pt x="21543" y="14775"/>
                      <a:pt x="21358" y="14348"/>
                      <a:pt x="21027" y="14199"/>
                    </a:cubicBezTo>
                    <a:lnTo>
                      <a:pt x="20059" y="13766"/>
                    </a:lnTo>
                    <a:cubicBezTo>
                      <a:pt x="20002" y="13740"/>
                      <a:pt x="19961" y="13679"/>
                      <a:pt x="19954" y="13606"/>
                    </a:cubicBezTo>
                    <a:cubicBezTo>
                      <a:pt x="19934" y="13271"/>
                      <a:pt x="19891" y="12938"/>
                      <a:pt x="19822" y="12613"/>
                    </a:cubicBezTo>
                    <a:cubicBezTo>
                      <a:pt x="19808" y="12538"/>
                      <a:pt x="19828" y="12460"/>
                      <a:pt x="19877" y="12413"/>
                    </a:cubicBezTo>
                    <a:lnTo>
                      <a:pt x="20686" y="11640"/>
                    </a:lnTo>
                    <a:cubicBezTo>
                      <a:pt x="20958" y="11373"/>
                      <a:pt x="21026" y="10904"/>
                      <a:pt x="20845" y="10540"/>
                    </a:cubicBezTo>
                    <a:lnTo>
                      <a:pt x="20334" y="9514"/>
                    </a:lnTo>
                    <a:cubicBezTo>
                      <a:pt x="20149" y="9150"/>
                      <a:pt x="19768" y="9014"/>
                      <a:pt x="19448" y="9194"/>
                    </a:cubicBezTo>
                    <a:lnTo>
                      <a:pt x="18519" y="9720"/>
                    </a:lnTo>
                    <a:cubicBezTo>
                      <a:pt x="18464" y="9752"/>
                      <a:pt x="18395" y="9742"/>
                      <a:pt x="18349" y="9694"/>
                    </a:cubicBezTo>
                    <a:cubicBezTo>
                      <a:pt x="18141" y="9475"/>
                      <a:pt x="17919" y="9280"/>
                      <a:pt x="17683" y="9107"/>
                    </a:cubicBezTo>
                    <a:cubicBezTo>
                      <a:pt x="17628" y="9067"/>
                      <a:pt x="17603" y="8991"/>
                      <a:pt x="17612" y="8914"/>
                    </a:cubicBezTo>
                    <a:lnTo>
                      <a:pt x="17727" y="7668"/>
                    </a:lnTo>
                    <a:cubicBezTo>
                      <a:pt x="17768" y="7243"/>
                      <a:pt x="17543" y="6845"/>
                      <a:pt x="17199" y="6748"/>
                    </a:cubicBezTo>
                    <a:lnTo>
                      <a:pt x="16243" y="6468"/>
                    </a:lnTo>
                    <a:cubicBezTo>
                      <a:pt x="16157" y="6444"/>
                      <a:pt x="16067" y="6441"/>
                      <a:pt x="15984" y="6455"/>
                    </a:cubicBezTo>
                    <a:close/>
                    <a:moveTo>
                      <a:pt x="16116" y="7088"/>
                    </a:moveTo>
                    <a:lnTo>
                      <a:pt x="17073" y="7368"/>
                    </a:lnTo>
                    <a:cubicBezTo>
                      <a:pt x="17153" y="7392"/>
                      <a:pt x="17209" y="7488"/>
                      <a:pt x="17199" y="7588"/>
                    </a:cubicBezTo>
                    <a:lnTo>
                      <a:pt x="17078" y="8827"/>
                    </a:lnTo>
                    <a:cubicBezTo>
                      <a:pt x="17046" y="9155"/>
                      <a:pt x="17176" y="9475"/>
                      <a:pt x="17408" y="9647"/>
                    </a:cubicBezTo>
                    <a:cubicBezTo>
                      <a:pt x="17619" y="9800"/>
                      <a:pt x="17817" y="9978"/>
                      <a:pt x="18002" y="10174"/>
                    </a:cubicBezTo>
                    <a:cubicBezTo>
                      <a:pt x="18207" y="10389"/>
                      <a:pt x="18499" y="10434"/>
                      <a:pt x="18745" y="10294"/>
                    </a:cubicBezTo>
                    <a:lnTo>
                      <a:pt x="19674" y="9774"/>
                    </a:lnTo>
                    <a:cubicBezTo>
                      <a:pt x="19749" y="9732"/>
                      <a:pt x="19840" y="9762"/>
                      <a:pt x="19883" y="9847"/>
                    </a:cubicBezTo>
                    <a:lnTo>
                      <a:pt x="20394" y="10867"/>
                    </a:lnTo>
                    <a:cubicBezTo>
                      <a:pt x="20437" y="10953"/>
                      <a:pt x="20419" y="11062"/>
                      <a:pt x="20356" y="11127"/>
                    </a:cubicBezTo>
                    <a:lnTo>
                      <a:pt x="19553" y="11900"/>
                    </a:lnTo>
                    <a:cubicBezTo>
                      <a:pt x="19339" y="12103"/>
                      <a:pt x="19241" y="12446"/>
                      <a:pt x="19305" y="12766"/>
                    </a:cubicBezTo>
                    <a:cubicBezTo>
                      <a:pt x="19365" y="13056"/>
                      <a:pt x="19404" y="13348"/>
                      <a:pt x="19421" y="13646"/>
                    </a:cubicBezTo>
                    <a:cubicBezTo>
                      <a:pt x="19441" y="13974"/>
                      <a:pt x="19622" y="14259"/>
                      <a:pt x="19877" y="14372"/>
                    </a:cubicBezTo>
                    <a:lnTo>
                      <a:pt x="20840" y="14805"/>
                    </a:lnTo>
                    <a:cubicBezTo>
                      <a:pt x="20919" y="14839"/>
                      <a:pt x="20964" y="14939"/>
                      <a:pt x="20944" y="15038"/>
                    </a:cubicBezTo>
                    <a:lnTo>
                      <a:pt x="20719" y="16205"/>
                    </a:lnTo>
                    <a:cubicBezTo>
                      <a:pt x="20700" y="16302"/>
                      <a:pt x="20619" y="16370"/>
                      <a:pt x="20537" y="16358"/>
                    </a:cubicBezTo>
                    <a:lnTo>
                      <a:pt x="19520" y="16211"/>
                    </a:lnTo>
                    <a:cubicBezTo>
                      <a:pt x="19247" y="16175"/>
                      <a:pt x="18978" y="16338"/>
                      <a:pt x="18838" y="16625"/>
                    </a:cubicBezTo>
                    <a:cubicBezTo>
                      <a:pt x="18713" y="16881"/>
                      <a:pt x="18570" y="17119"/>
                      <a:pt x="18409" y="17344"/>
                    </a:cubicBezTo>
                    <a:cubicBezTo>
                      <a:pt x="18233" y="17594"/>
                      <a:pt x="18196" y="17946"/>
                      <a:pt x="18310" y="18244"/>
                    </a:cubicBezTo>
                    <a:lnTo>
                      <a:pt x="18739" y="19383"/>
                    </a:lnTo>
                    <a:cubicBezTo>
                      <a:pt x="18774" y="19475"/>
                      <a:pt x="18748" y="19582"/>
                      <a:pt x="18679" y="19637"/>
                    </a:cubicBezTo>
                    <a:lnTo>
                      <a:pt x="17832" y="20256"/>
                    </a:lnTo>
                    <a:cubicBezTo>
                      <a:pt x="17762" y="20307"/>
                      <a:pt x="17674" y="20293"/>
                      <a:pt x="17623" y="20217"/>
                    </a:cubicBezTo>
                    <a:lnTo>
                      <a:pt x="16985" y="19230"/>
                    </a:lnTo>
                    <a:cubicBezTo>
                      <a:pt x="16817" y="18970"/>
                      <a:pt x="16540" y="18852"/>
                      <a:pt x="16276" y="18930"/>
                    </a:cubicBezTo>
                    <a:cubicBezTo>
                      <a:pt x="16038" y="19004"/>
                      <a:pt x="15794" y="19050"/>
                      <a:pt x="15550" y="19070"/>
                    </a:cubicBezTo>
                    <a:cubicBezTo>
                      <a:pt x="15278" y="19096"/>
                      <a:pt x="15048" y="19313"/>
                      <a:pt x="14956" y="19623"/>
                    </a:cubicBezTo>
                    <a:lnTo>
                      <a:pt x="14598" y="20803"/>
                    </a:lnTo>
                    <a:cubicBezTo>
                      <a:pt x="14570" y="20897"/>
                      <a:pt x="14492" y="20944"/>
                      <a:pt x="14411" y="20923"/>
                    </a:cubicBezTo>
                    <a:lnTo>
                      <a:pt x="13454" y="20650"/>
                    </a:lnTo>
                    <a:cubicBezTo>
                      <a:pt x="13374" y="20625"/>
                      <a:pt x="13318" y="20530"/>
                      <a:pt x="13328" y="20430"/>
                    </a:cubicBezTo>
                    <a:lnTo>
                      <a:pt x="13449" y="19190"/>
                    </a:lnTo>
                    <a:cubicBezTo>
                      <a:pt x="13482" y="18862"/>
                      <a:pt x="13352" y="18542"/>
                      <a:pt x="13119" y="18371"/>
                    </a:cubicBezTo>
                    <a:cubicBezTo>
                      <a:pt x="12909" y="18216"/>
                      <a:pt x="12710" y="18040"/>
                      <a:pt x="12525" y="17844"/>
                    </a:cubicBezTo>
                    <a:cubicBezTo>
                      <a:pt x="12400" y="17713"/>
                      <a:pt x="12240" y="17637"/>
                      <a:pt x="12074" y="17637"/>
                    </a:cubicBezTo>
                    <a:cubicBezTo>
                      <a:pt x="11974" y="17638"/>
                      <a:pt x="11874" y="17666"/>
                      <a:pt x="11783" y="17717"/>
                    </a:cubicBezTo>
                    <a:lnTo>
                      <a:pt x="10853" y="18244"/>
                    </a:lnTo>
                    <a:cubicBezTo>
                      <a:pt x="10779" y="18285"/>
                      <a:pt x="10688" y="18255"/>
                      <a:pt x="10644" y="18171"/>
                    </a:cubicBezTo>
                    <a:lnTo>
                      <a:pt x="10133" y="17151"/>
                    </a:lnTo>
                    <a:cubicBezTo>
                      <a:pt x="10090" y="17065"/>
                      <a:pt x="10107" y="16955"/>
                      <a:pt x="10172" y="16891"/>
                    </a:cubicBezTo>
                    <a:lnTo>
                      <a:pt x="10974" y="16111"/>
                    </a:lnTo>
                    <a:cubicBezTo>
                      <a:pt x="11188" y="15907"/>
                      <a:pt x="11286" y="15572"/>
                      <a:pt x="11222" y="15252"/>
                    </a:cubicBezTo>
                    <a:cubicBezTo>
                      <a:pt x="11162" y="14961"/>
                      <a:pt x="11119" y="14664"/>
                      <a:pt x="11101" y="14365"/>
                    </a:cubicBezTo>
                    <a:cubicBezTo>
                      <a:pt x="11081" y="14038"/>
                      <a:pt x="10905" y="13758"/>
                      <a:pt x="10650" y="13646"/>
                    </a:cubicBezTo>
                    <a:lnTo>
                      <a:pt x="9688" y="13212"/>
                    </a:lnTo>
                    <a:cubicBezTo>
                      <a:pt x="9610" y="13176"/>
                      <a:pt x="9564" y="13078"/>
                      <a:pt x="9583" y="12979"/>
                    </a:cubicBezTo>
                    <a:lnTo>
                      <a:pt x="9814" y="11813"/>
                    </a:lnTo>
                    <a:cubicBezTo>
                      <a:pt x="9833" y="11715"/>
                      <a:pt x="9908" y="11648"/>
                      <a:pt x="9990" y="11660"/>
                    </a:cubicBezTo>
                    <a:lnTo>
                      <a:pt x="11007" y="11806"/>
                    </a:lnTo>
                    <a:cubicBezTo>
                      <a:pt x="11278" y="11847"/>
                      <a:pt x="11544" y="11690"/>
                      <a:pt x="11684" y="11406"/>
                    </a:cubicBezTo>
                    <a:cubicBezTo>
                      <a:pt x="11810" y="11150"/>
                      <a:pt x="11957" y="10906"/>
                      <a:pt x="12118" y="10680"/>
                    </a:cubicBezTo>
                    <a:cubicBezTo>
                      <a:pt x="12294" y="10430"/>
                      <a:pt x="12331" y="10079"/>
                      <a:pt x="12217" y="9780"/>
                    </a:cubicBezTo>
                    <a:lnTo>
                      <a:pt x="11788" y="8654"/>
                    </a:lnTo>
                    <a:cubicBezTo>
                      <a:pt x="11753" y="8562"/>
                      <a:pt x="11778" y="8455"/>
                      <a:pt x="11849" y="8401"/>
                    </a:cubicBezTo>
                    <a:lnTo>
                      <a:pt x="12690" y="7768"/>
                    </a:lnTo>
                    <a:cubicBezTo>
                      <a:pt x="12760" y="7716"/>
                      <a:pt x="12848" y="7737"/>
                      <a:pt x="12899" y="7814"/>
                    </a:cubicBezTo>
                    <a:lnTo>
                      <a:pt x="13542" y="8781"/>
                    </a:lnTo>
                    <a:cubicBezTo>
                      <a:pt x="13710" y="9042"/>
                      <a:pt x="13987" y="9161"/>
                      <a:pt x="14252" y="9081"/>
                    </a:cubicBezTo>
                    <a:cubicBezTo>
                      <a:pt x="14490" y="9008"/>
                      <a:pt x="14733" y="8961"/>
                      <a:pt x="14978" y="8941"/>
                    </a:cubicBezTo>
                    <a:cubicBezTo>
                      <a:pt x="15248" y="8916"/>
                      <a:pt x="15480" y="8704"/>
                      <a:pt x="15572" y="8394"/>
                    </a:cubicBezTo>
                    <a:lnTo>
                      <a:pt x="15929" y="7215"/>
                    </a:lnTo>
                    <a:cubicBezTo>
                      <a:pt x="15956" y="7120"/>
                      <a:pt x="16035" y="7064"/>
                      <a:pt x="16116" y="7088"/>
                    </a:cubicBezTo>
                    <a:close/>
                    <a:moveTo>
                      <a:pt x="5343" y="8568"/>
                    </a:moveTo>
                    <a:cubicBezTo>
                      <a:pt x="5065" y="8474"/>
                      <a:pt x="4772" y="8650"/>
                      <a:pt x="4661" y="8974"/>
                    </a:cubicBezTo>
                    <a:lnTo>
                      <a:pt x="4381" y="9794"/>
                    </a:lnTo>
                    <a:cubicBezTo>
                      <a:pt x="4376" y="9809"/>
                      <a:pt x="4367" y="9819"/>
                      <a:pt x="4354" y="9820"/>
                    </a:cubicBezTo>
                    <a:cubicBezTo>
                      <a:pt x="4154" y="9827"/>
                      <a:pt x="3955" y="9857"/>
                      <a:pt x="3760" y="9907"/>
                    </a:cubicBezTo>
                    <a:cubicBezTo>
                      <a:pt x="3745" y="9910"/>
                      <a:pt x="3729" y="9902"/>
                      <a:pt x="3721" y="9887"/>
                    </a:cubicBezTo>
                    <a:lnTo>
                      <a:pt x="3292" y="9174"/>
                    </a:lnTo>
                    <a:cubicBezTo>
                      <a:pt x="3122" y="8893"/>
                      <a:pt x="2801" y="8811"/>
                      <a:pt x="2550" y="8981"/>
                    </a:cubicBezTo>
                    <a:lnTo>
                      <a:pt x="1939" y="9394"/>
                    </a:lnTo>
                    <a:cubicBezTo>
                      <a:pt x="1688" y="9566"/>
                      <a:pt x="1581" y="9943"/>
                      <a:pt x="1692" y="10267"/>
                    </a:cubicBezTo>
                    <a:lnTo>
                      <a:pt x="1978" y="11087"/>
                    </a:lnTo>
                    <a:cubicBezTo>
                      <a:pt x="1985" y="11100"/>
                      <a:pt x="1985" y="11113"/>
                      <a:pt x="1978" y="11127"/>
                    </a:cubicBezTo>
                    <a:cubicBezTo>
                      <a:pt x="1840" y="11304"/>
                      <a:pt x="1713" y="11502"/>
                      <a:pt x="1604" y="11706"/>
                    </a:cubicBezTo>
                    <a:cubicBezTo>
                      <a:pt x="1596" y="11720"/>
                      <a:pt x="1584" y="11722"/>
                      <a:pt x="1571" y="11720"/>
                    </a:cubicBezTo>
                    <a:lnTo>
                      <a:pt x="851" y="11580"/>
                    </a:lnTo>
                    <a:cubicBezTo>
                      <a:pt x="564" y="11524"/>
                      <a:pt x="290" y="11741"/>
                      <a:pt x="213" y="12080"/>
                    </a:cubicBezTo>
                    <a:lnTo>
                      <a:pt x="20" y="12899"/>
                    </a:lnTo>
                    <a:cubicBezTo>
                      <a:pt x="-57" y="13236"/>
                      <a:pt x="89" y="13591"/>
                      <a:pt x="356" y="13726"/>
                    </a:cubicBezTo>
                    <a:lnTo>
                      <a:pt x="1027" y="14065"/>
                    </a:lnTo>
                    <a:cubicBezTo>
                      <a:pt x="1039" y="14071"/>
                      <a:pt x="1048" y="14082"/>
                      <a:pt x="1049" y="14099"/>
                    </a:cubicBezTo>
                    <a:cubicBezTo>
                      <a:pt x="1055" y="14342"/>
                      <a:pt x="1079" y="14587"/>
                      <a:pt x="1120" y="14825"/>
                    </a:cubicBezTo>
                    <a:cubicBezTo>
                      <a:pt x="1123" y="14843"/>
                      <a:pt x="1116" y="14856"/>
                      <a:pt x="1104" y="14865"/>
                    </a:cubicBezTo>
                    <a:lnTo>
                      <a:pt x="515" y="15392"/>
                    </a:lnTo>
                    <a:cubicBezTo>
                      <a:pt x="285" y="15600"/>
                      <a:pt x="218" y="15979"/>
                      <a:pt x="356" y="16285"/>
                    </a:cubicBezTo>
                    <a:lnTo>
                      <a:pt x="697" y="17031"/>
                    </a:lnTo>
                    <a:cubicBezTo>
                      <a:pt x="838" y="17337"/>
                      <a:pt x="1145" y="17466"/>
                      <a:pt x="1411" y="17331"/>
                    </a:cubicBezTo>
                    <a:lnTo>
                      <a:pt x="2088" y="16984"/>
                    </a:lnTo>
                    <a:cubicBezTo>
                      <a:pt x="2098" y="16976"/>
                      <a:pt x="2110" y="16976"/>
                      <a:pt x="2121" y="16984"/>
                    </a:cubicBezTo>
                    <a:cubicBezTo>
                      <a:pt x="2266" y="17151"/>
                      <a:pt x="2421" y="17305"/>
                      <a:pt x="2588" y="17438"/>
                    </a:cubicBezTo>
                    <a:cubicBezTo>
                      <a:pt x="2601" y="17448"/>
                      <a:pt x="2608" y="17466"/>
                      <a:pt x="2605" y="17484"/>
                    </a:cubicBezTo>
                    <a:lnTo>
                      <a:pt x="2495" y="18357"/>
                    </a:lnTo>
                    <a:cubicBezTo>
                      <a:pt x="2449" y="18703"/>
                      <a:pt x="2624" y="19041"/>
                      <a:pt x="2902" y="19137"/>
                    </a:cubicBezTo>
                    <a:lnTo>
                      <a:pt x="3573" y="19363"/>
                    </a:lnTo>
                    <a:cubicBezTo>
                      <a:pt x="3623" y="19379"/>
                      <a:pt x="3675" y="19390"/>
                      <a:pt x="3727" y="19390"/>
                    </a:cubicBezTo>
                    <a:cubicBezTo>
                      <a:pt x="3959" y="19392"/>
                      <a:pt x="4165" y="19224"/>
                      <a:pt x="4255" y="18964"/>
                    </a:cubicBezTo>
                    <a:lnTo>
                      <a:pt x="4535" y="18137"/>
                    </a:lnTo>
                    <a:cubicBezTo>
                      <a:pt x="4539" y="18122"/>
                      <a:pt x="4549" y="18112"/>
                      <a:pt x="4562" y="18111"/>
                    </a:cubicBezTo>
                    <a:cubicBezTo>
                      <a:pt x="4762" y="18103"/>
                      <a:pt x="4961" y="18073"/>
                      <a:pt x="5156" y="18024"/>
                    </a:cubicBezTo>
                    <a:cubicBezTo>
                      <a:pt x="5170" y="18021"/>
                      <a:pt x="5187" y="18030"/>
                      <a:pt x="5195" y="18044"/>
                    </a:cubicBezTo>
                    <a:lnTo>
                      <a:pt x="5624" y="18764"/>
                    </a:lnTo>
                    <a:cubicBezTo>
                      <a:pt x="5793" y="19045"/>
                      <a:pt x="6109" y="19125"/>
                      <a:pt x="6361" y="18957"/>
                    </a:cubicBezTo>
                    <a:lnTo>
                      <a:pt x="6977" y="18544"/>
                    </a:lnTo>
                    <a:cubicBezTo>
                      <a:pt x="7227" y="18371"/>
                      <a:pt x="7329" y="18000"/>
                      <a:pt x="7219" y="17677"/>
                    </a:cubicBezTo>
                    <a:lnTo>
                      <a:pt x="6944" y="16858"/>
                    </a:lnTo>
                    <a:cubicBezTo>
                      <a:pt x="6937" y="16843"/>
                      <a:pt x="6937" y="16826"/>
                      <a:pt x="6944" y="16811"/>
                    </a:cubicBezTo>
                    <a:cubicBezTo>
                      <a:pt x="7081" y="16634"/>
                      <a:pt x="7203" y="16442"/>
                      <a:pt x="7312" y="16238"/>
                    </a:cubicBezTo>
                    <a:cubicBezTo>
                      <a:pt x="7320" y="16223"/>
                      <a:pt x="7336" y="16211"/>
                      <a:pt x="7350" y="16211"/>
                    </a:cubicBezTo>
                    <a:lnTo>
                      <a:pt x="8071" y="16351"/>
                    </a:lnTo>
                    <a:cubicBezTo>
                      <a:pt x="8357" y="16407"/>
                      <a:pt x="8631" y="16190"/>
                      <a:pt x="8709" y="15851"/>
                    </a:cubicBezTo>
                    <a:lnTo>
                      <a:pt x="8896" y="15038"/>
                    </a:lnTo>
                    <a:cubicBezTo>
                      <a:pt x="8971" y="14698"/>
                      <a:pt x="8825" y="14343"/>
                      <a:pt x="8555" y="14212"/>
                    </a:cubicBezTo>
                    <a:lnTo>
                      <a:pt x="7878" y="13872"/>
                    </a:lnTo>
                    <a:cubicBezTo>
                      <a:pt x="7866" y="13866"/>
                      <a:pt x="7857" y="13849"/>
                      <a:pt x="7856" y="13832"/>
                    </a:cubicBezTo>
                    <a:cubicBezTo>
                      <a:pt x="7850" y="13589"/>
                      <a:pt x="7826" y="13351"/>
                      <a:pt x="7785" y="13113"/>
                    </a:cubicBezTo>
                    <a:cubicBezTo>
                      <a:pt x="7782" y="13095"/>
                      <a:pt x="7789" y="13076"/>
                      <a:pt x="7801" y="13066"/>
                    </a:cubicBezTo>
                    <a:lnTo>
                      <a:pt x="8395" y="12539"/>
                    </a:lnTo>
                    <a:cubicBezTo>
                      <a:pt x="8625" y="12331"/>
                      <a:pt x="8692" y="11952"/>
                      <a:pt x="8555" y="11646"/>
                    </a:cubicBezTo>
                    <a:lnTo>
                      <a:pt x="8214" y="10907"/>
                    </a:lnTo>
                    <a:cubicBezTo>
                      <a:pt x="8073" y="10600"/>
                      <a:pt x="7761" y="10471"/>
                      <a:pt x="7493" y="10607"/>
                    </a:cubicBezTo>
                    <a:lnTo>
                      <a:pt x="6823" y="10947"/>
                    </a:lnTo>
                    <a:cubicBezTo>
                      <a:pt x="6812" y="10955"/>
                      <a:pt x="6800" y="10955"/>
                      <a:pt x="6790" y="10947"/>
                    </a:cubicBezTo>
                    <a:cubicBezTo>
                      <a:pt x="6644" y="10780"/>
                      <a:pt x="6484" y="10627"/>
                      <a:pt x="6317" y="10493"/>
                    </a:cubicBezTo>
                    <a:cubicBezTo>
                      <a:pt x="6304" y="10484"/>
                      <a:pt x="6297" y="10471"/>
                      <a:pt x="6300" y="10454"/>
                    </a:cubicBezTo>
                    <a:lnTo>
                      <a:pt x="6416" y="9574"/>
                    </a:lnTo>
                    <a:cubicBezTo>
                      <a:pt x="6461" y="9228"/>
                      <a:pt x="6286" y="8897"/>
                      <a:pt x="6009" y="8801"/>
                    </a:cubicBezTo>
                    <a:lnTo>
                      <a:pt x="5343" y="8568"/>
                    </a:lnTo>
                    <a:close/>
                    <a:moveTo>
                      <a:pt x="5195" y="9181"/>
                    </a:moveTo>
                    <a:lnTo>
                      <a:pt x="5860" y="9414"/>
                    </a:lnTo>
                    <a:cubicBezTo>
                      <a:pt x="5879" y="9420"/>
                      <a:pt x="5892" y="9444"/>
                      <a:pt x="5888" y="9467"/>
                    </a:cubicBezTo>
                    <a:lnTo>
                      <a:pt x="5772" y="10340"/>
                    </a:lnTo>
                    <a:cubicBezTo>
                      <a:pt x="5737" y="10608"/>
                      <a:pt x="5834" y="10877"/>
                      <a:pt x="6020" y="11027"/>
                    </a:cubicBezTo>
                    <a:cubicBezTo>
                      <a:pt x="6161" y="11140"/>
                      <a:pt x="6297" y="11266"/>
                      <a:pt x="6421" y="11406"/>
                    </a:cubicBezTo>
                    <a:cubicBezTo>
                      <a:pt x="6584" y="11591"/>
                      <a:pt x="6821" y="11645"/>
                      <a:pt x="7026" y="11540"/>
                    </a:cubicBezTo>
                    <a:lnTo>
                      <a:pt x="7697" y="11200"/>
                    </a:lnTo>
                    <a:cubicBezTo>
                      <a:pt x="7714" y="11192"/>
                      <a:pt x="7737" y="11201"/>
                      <a:pt x="7746" y="11220"/>
                    </a:cubicBezTo>
                    <a:lnTo>
                      <a:pt x="8087" y="11960"/>
                    </a:lnTo>
                    <a:cubicBezTo>
                      <a:pt x="8097" y="11980"/>
                      <a:pt x="8092" y="12005"/>
                      <a:pt x="8076" y="12020"/>
                    </a:cubicBezTo>
                    <a:lnTo>
                      <a:pt x="7488" y="12539"/>
                    </a:lnTo>
                    <a:cubicBezTo>
                      <a:pt x="7306" y="12698"/>
                      <a:pt x="7217" y="12974"/>
                      <a:pt x="7263" y="13239"/>
                    </a:cubicBezTo>
                    <a:cubicBezTo>
                      <a:pt x="7297" y="13441"/>
                      <a:pt x="7318" y="13646"/>
                      <a:pt x="7323" y="13852"/>
                    </a:cubicBezTo>
                    <a:cubicBezTo>
                      <a:pt x="7331" y="14122"/>
                      <a:pt x="7470" y="14361"/>
                      <a:pt x="7675" y="14465"/>
                    </a:cubicBezTo>
                    <a:lnTo>
                      <a:pt x="8351" y="14805"/>
                    </a:lnTo>
                    <a:cubicBezTo>
                      <a:pt x="8370" y="14814"/>
                      <a:pt x="8379" y="14835"/>
                      <a:pt x="8373" y="14859"/>
                    </a:cubicBezTo>
                    <a:cubicBezTo>
                      <a:pt x="8373" y="14859"/>
                      <a:pt x="8186" y="15678"/>
                      <a:pt x="8186" y="15678"/>
                    </a:cubicBezTo>
                    <a:cubicBezTo>
                      <a:pt x="8181" y="15700"/>
                      <a:pt x="8161" y="15715"/>
                      <a:pt x="8142" y="15712"/>
                    </a:cubicBezTo>
                    <a:lnTo>
                      <a:pt x="7422" y="15578"/>
                    </a:lnTo>
                    <a:cubicBezTo>
                      <a:pt x="7199" y="15537"/>
                      <a:pt x="6978" y="15655"/>
                      <a:pt x="6856" y="15885"/>
                    </a:cubicBezTo>
                    <a:cubicBezTo>
                      <a:pt x="6763" y="16057"/>
                      <a:pt x="6658" y="16221"/>
                      <a:pt x="6542" y="16371"/>
                    </a:cubicBezTo>
                    <a:cubicBezTo>
                      <a:pt x="6392" y="16569"/>
                      <a:pt x="6347" y="16856"/>
                      <a:pt x="6432" y="17104"/>
                    </a:cubicBezTo>
                    <a:lnTo>
                      <a:pt x="6713" y="17924"/>
                    </a:lnTo>
                    <a:cubicBezTo>
                      <a:pt x="6721" y="17946"/>
                      <a:pt x="6713" y="17972"/>
                      <a:pt x="6696" y="17984"/>
                    </a:cubicBezTo>
                    <a:lnTo>
                      <a:pt x="6086" y="18397"/>
                    </a:lnTo>
                    <a:cubicBezTo>
                      <a:pt x="6070" y="18408"/>
                      <a:pt x="6047" y="18402"/>
                      <a:pt x="6036" y="18384"/>
                    </a:cubicBezTo>
                    <a:lnTo>
                      <a:pt x="5607" y="17664"/>
                    </a:lnTo>
                    <a:cubicBezTo>
                      <a:pt x="5477" y="17444"/>
                      <a:pt x="5254" y="17337"/>
                      <a:pt x="5035" y="17391"/>
                    </a:cubicBezTo>
                    <a:cubicBezTo>
                      <a:pt x="4869" y="17433"/>
                      <a:pt x="4699" y="17458"/>
                      <a:pt x="4529" y="17464"/>
                    </a:cubicBezTo>
                    <a:cubicBezTo>
                      <a:pt x="4307" y="17475"/>
                      <a:pt x="4114" y="17641"/>
                      <a:pt x="4029" y="17891"/>
                    </a:cubicBezTo>
                    <a:lnTo>
                      <a:pt x="3749" y="18710"/>
                    </a:lnTo>
                    <a:cubicBezTo>
                      <a:pt x="3742" y="18732"/>
                      <a:pt x="3723" y="18750"/>
                      <a:pt x="3705" y="18744"/>
                    </a:cubicBezTo>
                    <a:lnTo>
                      <a:pt x="3039" y="18510"/>
                    </a:lnTo>
                    <a:cubicBezTo>
                      <a:pt x="3020" y="18504"/>
                      <a:pt x="3008" y="18481"/>
                      <a:pt x="3012" y="18457"/>
                    </a:cubicBezTo>
                    <a:lnTo>
                      <a:pt x="3127" y="17584"/>
                    </a:lnTo>
                    <a:cubicBezTo>
                      <a:pt x="3163" y="17317"/>
                      <a:pt x="3066" y="17048"/>
                      <a:pt x="2880" y="16898"/>
                    </a:cubicBezTo>
                    <a:cubicBezTo>
                      <a:pt x="2738" y="16785"/>
                      <a:pt x="2602" y="16659"/>
                      <a:pt x="2478" y="16518"/>
                    </a:cubicBezTo>
                    <a:cubicBezTo>
                      <a:pt x="2316" y="16333"/>
                      <a:pt x="2079" y="16280"/>
                      <a:pt x="1873" y="16385"/>
                    </a:cubicBezTo>
                    <a:lnTo>
                      <a:pt x="1197" y="16724"/>
                    </a:lnTo>
                    <a:cubicBezTo>
                      <a:pt x="1179" y="16733"/>
                      <a:pt x="1162" y="16725"/>
                      <a:pt x="1153" y="16704"/>
                    </a:cubicBezTo>
                    <a:lnTo>
                      <a:pt x="812" y="15965"/>
                    </a:lnTo>
                    <a:cubicBezTo>
                      <a:pt x="803" y="15943"/>
                      <a:pt x="808" y="15920"/>
                      <a:pt x="823" y="15905"/>
                    </a:cubicBezTo>
                    <a:lnTo>
                      <a:pt x="1411" y="15385"/>
                    </a:lnTo>
                    <a:cubicBezTo>
                      <a:pt x="1593" y="15227"/>
                      <a:pt x="1682" y="14950"/>
                      <a:pt x="1637" y="14685"/>
                    </a:cubicBezTo>
                    <a:cubicBezTo>
                      <a:pt x="1602" y="14483"/>
                      <a:pt x="1582" y="14279"/>
                      <a:pt x="1576" y="14072"/>
                    </a:cubicBezTo>
                    <a:cubicBezTo>
                      <a:pt x="1569" y="13803"/>
                      <a:pt x="1430" y="13563"/>
                      <a:pt x="1225" y="13459"/>
                    </a:cubicBezTo>
                    <a:lnTo>
                      <a:pt x="548" y="13119"/>
                    </a:lnTo>
                    <a:cubicBezTo>
                      <a:pt x="530" y="13110"/>
                      <a:pt x="521" y="13089"/>
                      <a:pt x="526" y="13066"/>
                    </a:cubicBezTo>
                    <a:lnTo>
                      <a:pt x="719" y="12246"/>
                    </a:lnTo>
                    <a:cubicBezTo>
                      <a:pt x="724" y="12224"/>
                      <a:pt x="738" y="12210"/>
                      <a:pt x="757" y="12213"/>
                    </a:cubicBezTo>
                    <a:lnTo>
                      <a:pt x="1477" y="12353"/>
                    </a:lnTo>
                    <a:cubicBezTo>
                      <a:pt x="1699" y="12396"/>
                      <a:pt x="1921" y="12274"/>
                      <a:pt x="2044" y="12046"/>
                    </a:cubicBezTo>
                    <a:cubicBezTo>
                      <a:pt x="2137" y="11874"/>
                      <a:pt x="2241" y="11716"/>
                      <a:pt x="2357" y="11566"/>
                    </a:cubicBezTo>
                    <a:cubicBezTo>
                      <a:pt x="2508" y="11368"/>
                      <a:pt x="2552" y="11076"/>
                      <a:pt x="2467" y="10827"/>
                    </a:cubicBezTo>
                    <a:lnTo>
                      <a:pt x="2181" y="10014"/>
                    </a:lnTo>
                    <a:cubicBezTo>
                      <a:pt x="2175" y="9991"/>
                      <a:pt x="2186" y="9960"/>
                      <a:pt x="2203" y="9947"/>
                    </a:cubicBezTo>
                    <a:lnTo>
                      <a:pt x="2808" y="9534"/>
                    </a:lnTo>
                    <a:cubicBezTo>
                      <a:pt x="2825" y="9522"/>
                      <a:pt x="2847" y="9528"/>
                      <a:pt x="2858" y="9547"/>
                    </a:cubicBezTo>
                    <a:lnTo>
                      <a:pt x="3292" y="10260"/>
                    </a:lnTo>
                    <a:cubicBezTo>
                      <a:pt x="3423" y="10480"/>
                      <a:pt x="3645" y="10587"/>
                      <a:pt x="3864" y="10533"/>
                    </a:cubicBezTo>
                    <a:cubicBezTo>
                      <a:pt x="4030" y="10491"/>
                      <a:pt x="4200" y="10466"/>
                      <a:pt x="4370" y="10460"/>
                    </a:cubicBezTo>
                    <a:cubicBezTo>
                      <a:pt x="4593" y="10449"/>
                      <a:pt x="4787" y="10277"/>
                      <a:pt x="4870" y="10027"/>
                    </a:cubicBezTo>
                    <a:lnTo>
                      <a:pt x="5151" y="9214"/>
                    </a:lnTo>
                    <a:cubicBezTo>
                      <a:pt x="5158" y="9193"/>
                      <a:pt x="5176" y="9176"/>
                      <a:pt x="5195" y="9181"/>
                    </a:cubicBezTo>
                    <a:close/>
                    <a:moveTo>
                      <a:pt x="15264" y="10627"/>
                    </a:moveTo>
                    <a:cubicBezTo>
                      <a:pt x="13721" y="10627"/>
                      <a:pt x="12470" y="12142"/>
                      <a:pt x="12470" y="14012"/>
                    </a:cubicBezTo>
                    <a:cubicBezTo>
                      <a:pt x="12470" y="15882"/>
                      <a:pt x="13721" y="17398"/>
                      <a:pt x="15264" y="17398"/>
                    </a:cubicBezTo>
                    <a:cubicBezTo>
                      <a:pt x="16807" y="17398"/>
                      <a:pt x="18057" y="15882"/>
                      <a:pt x="18057" y="14012"/>
                    </a:cubicBezTo>
                    <a:cubicBezTo>
                      <a:pt x="18057" y="12142"/>
                      <a:pt x="16807" y="10627"/>
                      <a:pt x="15264" y="10627"/>
                    </a:cubicBezTo>
                    <a:close/>
                    <a:moveTo>
                      <a:pt x="15264" y="11273"/>
                    </a:moveTo>
                    <a:cubicBezTo>
                      <a:pt x="16513" y="11273"/>
                      <a:pt x="17529" y="12499"/>
                      <a:pt x="17529" y="14012"/>
                    </a:cubicBezTo>
                    <a:cubicBezTo>
                      <a:pt x="17529" y="15526"/>
                      <a:pt x="16513" y="16751"/>
                      <a:pt x="15264" y="16751"/>
                    </a:cubicBezTo>
                    <a:cubicBezTo>
                      <a:pt x="14015" y="16751"/>
                      <a:pt x="13004" y="15526"/>
                      <a:pt x="13004" y="14012"/>
                    </a:cubicBezTo>
                    <a:cubicBezTo>
                      <a:pt x="13004" y="12499"/>
                      <a:pt x="14015" y="11273"/>
                      <a:pt x="15264" y="11273"/>
                    </a:cubicBezTo>
                    <a:close/>
                    <a:moveTo>
                      <a:pt x="4546" y="11466"/>
                    </a:moveTo>
                    <a:cubicBezTo>
                      <a:pt x="4020" y="11439"/>
                      <a:pt x="3485" y="11654"/>
                      <a:pt x="3067" y="12120"/>
                    </a:cubicBezTo>
                    <a:cubicBezTo>
                      <a:pt x="3064" y="12123"/>
                      <a:pt x="3064" y="12129"/>
                      <a:pt x="3061" y="12133"/>
                    </a:cubicBezTo>
                    <a:cubicBezTo>
                      <a:pt x="2225" y="13069"/>
                      <a:pt x="2168" y="14651"/>
                      <a:pt x="2940" y="15665"/>
                    </a:cubicBezTo>
                    <a:cubicBezTo>
                      <a:pt x="3713" y="16679"/>
                      <a:pt x="5018" y="16741"/>
                      <a:pt x="5855" y="15805"/>
                    </a:cubicBezTo>
                    <a:cubicBezTo>
                      <a:pt x="6691" y="14869"/>
                      <a:pt x="6743" y="13287"/>
                      <a:pt x="5970" y="12273"/>
                    </a:cubicBezTo>
                    <a:cubicBezTo>
                      <a:pt x="5586" y="11766"/>
                      <a:pt x="5072" y="11494"/>
                      <a:pt x="4546" y="11466"/>
                    </a:cubicBezTo>
                    <a:close/>
                    <a:moveTo>
                      <a:pt x="4513" y="12100"/>
                    </a:moveTo>
                    <a:cubicBezTo>
                      <a:pt x="4904" y="12113"/>
                      <a:pt x="5290" y="12307"/>
                      <a:pt x="5580" y="12679"/>
                    </a:cubicBezTo>
                    <a:cubicBezTo>
                      <a:pt x="6160" y="13424"/>
                      <a:pt x="6134" y="14602"/>
                      <a:pt x="5519" y="15305"/>
                    </a:cubicBezTo>
                    <a:cubicBezTo>
                      <a:pt x="5512" y="15314"/>
                      <a:pt x="5505" y="15323"/>
                      <a:pt x="5497" y="15332"/>
                    </a:cubicBezTo>
                    <a:cubicBezTo>
                      <a:pt x="4883" y="16034"/>
                      <a:pt x="3916" y="15996"/>
                      <a:pt x="3336" y="15252"/>
                    </a:cubicBezTo>
                    <a:cubicBezTo>
                      <a:pt x="2756" y="14507"/>
                      <a:pt x="2782" y="13335"/>
                      <a:pt x="3397" y="12633"/>
                    </a:cubicBezTo>
                    <a:cubicBezTo>
                      <a:pt x="3404" y="12624"/>
                      <a:pt x="3411" y="12615"/>
                      <a:pt x="3419" y="12606"/>
                    </a:cubicBezTo>
                    <a:cubicBezTo>
                      <a:pt x="3726" y="12255"/>
                      <a:pt x="4122" y="12086"/>
                      <a:pt x="4513" y="121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rgbClr val="FFFFFF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A414ABFE-0762-0299-CB8C-B79332DF7811}"/>
                  </a:ext>
                </a:extLst>
              </p:cNvPr>
              <p:cNvGrpSpPr/>
              <p:nvPr/>
            </p:nvGrpSpPr>
            <p:grpSpPr>
              <a:xfrm>
                <a:off x="8063763" y="5134046"/>
                <a:ext cx="618056" cy="618056"/>
                <a:chOff x="12264617" y="3634638"/>
                <a:chExt cx="533927" cy="533927"/>
              </a:xfrm>
            </p:grpSpPr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283634DC-802A-626F-660C-DA2665748466}"/>
                    </a:ext>
                  </a:extLst>
                </p:cNvPr>
                <p:cNvSpPr/>
                <p:nvPr/>
              </p:nvSpPr>
              <p:spPr>
                <a:xfrm>
                  <a:off x="12264617" y="3634638"/>
                  <a:ext cx="533927" cy="533927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-Regular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L-Shape 24">
                  <a:extLst>
                    <a:ext uri="{FF2B5EF4-FFF2-40B4-BE49-F238E27FC236}">
                      <a16:creationId xmlns:a16="http://schemas.microsoft.com/office/drawing/2014/main" id="{C5E3C897-E486-33E9-8624-0A44C04A0BAC}"/>
                    </a:ext>
                  </a:extLst>
                </p:cNvPr>
                <p:cNvSpPr/>
                <p:nvPr/>
              </p:nvSpPr>
              <p:spPr>
                <a:xfrm rot="8100000" flipH="1">
                  <a:off x="12477376" y="3812738"/>
                  <a:ext cx="184909" cy="184909"/>
                </a:xfrm>
                <a:prstGeom prst="corner">
                  <a:avLst>
                    <a:gd name="adj1" fmla="val 17364"/>
                    <a:gd name="adj2" fmla="val 17364"/>
                  </a:avLst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endParaRPr>
                </a:p>
              </p:txBody>
            </p:sp>
          </p:grp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288489F0-5D2B-75C8-54F4-EF166D3DADD6}"/>
                  </a:ext>
                </a:extLst>
              </p:cNvPr>
              <p:cNvSpPr/>
              <p:nvPr/>
            </p:nvSpPr>
            <p:spPr>
              <a:xfrm>
                <a:off x="7176101" y="2235420"/>
                <a:ext cx="2392804" cy="2392804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84452E47-811E-2F10-9E38-404C5E3B7C84}"/>
                  </a:ext>
                </a:extLst>
              </p:cNvPr>
              <p:cNvSpPr/>
              <p:nvPr/>
            </p:nvSpPr>
            <p:spPr>
              <a:xfrm>
                <a:off x="7380324" y="2452092"/>
                <a:ext cx="1963083" cy="196308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5576163C-4792-717E-59EB-71DFFC59A4D8}"/>
                  </a:ext>
                </a:extLst>
              </p:cNvPr>
              <p:cNvSpPr txBox="1"/>
              <p:nvPr/>
            </p:nvSpPr>
            <p:spPr>
              <a:xfrm>
                <a:off x="7178686" y="3541622"/>
                <a:ext cx="2387634" cy="4631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120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lignment</a:t>
                </a: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B33AC97C-6739-24EA-F0EE-BE1AE5EBC112}"/>
                  </a:ext>
                </a:extLst>
              </p:cNvPr>
              <p:cNvSpPr/>
              <p:nvPr/>
            </p:nvSpPr>
            <p:spPr>
              <a:xfrm>
                <a:off x="8007264" y="2825646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pic>
            <p:nvPicPr>
              <p:cNvPr id="58" name="Graphic 57" descr="Triangle Ruler outline">
                <a:extLst>
                  <a:ext uri="{FF2B5EF4-FFF2-40B4-BE49-F238E27FC236}">
                    <a16:creationId xmlns:a16="http://schemas.microsoft.com/office/drawing/2014/main" id="{0D9A9B64-0F4F-6FAC-03FE-919E0EA1DA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180948" y="2933689"/>
                <a:ext cx="451893" cy="451893"/>
              </a:xfrm>
              <a:prstGeom prst="rect">
                <a:avLst/>
              </a:prstGeom>
            </p:spPr>
          </p:pic>
        </p:grpSp>
        <p:pic>
          <p:nvPicPr>
            <p:cNvPr id="66" name="Picture Placeholder 11">
              <a:extLst>
                <a:ext uri="{FF2B5EF4-FFF2-40B4-BE49-F238E27FC236}">
                  <a16:creationId xmlns:a16="http://schemas.microsoft.com/office/drawing/2014/main" id="{16B82A4C-AAD5-BF61-C542-7BC7C154C9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 amt="55000"/>
            </a:blip>
            <a:srcRect l="42126" r="27"/>
            <a:stretch/>
          </p:blipFill>
          <p:spPr>
            <a:xfrm>
              <a:off x="5135467" y="0"/>
              <a:ext cx="7056533" cy="6858000"/>
            </a:xfrm>
            <a:prstGeom prst="rect">
              <a:avLst/>
            </a:prstGeom>
            <a:noFill/>
          </p:spPr>
        </p:pic>
      </p:grp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DE28C36-34EB-83FA-F481-3E1DC1F0B55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634D7D8-E204-DE55-DE3E-C5EEB8F51A57}"/>
              </a:ext>
            </a:extLst>
          </p:cNvPr>
          <p:cNvGrpSpPr/>
          <p:nvPr/>
        </p:nvGrpSpPr>
        <p:grpSpPr>
          <a:xfrm>
            <a:off x="643854" y="2414503"/>
            <a:ext cx="4397561" cy="1550914"/>
            <a:chOff x="643854" y="2056730"/>
            <a:chExt cx="4397561" cy="1550914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A1F09CD-4C44-3F3D-44B9-1DB248A9F145}"/>
                </a:ext>
              </a:extLst>
            </p:cNvPr>
            <p:cNvGrpSpPr/>
            <p:nvPr/>
          </p:nvGrpSpPr>
          <p:grpSpPr>
            <a:xfrm>
              <a:off x="643854" y="2056730"/>
              <a:ext cx="4397561" cy="1550914"/>
              <a:chOff x="643854" y="2015235"/>
              <a:chExt cx="4397561" cy="1550914"/>
            </a:xfrm>
          </p:grpSpPr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9EB95E92-2E29-C55E-3483-94E6925511DA}"/>
                  </a:ext>
                </a:extLst>
              </p:cNvPr>
              <p:cNvSpPr txBox="1"/>
              <p:nvPr/>
            </p:nvSpPr>
            <p:spPr>
              <a:xfrm>
                <a:off x="692283" y="3213232"/>
                <a:ext cx="4285508" cy="352917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 pitchFamily="2" charset="77"/>
                  <a:ea typeface="+mn-ea"/>
                  <a:cs typeface="Poppins Light" pitchFamily="2" charset="77"/>
                </a:endParaRPr>
              </a:p>
            </p:txBody>
          </p:sp>
          <p:cxnSp>
            <p:nvCxnSpPr>
              <p:cNvPr id="6" name="Straight Connector 5">
                <a:extLst>
                  <a:ext uri="{FF2B5EF4-FFF2-40B4-BE49-F238E27FC236}">
                    <a16:creationId xmlns:a16="http://schemas.microsoft.com/office/drawing/2014/main" id="{14A38A3E-D8F8-B41D-87A0-045CA93DB798}"/>
                  </a:ext>
                </a:extLst>
              </p:cNvPr>
              <p:cNvCxnSpPr/>
              <p:nvPr/>
            </p:nvCxnSpPr>
            <p:spPr>
              <a:xfrm>
                <a:off x="776541" y="2987486"/>
                <a:ext cx="4264874" cy="0"/>
              </a:xfrm>
              <a:prstGeom prst="line">
                <a:avLst/>
              </a:prstGeom>
              <a:ln w="12700">
                <a:gradFill flip="none" rotWithShape="1">
                  <a:gsLst>
                    <a:gs pos="0">
                      <a:schemeClr val="accent2"/>
                    </a:gs>
                    <a:gs pos="99000">
                      <a:schemeClr val="tx2"/>
                    </a:gs>
                  </a:gsLst>
                  <a:lin ang="0" scaled="1"/>
                  <a:tileRect/>
                </a:gra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48970D3F-F51E-0E8A-E1A8-DF586CFBB78D}"/>
                  </a:ext>
                </a:extLst>
              </p:cNvPr>
              <p:cNvSpPr txBox="1"/>
              <p:nvPr/>
            </p:nvSpPr>
            <p:spPr>
              <a:xfrm>
                <a:off x="643854" y="2015235"/>
                <a:ext cx="4285508" cy="923330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5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Thin" pitchFamily="2" charset="77"/>
                    <a:ea typeface="+mn-ea"/>
                    <a:cs typeface="Poppins Thin" pitchFamily="2" charset="77"/>
                  </a:rPr>
                  <a:t>03 -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FDC1B048-AC99-8492-B011-7DE3281CEC57}"/>
                </a:ext>
              </a:extLst>
            </p:cNvPr>
            <p:cNvGrpSpPr/>
            <p:nvPr/>
          </p:nvGrpSpPr>
          <p:grpSpPr>
            <a:xfrm>
              <a:off x="2119748" y="2153058"/>
              <a:ext cx="2710921" cy="598067"/>
              <a:chOff x="1940295" y="2112018"/>
              <a:chExt cx="2710921" cy="598067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9815F8F1-D5E3-F328-44A2-0E5EFD87C078}"/>
                  </a:ext>
                </a:extLst>
              </p:cNvPr>
              <p:cNvSpPr/>
              <p:nvPr/>
            </p:nvSpPr>
            <p:spPr>
              <a:xfrm>
                <a:off x="1940295" y="2112018"/>
                <a:ext cx="598067" cy="598067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109399FD-F17A-50ED-ADB6-C05B139A9B2E}"/>
                  </a:ext>
                </a:extLst>
              </p:cNvPr>
              <p:cNvSpPr txBox="1"/>
              <p:nvPr/>
            </p:nvSpPr>
            <p:spPr>
              <a:xfrm>
                <a:off x="2568595" y="2149441"/>
                <a:ext cx="2082621" cy="523220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8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61E1E0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Estrategia</a:t>
                </a:r>
                <a:endParaRPr kumimoji="0" lang="en-GB" sz="2800" b="1" i="0" u="none" strike="noStrike" kern="0" cap="none" spc="0" normalizeH="0" baseline="0" noProof="0">
                  <a:ln>
                    <a:noFill/>
                  </a:ln>
                  <a:solidFill>
                    <a:srgbClr val="61E1E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</p:grpSp>
      <p:sp>
        <p:nvSpPr>
          <p:cNvPr id="70" name="Freeform 69">
            <a:extLst>
              <a:ext uri="{FF2B5EF4-FFF2-40B4-BE49-F238E27FC236}">
                <a16:creationId xmlns:a16="http://schemas.microsoft.com/office/drawing/2014/main" id="{9F1BFEC6-E2C9-40F2-4061-253BC019881F}"/>
              </a:ext>
            </a:extLst>
          </p:cNvPr>
          <p:cNvSpPr/>
          <p:nvPr/>
        </p:nvSpPr>
        <p:spPr>
          <a:xfrm>
            <a:off x="8423261" y="385526"/>
            <a:ext cx="2983749" cy="2977535"/>
          </a:xfrm>
          <a:custGeom>
            <a:avLst/>
            <a:gdLst>
              <a:gd name="connsiteX0" fmla="*/ 0 w 2983749"/>
              <a:gd name="connsiteY0" fmla="*/ 0 h 2977535"/>
              <a:gd name="connsiteX1" fmla="*/ 2983749 w 2983749"/>
              <a:gd name="connsiteY1" fmla="*/ 2977534 h 2977535"/>
              <a:gd name="connsiteX2" fmla="*/ 2530909 w 2983749"/>
              <a:gd name="connsiteY2" fmla="*/ 2977534 h 2977535"/>
              <a:gd name="connsiteX3" fmla="*/ 2530909 w 2983749"/>
              <a:gd name="connsiteY3" fmla="*/ 2977533 h 2977535"/>
              <a:gd name="connsiteX4" fmla="*/ 2224843 w 2983749"/>
              <a:gd name="connsiteY4" fmla="*/ 2977533 h 2977535"/>
              <a:gd name="connsiteX5" fmla="*/ 2224743 w 2983749"/>
              <a:gd name="connsiteY5" fmla="*/ 2976538 h 2977535"/>
              <a:gd name="connsiteX6" fmla="*/ 1921993 w 2983749"/>
              <a:gd name="connsiteY6" fmla="*/ 2729790 h 2977535"/>
              <a:gd name="connsiteX7" fmla="*/ 1619243 w 2983749"/>
              <a:gd name="connsiteY7" fmla="*/ 2976538 h 2977535"/>
              <a:gd name="connsiteX8" fmla="*/ 1619143 w 2983749"/>
              <a:gd name="connsiteY8" fmla="*/ 2977534 h 2977535"/>
              <a:gd name="connsiteX9" fmla="*/ 1557913 w 2983749"/>
              <a:gd name="connsiteY9" fmla="*/ 2977534 h 2977535"/>
              <a:gd name="connsiteX10" fmla="*/ 1557913 w 2983749"/>
              <a:gd name="connsiteY10" fmla="*/ 2977535 h 2977535"/>
              <a:gd name="connsiteX11" fmla="*/ 1248499 w 2983749"/>
              <a:gd name="connsiteY11" fmla="*/ 2977535 h 2977535"/>
              <a:gd name="connsiteX12" fmla="*/ 1245251 w 2983749"/>
              <a:gd name="connsiteY12" fmla="*/ 2913201 h 2977535"/>
              <a:gd name="connsiteX13" fmla="*/ 85440 w 2983749"/>
              <a:gd name="connsiteY13" fmla="*/ 1753389 h 2977535"/>
              <a:gd name="connsiteX14" fmla="*/ 0 w 2983749"/>
              <a:gd name="connsiteY14" fmla="*/ 1749074 h 2977535"/>
              <a:gd name="connsiteX15" fmla="*/ 0 w 2983749"/>
              <a:gd name="connsiteY15" fmla="*/ 1429908 h 2977535"/>
              <a:gd name="connsiteX16" fmla="*/ 0 w 2983749"/>
              <a:gd name="connsiteY16" fmla="*/ 1401934 h 2977535"/>
              <a:gd name="connsiteX17" fmla="*/ 0 w 2983749"/>
              <a:gd name="connsiteY17" fmla="*/ 1309179 h 2977535"/>
              <a:gd name="connsiteX18" fmla="*/ 14887 w 2983749"/>
              <a:gd name="connsiteY18" fmla="*/ 1307679 h 2977535"/>
              <a:gd name="connsiteX19" fmla="*/ 261635 w 2983749"/>
              <a:gd name="connsiteY19" fmla="*/ 1004929 h 2977535"/>
              <a:gd name="connsiteX20" fmla="*/ 14887 w 2983749"/>
              <a:gd name="connsiteY20" fmla="*/ 702179 h 2977535"/>
              <a:gd name="connsiteX21" fmla="*/ 0 w 2983749"/>
              <a:gd name="connsiteY21" fmla="*/ 700679 h 2977535"/>
              <a:gd name="connsiteX22" fmla="*/ 0 w 2983749"/>
              <a:gd name="connsiteY22" fmla="*/ 435554 h 2977535"/>
              <a:gd name="connsiteX23" fmla="*/ 0 w 2983749"/>
              <a:gd name="connsiteY23" fmla="*/ 165164 h 2977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983749" h="2977535">
                <a:moveTo>
                  <a:pt x="0" y="0"/>
                </a:moveTo>
                <a:cubicBezTo>
                  <a:pt x="1647880" y="0"/>
                  <a:pt x="2983749" y="1333088"/>
                  <a:pt x="2983749" y="2977534"/>
                </a:cubicBezTo>
                <a:lnTo>
                  <a:pt x="2530909" y="2977534"/>
                </a:lnTo>
                <a:lnTo>
                  <a:pt x="2530909" y="2977533"/>
                </a:lnTo>
                <a:lnTo>
                  <a:pt x="2224843" y="2977533"/>
                </a:lnTo>
                <a:lnTo>
                  <a:pt x="2224743" y="2976538"/>
                </a:lnTo>
                <a:cubicBezTo>
                  <a:pt x="2195927" y="2835720"/>
                  <a:pt x="2071330" y="2729790"/>
                  <a:pt x="1921993" y="2729790"/>
                </a:cubicBezTo>
                <a:cubicBezTo>
                  <a:pt x="1772656" y="2729790"/>
                  <a:pt x="1648059" y="2835720"/>
                  <a:pt x="1619243" y="2976538"/>
                </a:cubicBezTo>
                <a:lnTo>
                  <a:pt x="1619143" y="2977534"/>
                </a:lnTo>
                <a:lnTo>
                  <a:pt x="1557913" y="2977534"/>
                </a:lnTo>
                <a:lnTo>
                  <a:pt x="1557913" y="2977535"/>
                </a:lnTo>
                <a:lnTo>
                  <a:pt x="1248499" y="2977535"/>
                </a:lnTo>
                <a:lnTo>
                  <a:pt x="1245251" y="2913201"/>
                </a:lnTo>
                <a:cubicBezTo>
                  <a:pt x="1183146" y="2301664"/>
                  <a:pt x="696976" y="1815494"/>
                  <a:pt x="85440" y="1753389"/>
                </a:cubicBezTo>
                <a:lnTo>
                  <a:pt x="0" y="1749074"/>
                </a:lnTo>
                <a:lnTo>
                  <a:pt x="0" y="1429908"/>
                </a:lnTo>
                <a:lnTo>
                  <a:pt x="0" y="1401934"/>
                </a:lnTo>
                <a:lnTo>
                  <a:pt x="0" y="1309179"/>
                </a:lnTo>
                <a:lnTo>
                  <a:pt x="14887" y="1307679"/>
                </a:lnTo>
                <a:cubicBezTo>
                  <a:pt x="155705" y="1278863"/>
                  <a:pt x="261635" y="1154266"/>
                  <a:pt x="261635" y="1004929"/>
                </a:cubicBezTo>
                <a:cubicBezTo>
                  <a:pt x="261635" y="855592"/>
                  <a:pt x="155705" y="730995"/>
                  <a:pt x="14887" y="702179"/>
                </a:cubicBezTo>
                <a:lnTo>
                  <a:pt x="0" y="700679"/>
                </a:lnTo>
                <a:lnTo>
                  <a:pt x="0" y="435554"/>
                </a:lnTo>
                <a:lnTo>
                  <a:pt x="0" y="165164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A01128B-4D50-5706-2A83-4662A129CCDC}"/>
              </a:ext>
            </a:extLst>
          </p:cNvPr>
          <p:cNvSpPr/>
          <p:nvPr/>
        </p:nvSpPr>
        <p:spPr>
          <a:xfrm rot="2870013">
            <a:off x="8364467" y="1846270"/>
            <a:ext cx="2182239" cy="583264"/>
          </a:xfrm>
          <a:prstGeom prst="rect">
            <a:avLst/>
          </a:prstGeom>
        </p:spPr>
        <p:txBody>
          <a:bodyPr wrap="none" anchor="ctr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Estrategia</a:t>
            </a:r>
            <a:endParaRPr kumimoji="0" lang="en-GB" sz="2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EA016EAF-B497-8C3E-4456-120E1B759B1E}"/>
              </a:ext>
            </a:extLst>
          </p:cNvPr>
          <p:cNvSpPr/>
          <p:nvPr/>
        </p:nvSpPr>
        <p:spPr>
          <a:xfrm>
            <a:off x="8423261" y="385527"/>
            <a:ext cx="2983749" cy="2977534"/>
          </a:xfrm>
          <a:custGeom>
            <a:avLst/>
            <a:gdLst>
              <a:gd name="connsiteX0" fmla="*/ 0 w 2577604"/>
              <a:gd name="connsiteY0" fmla="*/ 0 h 2572235"/>
              <a:gd name="connsiteX1" fmla="*/ 2577604 w 2577604"/>
              <a:gd name="connsiteY1" fmla="*/ 2572235 h 2572235"/>
              <a:gd name="connsiteX2" fmla="*/ 2335011 w 2577604"/>
              <a:gd name="connsiteY2" fmla="*/ 2572235 h 2572235"/>
              <a:gd name="connsiteX3" fmla="*/ 2325244 w 2577604"/>
              <a:gd name="connsiteY3" fmla="*/ 2378810 h 2572235"/>
              <a:gd name="connsiteX4" fmla="*/ 195538 w 2577604"/>
              <a:gd name="connsiteY4" fmla="*/ 249104 h 2572235"/>
              <a:gd name="connsiteX5" fmla="*/ 0 w 2577604"/>
              <a:gd name="connsiteY5" fmla="*/ 239230 h 2572235"/>
              <a:gd name="connsiteX6" fmla="*/ 0 w 2577604"/>
              <a:gd name="connsiteY6" fmla="*/ 142682 h 2572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77604" h="2572235">
                <a:moveTo>
                  <a:pt x="0" y="0"/>
                </a:moveTo>
                <a:cubicBezTo>
                  <a:pt x="1423572" y="0"/>
                  <a:pt x="2577604" y="1151629"/>
                  <a:pt x="2577604" y="2572235"/>
                </a:cubicBezTo>
                <a:lnTo>
                  <a:pt x="2335011" y="2572235"/>
                </a:lnTo>
                <a:lnTo>
                  <a:pt x="2325244" y="2378810"/>
                </a:lnTo>
                <a:cubicBezTo>
                  <a:pt x="2211204" y="1255876"/>
                  <a:pt x="1318471" y="363144"/>
                  <a:pt x="195538" y="249104"/>
                </a:cubicBezTo>
                <a:lnTo>
                  <a:pt x="0" y="239230"/>
                </a:lnTo>
                <a:lnTo>
                  <a:pt x="0" y="14268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6D366D1D-7A14-5C44-17C7-7A0B573D3113}"/>
              </a:ext>
            </a:extLst>
          </p:cNvPr>
          <p:cNvSpPr/>
          <p:nvPr/>
        </p:nvSpPr>
        <p:spPr>
          <a:xfrm>
            <a:off x="10009866" y="982035"/>
            <a:ext cx="719047" cy="71904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62" name="Google Shape;1124;p39">
            <a:extLst>
              <a:ext uri="{FF2B5EF4-FFF2-40B4-BE49-F238E27FC236}">
                <a16:creationId xmlns:a16="http://schemas.microsoft.com/office/drawing/2014/main" id="{B619B057-5644-5D19-8474-5358E55EFFB6}"/>
              </a:ext>
            </a:extLst>
          </p:cNvPr>
          <p:cNvSpPr>
            <a:spLocks noChangeAspect="1"/>
          </p:cNvSpPr>
          <p:nvPr/>
        </p:nvSpPr>
        <p:spPr>
          <a:xfrm>
            <a:off x="10155537" y="1102060"/>
            <a:ext cx="425735" cy="4789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35" h="21600" extrusionOk="0">
                <a:moveTo>
                  <a:pt x="10517" y="0"/>
                </a:moveTo>
                <a:cubicBezTo>
                  <a:pt x="9403" y="6"/>
                  <a:pt x="8505" y="835"/>
                  <a:pt x="8508" y="1851"/>
                </a:cubicBezTo>
                <a:cubicBezTo>
                  <a:pt x="8512" y="2757"/>
                  <a:pt x="9235" y="3523"/>
                  <a:pt x="10215" y="3661"/>
                </a:cubicBezTo>
                <a:cubicBezTo>
                  <a:pt x="10215" y="3661"/>
                  <a:pt x="10195" y="3661"/>
                  <a:pt x="10195" y="3661"/>
                </a:cubicBezTo>
                <a:lnTo>
                  <a:pt x="10195" y="4122"/>
                </a:lnTo>
                <a:cubicBezTo>
                  <a:pt x="10195" y="4282"/>
                  <a:pt x="10342" y="4410"/>
                  <a:pt x="10517" y="4410"/>
                </a:cubicBezTo>
                <a:cubicBezTo>
                  <a:pt x="10692" y="4410"/>
                  <a:pt x="10832" y="4282"/>
                  <a:pt x="10832" y="4122"/>
                </a:cubicBezTo>
                <a:lnTo>
                  <a:pt x="10832" y="3661"/>
                </a:lnTo>
                <a:cubicBezTo>
                  <a:pt x="11932" y="3500"/>
                  <a:pt x="12683" y="2556"/>
                  <a:pt x="12506" y="1552"/>
                </a:cubicBezTo>
                <a:cubicBezTo>
                  <a:pt x="12350" y="660"/>
                  <a:pt x="11507" y="1"/>
                  <a:pt x="10517" y="0"/>
                </a:cubicBezTo>
                <a:close/>
                <a:moveTo>
                  <a:pt x="10510" y="581"/>
                </a:moveTo>
                <a:cubicBezTo>
                  <a:pt x="11274" y="582"/>
                  <a:pt x="11890" y="1148"/>
                  <a:pt x="11889" y="1845"/>
                </a:cubicBezTo>
                <a:cubicBezTo>
                  <a:pt x="11888" y="2541"/>
                  <a:pt x="11273" y="3109"/>
                  <a:pt x="10510" y="3110"/>
                </a:cubicBezTo>
                <a:cubicBezTo>
                  <a:pt x="9746" y="3109"/>
                  <a:pt x="9124" y="2543"/>
                  <a:pt x="9125" y="1845"/>
                </a:cubicBezTo>
                <a:cubicBezTo>
                  <a:pt x="9126" y="1150"/>
                  <a:pt x="9748" y="582"/>
                  <a:pt x="10510" y="581"/>
                </a:cubicBezTo>
                <a:close/>
                <a:moveTo>
                  <a:pt x="2028" y="4482"/>
                </a:moveTo>
                <a:cubicBezTo>
                  <a:pt x="1321" y="4478"/>
                  <a:pt x="641" y="4818"/>
                  <a:pt x="269" y="5404"/>
                </a:cubicBezTo>
                <a:cubicBezTo>
                  <a:pt x="-283" y="6288"/>
                  <a:pt x="51" y="7415"/>
                  <a:pt x="1017" y="7921"/>
                </a:cubicBezTo>
                <a:cubicBezTo>
                  <a:pt x="1878" y="8371"/>
                  <a:pt x="2969" y="8177"/>
                  <a:pt x="3591" y="7472"/>
                </a:cubicBezTo>
                <a:cubicBezTo>
                  <a:pt x="3591" y="7472"/>
                  <a:pt x="3584" y="7484"/>
                  <a:pt x="3584" y="7484"/>
                </a:cubicBezTo>
                <a:lnTo>
                  <a:pt x="4017" y="7717"/>
                </a:lnTo>
                <a:cubicBezTo>
                  <a:pt x="4169" y="7797"/>
                  <a:pt x="4363" y="7748"/>
                  <a:pt x="4451" y="7609"/>
                </a:cubicBezTo>
                <a:cubicBezTo>
                  <a:pt x="4538" y="7471"/>
                  <a:pt x="4491" y="7294"/>
                  <a:pt x="4339" y="7214"/>
                </a:cubicBezTo>
                <a:lnTo>
                  <a:pt x="3899" y="6980"/>
                </a:lnTo>
                <a:cubicBezTo>
                  <a:pt x="4297" y="6030"/>
                  <a:pt x="3778" y="4970"/>
                  <a:pt x="2737" y="4608"/>
                </a:cubicBezTo>
                <a:cubicBezTo>
                  <a:pt x="2506" y="4527"/>
                  <a:pt x="2264" y="4483"/>
                  <a:pt x="2028" y="4482"/>
                </a:cubicBezTo>
                <a:close/>
                <a:moveTo>
                  <a:pt x="18763" y="4500"/>
                </a:moveTo>
                <a:cubicBezTo>
                  <a:pt x="18503" y="4530"/>
                  <a:pt x="18249" y="4606"/>
                  <a:pt x="18008" y="4733"/>
                </a:cubicBezTo>
                <a:cubicBezTo>
                  <a:pt x="17151" y="5189"/>
                  <a:pt x="16782" y="6148"/>
                  <a:pt x="17141" y="6992"/>
                </a:cubicBezTo>
                <a:cubicBezTo>
                  <a:pt x="17141" y="6992"/>
                  <a:pt x="17135" y="6980"/>
                  <a:pt x="17135" y="6980"/>
                </a:cubicBezTo>
                <a:lnTo>
                  <a:pt x="16695" y="7208"/>
                </a:lnTo>
                <a:cubicBezTo>
                  <a:pt x="16543" y="7288"/>
                  <a:pt x="16496" y="7465"/>
                  <a:pt x="16583" y="7603"/>
                </a:cubicBezTo>
                <a:cubicBezTo>
                  <a:pt x="16671" y="7742"/>
                  <a:pt x="16865" y="7791"/>
                  <a:pt x="17017" y="7711"/>
                </a:cubicBezTo>
                <a:lnTo>
                  <a:pt x="17450" y="7478"/>
                </a:lnTo>
                <a:cubicBezTo>
                  <a:pt x="18152" y="8267"/>
                  <a:pt x="19428" y="8388"/>
                  <a:pt x="20293" y="7747"/>
                </a:cubicBezTo>
                <a:cubicBezTo>
                  <a:pt x="21061" y="7177"/>
                  <a:pt x="21260" y="6181"/>
                  <a:pt x="20765" y="5399"/>
                </a:cubicBezTo>
                <a:cubicBezTo>
                  <a:pt x="20343" y="4740"/>
                  <a:pt x="19543" y="4409"/>
                  <a:pt x="18763" y="4500"/>
                </a:cubicBezTo>
                <a:close/>
                <a:moveTo>
                  <a:pt x="18842" y="5063"/>
                </a:moveTo>
                <a:cubicBezTo>
                  <a:pt x="19376" y="5003"/>
                  <a:pt x="19927" y="5234"/>
                  <a:pt x="20214" y="5686"/>
                </a:cubicBezTo>
                <a:cubicBezTo>
                  <a:pt x="20595" y="6290"/>
                  <a:pt x="20364" y="7058"/>
                  <a:pt x="19702" y="7406"/>
                </a:cubicBezTo>
                <a:cubicBezTo>
                  <a:pt x="19041" y="7753"/>
                  <a:pt x="18200" y="7547"/>
                  <a:pt x="17817" y="6944"/>
                </a:cubicBezTo>
                <a:cubicBezTo>
                  <a:pt x="17436" y="6340"/>
                  <a:pt x="17661" y="5573"/>
                  <a:pt x="18323" y="5225"/>
                </a:cubicBezTo>
                <a:cubicBezTo>
                  <a:pt x="18488" y="5138"/>
                  <a:pt x="18664" y="5083"/>
                  <a:pt x="18842" y="5063"/>
                </a:cubicBezTo>
                <a:close/>
                <a:moveTo>
                  <a:pt x="2186" y="5081"/>
                </a:moveTo>
                <a:cubicBezTo>
                  <a:pt x="2364" y="5101"/>
                  <a:pt x="2539" y="5155"/>
                  <a:pt x="2704" y="5243"/>
                </a:cubicBezTo>
                <a:cubicBezTo>
                  <a:pt x="3364" y="5592"/>
                  <a:pt x="3590" y="6359"/>
                  <a:pt x="3210" y="6962"/>
                </a:cubicBezTo>
                <a:cubicBezTo>
                  <a:pt x="2827" y="7566"/>
                  <a:pt x="1980" y="7773"/>
                  <a:pt x="1319" y="7424"/>
                </a:cubicBezTo>
                <a:cubicBezTo>
                  <a:pt x="659" y="7075"/>
                  <a:pt x="433" y="6301"/>
                  <a:pt x="814" y="5698"/>
                </a:cubicBezTo>
                <a:cubicBezTo>
                  <a:pt x="1101" y="5246"/>
                  <a:pt x="1651" y="5020"/>
                  <a:pt x="2186" y="5081"/>
                </a:cubicBezTo>
                <a:close/>
                <a:moveTo>
                  <a:pt x="10517" y="5081"/>
                </a:moveTo>
                <a:cubicBezTo>
                  <a:pt x="10342" y="5081"/>
                  <a:pt x="10202" y="5215"/>
                  <a:pt x="10202" y="5375"/>
                </a:cubicBezTo>
                <a:lnTo>
                  <a:pt x="10202" y="6417"/>
                </a:lnTo>
                <a:cubicBezTo>
                  <a:pt x="10202" y="6577"/>
                  <a:pt x="10342" y="6705"/>
                  <a:pt x="10517" y="6705"/>
                </a:cubicBezTo>
                <a:cubicBezTo>
                  <a:pt x="10692" y="6705"/>
                  <a:pt x="10839" y="6577"/>
                  <a:pt x="10839" y="6417"/>
                </a:cubicBezTo>
                <a:lnTo>
                  <a:pt x="10839" y="5375"/>
                </a:lnTo>
                <a:cubicBezTo>
                  <a:pt x="10839" y="5215"/>
                  <a:pt x="10692" y="5081"/>
                  <a:pt x="10517" y="5081"/>
                </a:cubicBezTo>
                <a:close/>
                <a:moveTo>
                  <a:pt x="10530" y="7388"/>
                </a:moveTo>
                <a:cubicBezTo>
                  <a:pt x="10355" y="7388"/>
                  <a:pt x="10215" y="7515"/>
                  <a:pt x="10215" y="7675"/>
                </a:cubicBezTo>
                <a:lnTo>
                  <a:pt x="10215" y="8113"/>
                </a:lnTo>
                <a:lnTo>
                  <a:pt x="9322" y="8113"/>
                </a:lnTo>
                <a:cubicBezTo>
                  <a:pt x="8639" y="8113"/>
                  <a:pt x="8046" y="8470"/>
                  <a:pt x="7760" y="8994"/>
                </a:cubicBezTo>
                <a:lnTo>
                  <a:pt x="7399" y="8802"/>
                </a:lnTo>
                <a:cubicBezTo>
                  <a:pt x="7247" y="8721"/>
                  <a:pt x="7054" y="8772"/>
                  <a:pt x="6965" y="8910"/>
                </a:cubicBezTo>
                <a:cubicBezTo>
                  <a:pt x="6877" y="9048"/>
                  <a:pt x="6925" y="9224"/>
                  <a:pt x="7077" y="9305"/>
                </a:cubicBezTo>
                <a:lnTo>
                  <a:pt x="7576" y="9575"/>
                </a:lnTo>
                <a:cubicBezTo>
                  <a:pt x="7572" y="9618"/>
                  <a:pt x="7576" y="9662"/>
                  <a:pt x="7576" y="9707"/>
                </a:cubicBezTo>
                <a:lnTo>
                  <a:pt x="7576" y="11893"/>
                </a:lnTo>
                <a:cubicBezTo>
                  <a:pt x="7576" y="11938"/>
                  <a:pt x="7572" y="11982"/>
                  <a:pt x="7576" y="12025"/>
                </a:cubicBezTo>
                <a:lnTo>
                  <a:pt x="7077" y="12295"/>
                </a:lnTo>
                <a:cubicBezTo>
                  <a:pt x="6925" y="12376"/>
                  <a:pt x="6877" y="12552"/>
                  <a:pt x="6965" y="12690"/>
                </a:cubicBezTo>
                <a:cubicBezTo>
                  <a:pt x="7024" y="12783"/>
                  <a:pt x="7132" y="12834"/>
                  <a:pt x="7241" y="12834"/>
                </a:cubicBezTo>
                <a:cubicBezTo>
                  <a:pt x="7295" y="12834"/>
                  <a:pt x="7348" y="12819"/>
                  <a:pt x="7399" y="12792"/>
                </a:cubicBezTo>
                <a:lnTo>
                  <a:pt x="7760" y="12606"/>
                </a:lnTo>
                <a:cubicBezTo>
                  <a:pt x="8046" y="13130"/>
                  <a:pt x="8639" y="13487"/>
                  <a:pt x="9322" y="13487"/>
                </a:cubicBezTo>
                <a:lnTo>
                  <a:pt x="10215" y="13487"/>
                </a:lnTo>
                <a:lnTo>
                  <a:pt x="10215" y="13925"/>
                </a:lnTo>
                <a:cubicBezTo>
                  <a:pt x="10215" y="14085"/>
                  <a:pt x="10355" y="14212"/>
                  <a:pt x="10530" y="14212"/>
                </a:cubicBezTo>
                <a:cubicBezTo>
                  <a:pt x="10705" y="14212"/>
                  <a:pt x="10845" y="14085"/>
                  <a:pt x="10845" y="13925"/>
                </a:cubicBezTo>
                <a:lnTo>
                  <a:pt x="10845" y="13487"/>
                </a:lnTo>
                <a:lnTo>
                  <a:pt x="11718" y="13487"/>
                </a:lnTo>
                <a:cubicBezTo>
                  <a:pt x="12402" y="13487"/>
                  <a:pt x="12995" y="13130"/>
                  <a:pt x="13281" y="12606"/>
                </a:cubicBezTo>
                <a:lnTo>
                  <a:pt x="13635" y="12792"/>
                </a:lnTo>
                <a:cubicBezTo>
                  <a:pt x="13686" y="12819"/>
                  <a:pt x="13745" y="12834"/>
                  <a:pt x="13800" y="12834"/>
                </a:cubicBezTo>
                <a:cubicBezTo>
                  <a:pt x="13909" y="12834"/>
                  <a:pt x="14016" y="12783"/>
                  <a:pt x="14075" y="12690"/>
                </a:cubicBezTo>
                <a:cubicBezTo>
                  <a:pt x="14164" y="12552"/>
                  <a:pt x="14115" y="12376"/>
                  <a:pt x="13964" y="12295"/>
                </a:cubicBezTo>
                <a:lnTo>
                  <a:pt x="13458" y="12025"/>
                </a:lnTo>
                <a:cubicBezTo>
                  <a:pt x="13462" y="11982"/>
                  <a:pt x="13465" y="11938"/>
                  <a:pt x="13465" y="11893"/>
                </a:cubicBezTo>
                <a:lnTo>
                  <a:pt x="13465" y="9707"/>
                </a:lnTo>
                <a:cubicBezTo>
                  <a:pt x="13465" y="9662"/>
                  <a:pt x="13462" y="9618"/>
                  <a:pt x="13458" y="9575"/>
                </a:cubicBezTo>
                <a:lnTo>
                  <a:pt x="13964" y="9305"/>
                </a:lnTo>
                <a:cubicBezTo>
                  <a:pt x="14115" y="9224"/>
                  <a:pt x="14164" y="9048"/>
                  <a:pt x="14075" y="8910"/>
                </a:cubicBezTo>
                <a:cubicBezTo>
                  <a:pt x="13987" y="8772"/>
                  <a:pt x="13787" y="8721"/>
                  <a:pt x="13635" y="8802"/>
                </a:cubicBezTo>
                <a:lnTo>
                  <a:pt x="13281" y="8994"/>
                </a:lnTo>
                <a:cubicBezTo>
                  <a:pt x="12995" y="8470"/>
                  <a:pt x="12402" y="8113"/>
                  <a:pt x="11718" y="8113"/>
                </a:cubicBezTo>
                <a:lnTo>
                  <a:pt x="10845" y="8113"/>
                </a:lnTo>
                <a:lnTo>
                  <a:pt x="10845" y="7675"/>
                </a:lnTo>
                <a:cubicBezTo>
                  <a:pt x="10845" y="7515"/>
                  <a:pt x="10705" y="7388"/>
                  <a:pt x="10530" y="7388"/>
                </a:cubicBezTo>
                <a:close/>
                <a:moveTo>
                  <a:pt x="5160" y="7687"/>
                </a:moveTo>
                <a:cubicBezTo>
                  <a:pt x="5081" y="7706"/>
                  <a:pt x="5007" y="7756"/>
                  <a:pt x="4963" y="7825"/>
                </a:cubicBezTo>
                <a:cubicBezTo>
                  <a:pt x="4874" y="7963"/>
                  <a:pt x="4923" y="8145"/>
                  <a:pt x="5074" y="8227"/>
                </a:cubicBezTo>
                <a:lnTo>
                  <a:pt x="6059" y="8754"/>
                </a:lnTo>
                <a:cubicBezTo>
                  <a:pt x="6210" y="8835"/>
                  <a:pt x="6410" y="8790"/>
                  <a:pt x="6499" y="8652"/>
                </a:cubicBezTo>
                <a:cubicBezTo>
                  <a:pt x="6588" y="8514"/>
                  <a:pt x="6532" y="8332"/>
                  <a:pt x="6381" y="8251"/>
                </a:cubicBezTo>
                <a:lnTo>
                  <a:pt x="5396" y="7723"/>
                </a:lnTo>
                <a:cubicBezTo>
                  <a:pt x="5321" y="7683"/>
                  <a:pt x="5238" y="7669"/>
                  <a:pt x="5160" y="7687"/>
                </a:cubicBezTo>
                <a:close/>
                <a:moveTo>
                  <a:pt x="15881" y="7687"/>
                </a:moveTo>
                <a:cubicBezTo>
                  <a:pt x="15802" y="7669"/>
                  <a:pt x="15720" y="7683"/>
                  <a:pt x="15644" y="7723"/>
                </a:cubicBezTo>
                <a:lnTo>
                  <a:pt x="14653" y="8251"/>
                </a:lnTo>
                <a:cubicBezTo>
                  <a:pt x="14502" y="8332"/>
                  <a:pt x="14453" y="8514"/>
                  <a:pt x="14541" y="8652"/>
                </a:cubicBezTo>
                <a:cubicBezTo>
                  <a:pt x="14630" y="8790"/>
                  <a:pt x="14824" y="8835"/>
                  <a:pt x="14975" y="8754"/>
                </a:cubicBezTo>
                <a:lnTo>
                  <a:pt x="15966" y="8227"/>
                </a:lnTo>
                <a:cubicBezTo>
                  <a:pt x="16117" y="8145"/>
                  <a:pt x="16160" y="7963"/>
                  <a:pt x="16071" y="7825"/>
                </a:cubicBezTo>
                <a:cubicBezTo>
                  <a:pt x="16027" y="7756"/>
                  <a:pt x="15959" y="7706"/>
                  <a:pt x="15881" y="7687"/>
                </a:cubicBezTo>
                <a:close/>
                <a:moveTo>
                  <a:pt x="9322" y="8688"/>
                </a:moveTo>
                <a:lnTo>
                  <a:pt x="11718" y="8688"/>
                </a:lnTo>
                <a:cubicBezTo>
                  <a:pt x="12331" y="8688"/>
                  <a:pt x="12828" y="9147"/>
                  <a:pt x="12828" y="9707"/>
                </a:cubicBezTo>
                <a:lnTo>
                  <a:pt x="12828" y="11893"/>
                </a:lnTo>
                <a:cubicBezTo>
                  <a:pt x="12828" y="12452"/>
                  <a:pt x="12331" y="12906"/>
                  <a:pt x="11718" y="12906"/>
                </a:cubicBezTo>
                <a:lnTo>
                  <a:pt x="9322" y="12906"/>
                </a:lnTo>
                <a:cubicBezTo>
                  <a:pt x="8710" y="12906"/>
                  <a:pt x="8206" y="12452"/>
                  <a:pt x="8206" y="11893"/>
                </a:cubicBezTo>
                <a:lnTo>
                  <a:pt x="8206" y="9707"/>
                </a:lnTo>
                <a:cubicBezTo>
                  <a:pt x="8206" y="9147"/>
                  <a:pt x="8710" y="8688"/>
                  <a:pt x="9322" y="8688"/>
                </a:cubicBezTo>
                <a:close/>
                <a:moveTo>
                  <a:pt x="6302" y="12816"/>
                </a:moveTo>
                <a:cubicBezTo>
                  <a:pt x="6224" y="12798"/>
                  <a:pt x="6135" y="12806"/>
                  <a:pt x="6059" y="12846"/>
                </a:cubicBezTo>
                <a:lnTo>
                  <a:pt x="5074" y="13373"/>
                </a:lnTo>
                <a:cubicBezTo>
                  <a:pt x="4923" y="13455"/>
                  <a:pt x="4874" y="13637"/>
                  <a:pt x="4963" y="13775"/>
                </a:cubicBezTo>
                <a:cubicBezTo>
                  <a:pt x="5052" y="13913"/>
                  <a:pt x="5245" y="13958"/>
                  <a:pt x="5396" y="13877"/>
                </a:cubicBezTo>
                <a:lnTo>
                  <a:pt x="6381" y="13349"/>
                </a:lnTo>
                <a:cubicBezTo>
                  <a:pt x="6532" y="13268"/>
                  <a:pt x="6588" y="13086"/>
                  <a:pt x="6499" y="12948"/>
                </a:cubicBezTo>
                <a:cubicBezTo>
                  <a:pt x="6455" y="12879"/>
                  <a:pt x="6381" y="12835"/>
                  <a:pt x="6302" y="12816"/>
                </a:cubicBezTo>
                <a:close/>
                <a:moveTo>
                  <a:pt x="14732" y="12816"/>
                </a:moveTo>
                <a:cubicBezTo>
                  <a:pt x="14653" y="12835"/>
                  <a:pt x="14586" y="12879"/>
                  <a:pt x="14541" y="12948"/>
                </a:cubicBezTo>
                <a:cubicBezTo>
                  <a:pt x="14452" y="13086"/>
                  <a:pt x="14502" y="13268"/>
                  <a:pt x="14653" y="13349"/>
                </a:cubicBezTo>
                <a:lnTo>
                  <a:pt x="15644" y="13877"/>
                </a:lnTo>
                <a:cubicBezTo>
                  <a:pt x="15795" y="13958"/>
                  <a:pt x="15982" y="13913"/>
                  <a:pt x="16071" y="13775"/>
                </a:cubicBezTo>
                <a:cubicBezTo>
                  <a:pt x="16160" y="13637"/>
                  <a:pt x="16117" y="13455"/>
                  <a:pt x="15966" y="13373"/>
                </a:cubicBezTo>
                <a:lnTo>
                  <a:pt x="14975" y="12846"/>
                </a:lnTo>
                <a:cubicBezTo>
                  <a:pt x="14899" y="12806"/>
                  <a:pt x="14810" y="12798"/>
                  <a:pt x="14732" y="12816"/>
                </a:cubicBezTo>
                <a:close/>
                <a:moveTo>
                  <a:pt x="2225" y="13451"/>
                </a:moveTo>
                <a:cubicBezTo>
                  <a:pt x="1712" y="13403"/>
                  <a:pt x="1180" y="13538"/>
                  <a:pt x="748" y="13859"/>
                </a:cubicBezTo>
                <a:cubicBezTo>
                  <a:pt x="-20" y="14429"/>
                  <a:pt x="-226" y="15419"/>
                  <a:pt x="269" y="16201"/>
                </a:cubicBezTo>
                <a:cubicBezTo>
                  <a:pt x="831" y="17079"/>
                  <a:pt x="2069" y="17377"/>
                  <a:pt x="3033" y="16867"/>
                </a:cubicBezTo>
                <a:cubicBezTo>
                  <a:pt x="3890" y="16411"/>
                  <a:pt x="4258" y="15458"/>
                  <a:pt x="3899" y="14614"/>
                </a:cubicBezTo>
                <a:cubicBezTo>
                  <a:pt x="3899" y="14614"/>
                  <a:pt x="3906" y="14626"/>
                  <a:pt x="3906" y="14626"/>
                </a:cubicBezTo>
                <a:lnTo>
                  <a:pt x="4339" y="14398"/>
                </a:lnTo>
                <a:cubicBezTo>
                  <a:pt x="4491" y="14318"/>
                  <a:pt x="4545" y="14135"/>
                  <a:pt x="4457" y="13997"/>
                </a:cubicBezTo>
                <a:cubicBezTo>
                  <a:pt x="4370" y="13858"/>
                  <a:pt x="4176" y="13815"/>
                  <a:pt x="4024" y="13895"/>
                </a:cubicBezTo>
                <a:lnTo>
                  <a:pt x="3584" y="14122"/>
                </a:lnTo>
                <a:cubicBezTo>
                  <a:pt x="3233" y="13728"/>
                  <a:pt x="2739" y="13500"/>
                  <a:pt x="2225" y="13451"/>
                </a:cubicBezTo>
                <a:close/>
                <a:moveTo>
                  <a:pt x="19341" y="13469"/>
                </a:moveTo>
                <a:cubicBezTo>
                  <a:pt x="18641" y="13366"/>
                  <a:pt x="17909" y="13599"/>
                  <a:pt x="17443" y="14128"/>
                </a:cubicBezTo>
                <a:cubicBezTo>
                  <a:pt x="17443" y="14128"/>
                  <a:pt x="17450" y="14116"/>
                  <a:pt x="17450" y="14116"/>
                </a:cubicBezTo>
                <a:lnTo>
                  <a:pt x="17017" y="13889"/>
                </a:lnTo>
                <a:cubicBezTo>
                  <a:pt x="16865" y="13809"/>
                  <a:pt x="16671" y="13858"/>
                  <a:pt x="16583" y="13997"/>
                </a:cubicBezTo>
                <a:cubicBezTo>
                  <a:pt x="16496" y="14135"/>
                  <a:pt x="16549" y="14312"/>
                  <a:pt x="16701" y="14392"/>
                </a:cubicBezTo>
                <a:lnTo>
                  <a:pt x="17135" y="14620"/>
                </a:lnTo>
                <a:cubicBezTo>
                  <a:pt x="16737" y="15570"/>
                  <a:pt x="17263" y="16636"/>
                  <a:pt x="18303" y="16998"/>
                </a:cubicBezTo>
                <a:cubicBezTo>
                  <a:pt x="19228" y="17321"/>
                  <a:pt x="20269" y="16984"/>
                  <a:pt x="20765" y="16201"/>
                </a:cubicBezTo>
                <a:cubicBezTo>
                  <a:pt x="21317" y="15318"/>
                  <a:pt x="20983" y="14191"/>
                  <a:pt x="20017" y="13685"/>
                </a:cubicBezTo>
                <a:cubicBezTo>
                  <a:pt x="19802" y="13573"/>
                  <a:pt x="19574" y="13504"/>
                  <a:pt x="19341" y="13469"/>
                </a:cubicBezTo>
                <a:close/>
                <a:moveTo>
                  <a:pt x="19196" y="14021"/>
                </a:moveTo>
                <a:cubicBezTo>
                  <a:pt x="19374" y="14041"/>
                  <a:pt x="19550" y="14095"/>
                  <a:pt x="19715" y="14182"/>
                </a:cubicBezTo>
                <a:cubicBezTo>
                  <a:pt x="20375" y="14531"/>
                  <a:pt x="20601" y="15299"/>
                  <a:pt x="20220" y="15902"/>
                </a:cubicBezTo>
                <a:cubicBezTo>
                  <a:pt x="19837" y="16505"/>
                  <a:pt x="18991" y="16713"/>
                  <a:pt x="18330" y="16363"/>
                </a:cubicBezTo>
                <a:cubicBezTo>
                  <a:pt x="17670" y="16014"/>
                  <a:pt x="17444" y="15247"/>
                  <a:pt x="17824" y="14644"/>
                </a:cubicBezTo>
                <a:cubicBezTo>
                  <a:pt x="18111" y="14191"/>
                  <a:pt x="18661" y="13959"/>
                  <a:pt x="19196" y="14021"/>
                </a:cubicBezTo>
                <a:close/>
                <a:moveTo>
                  <a:pt x="1858" y="14039"/>
                </a:moveTo>
                <a:cubicBezTo>
                  <a:pt x="2392" y="13978"/>
                  <a:pt x="2936" y="14204"/>
                  <a:pt x="3223" y="14656"/>
                </a:cubicBezTo>
                <a:cubicBezTo>
                  <a:pt x="3604" y="15260"/>
                  <a:pt x="3373" y="16033"/>
                  <a:pt x="2711" y="16381"/>
                </a:cubicBezTo>
                <a:cubicBezTo>
                  <a:pt x="2050" y="16728"/>
                  <a:pt x="1209" y="16522"/>
                  <a:pt x="827" y="15920"/>
                </a:cubicBezTo>
                <a:cubicBezTo>
                  <a:pt x="446" y="15316"/>
                  <a:pt x="670" y="14542"/>
                  <a:pt x="1332" y="14194"/>
                </a:cubicBezTo>
                <a:cubicBezTo>
                  <a:pt x="1498" y="14108"/>
                  <a:pt x="1680" y="14059"/>
                  <a:pt x="1858" y="14039"/>
                </a:cubicBezTo>
                <a:close/>
                <a:moveTo>
                  <a:pt x="10517" y="14889"/>
                </a:moveTo>
                <a:cubicBezTo>
                  <a:pt x="10342" y="14889"/>
                  <a:pt x="10202" y="15017"/>
                  <a:pt x="10202" y="15177"/>
                </a:cubicBezTo>
                <a:lnTo>
                  <a:pt x="10202" y="16225"/>
                </a:lnTo>
                <a:cubicBezTo>
                  <a:pt x="10202" y="16385"/>
                  <a:pt x="10342" y="16513"/>
                  <a:pt x="10517" y="16513"/>
                </a:cubicBezTo>
                <a:cubicBezTo>
                  <a:pt x="10692" y="16513"/>
                  <a:pt x="10839" y="16385"/>
                  <a:pt x="10839" y="16225"/>
                </a:cubicBezTo>
                <a:lnTo>
                  <a:pt x="10839" y="15177"/>
                </a:lnTo>
                <a:cubicBezTo>
                  <a:pt x="10839" y="15017"/>
                  <a:pt x="10692" y="14889"/>
                  <a:pt x="10517" y="14889"/>
                </a:cubicBezTo>
                <a:close/>
                <a:moveTo>
                  <a:pt x="10524" y="17190"/>
                </a:moveTo>
                <a:cubicBezTo>
                  <a:pt x="10348" y="17190"/>
                  <a:pt x="10202" y="17324"/>
                  <a:pt x="10202" y="17484"/>
                </a:cubicBezTo>
                <a:lnTo>
                  <a:pt x="10202" y="17945"/>
                </a:lnTo>
                <a:cubicBezTo>
                  <a:pt x="9102" y="18106"/>
                  <a:pt x="8358" y="19050"/>
                  <a:pt x="8534" y="20054"/>
                </a:cubicBezTo>
                <a:cubicBezTo>
                  <a:pt x="8691" y="20946"/>
                  <a:pt x="9533" y="21599"/>
                  <a:pt x="10524" y="21600"/>
                </a:cubicBezTo>
                <a:cubicBezTo>
                  <a:pt x="11638" y="21594"/>
                  <a:pt x="12535" y="20771"/>
                  <a:pt x="12533" y="19755"/>
                </a:cubicBezTo>
                <a:cubicBezTo>
                  <a:pt x="12529" y="18849"/>
                  <a:pt x="11806" y="18077"/>
                  <a:pt x="10826" y="17939"/>
                </a:cubicBezTo>
                <a:cubicBezTo>
                  <a:pt x="10826" y="17939"/>
                  <a:pt x="10839" y="17939"/>
                  <a:pt x="10839" y="17939"/>
                </a:cubicBezTo>
                <a:lnTo>
                  <a:pt x="10839" y="17484"/>
                </a:lnTo>
                <a:cubicBezTo>
                  <a:pt x="10839" y="17324"/>
                  <a:pt x="10699" y="17190"/>
                  <a:pt x="10524" y="17190"/>
                </a:cubicBezTo>
                <a:close/>
                <a:moveTo>
                  <a:pt x="10530" y="18496"/>
                </a:moveTo>
                <a:cubicBezTo>
                  <a:pt x="11294" y="18497"/>
                  <a:pt x="11910" y="19063"/>
                  <a:pt x="11909" y="19761"/>
                </a:cubicBezTo>
                <a:cubicBezTo>
                  <a:pt x="11908" y="20456"/>
                  <a:pt x="11293" y="21024"/>
                  <a:pt x="10530" y="21025"/>
                </a:cubicBezTo>
                <a:cubicBezTo>
                  <a:pt x="9766" y="21024"/>
                  <a:pt x="9144" y="20458"/>
                  <a:pt x="9145" y="19761"/>
                </a:cubicBezTo>
                <a:cubicBezTo>
                  <a:pt x="9146" y="19065"/>
                  <a:pt x="9768" y="18497"/>
                  <a:pt x="10530" y="18496"/>
                </a:cubicBezTo>
                <a:close/>
              </a:path>
            </a:pathLst>
          </a:custGeom>
          <a:solidFill>
            <a:srgbClr val="FFFFFF"/>
          </a:solidFill>
          <a:ln w="3175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64" name="Google Shape;1124;p39">
            <a:extLst>
              <a:ext uri="{FF2B5EF4-FFF2-40B4-BE49-F238E27FC236}">
                <a16:creationId xmlns:a16="http://schemas.microsoft.com/office/drawing/2014/main" id="{B69DA347-9952-7C46-57F0-5B3FFD120BBA}"/>
              </a:ext>
            </a:extLst>
          </p:cNvPr>
          <p:cNvSpPr>
            <a:spLocks noChangeAspect="1"/>
          </p:cNvSpPr>
          <p:nvPr/>
        </p:nvSpPr>
        <p:spPr>
          <a:xfrm>
            <a:off x="2235509" y="2597701"/>
            <a:ext cx="375648" cy="42264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35" h="21600" extrusionOk="0">
                <a:moveTo>
                  <a:pt x="10517" y="0"/>
                </a:moveTo>
                <a:cubicBezTo>
                  <a:pt x="9403" y="6"/>
                  <a:pt x="8505" y="835"/>
                  <a:pt x="8508" y="1851"/>
                </a:cubicBezTo>
                <a:cubicBezTo>
                  <a:pt x="8512" y="2757"/>
                  <a:pt x="9235" y="3523"/>
                  <a:pt x="10215" y="3661"/>
                </a:cubicBezTo>
                <a:cubicBezTo>
                  <a:pt x="10215" y="3661"/>
                  <a:pt x="10195" y="3661"/>
                  <a:pt x="10195" y="3661"/>
                </a:cubicBezTo>
                <a:lnTo>
                  <a:pt x="10195" y="4122"/>
                </a:lnTo>
                <a:cubicBezTo>
                  <a:pt x="10195" y="4282"/>
                  <a:pt x="10342" y="4410"/>
                  <a:pt x="10517" y="4410"/>
                </a:cubicBezTo>
                <a:cubicBezTo>
                  <a:pt x="10692" y="4410"/>
                  <a:pt x="10832" y="4282"/>
                  <a:pt x="10832" y="4122"/>
                </a:cubicBezTo>
                <a:lnTo>
                  <a:pt x="10832" y="3661"/>
                </a:lnTo>
                <a:cubicBezTo>
                  <a:pt x="11932" y="3500"/>
                  <a:pt x="12683" y="2556"/>
                  <a:pt x="12506" y="1552"/>
                </a:cubicBezTo>
                <a:cubicBezTo>
                  <a:pt x="12350" y="660"/>
                  <a:pt x="11507" y="1"/>
                  <a:pt x="10517" y="0"/>
                </a:cubicBezTo>
                <a:close/>
                <a:moveTo>
                  <a:pt x="10510" y="581"/>
                </a:moveTo>
                <a:cubicBezTo>
                  <a:pt x="11274" y="582"/>
                  <a:pt x="11890" y="1148"/>
                  <a:pt x="11889" y="1845"/>
                </a:cubicBezTo>
                <a:cubicBezTo>
                  <a:pt x="11888" y="2541"/>
                  <a:pt x="11273" y="3109"/>
                  <a:pt x="10510" y="3110"/>
                </a:cubicBezTo>
                <a:cubicBezTo>
                  <a:pt x="9746" y="3109"/>
                  <a:pt x="9124" y="2543"/>
                  <a:pt x="9125" y="1845"/>
                </a:cubicBezTo>
                <a:cubicBezTo>
                  <a:pt x="9126" y="1150"/>
                  <a:pt x="9748" y="582"/>
                  <a:pt x="10510" y="581"/>
                </a:cubicBezTo>
                <a:close/>
                <a:moveTo>
                  <a:pt x="2028" y="4482"/>
                </a:moveTo>
                <a:cubicBezTo>
                  <a:pt x="1321" y="4478"/>
                  <a:pt x="641" y="4818"/>
                  <a:pt x="269" y="5404"/>
                </a:cubicBezTo>
                <a:cubicBezTo>
                  <a:pt x="-283" y="6288"/>
                  <a:pt x="51" y="7415"/>
                  <a:pt x="1017" y="7921"/>
                </a:cubicBezTo>
                <a:cubicBezTo>
                  <a:pt x="1878" y="8371"/>
                  <a:pt x="2969" y="8177"/>
                  <a:pt x="3591" y="7472"/>
                </a:cubicBezTo>
                <a:cubicBezTo>
                  <a:pt x="3591" y="7472"/>
                  <a:pt x="3584" y="7484"/>
                  <a:pt x="3584" y="7484"/>
                </a:cubicBezTo>
                <a:lnTo>
                  <a:pt x="4017" y="7717"/>
                </a:lnTo>
                <a:cubicBezTo>
                  <a:pt x="4169" y="7797"/>
                  <a:pt x="4363" y="7748"/>
                  <a:pt x="4451" y="7609"/>
                </a:cubicBezTo>
                <a:cubicBezTo>
                  <a:pt x="4538" y="7471"/>
                  <a:pt x="4491" y="7294"/>
                  <a:pt x="4339" y="7214"/>
                </a:cubicBezTo>
                <a:lnTo>
                  <a:pt x="3899" y="6980"/>
                </a:lnTo>
                <a:cubicBezTo>
                  <a:pt x="4297" y="6030"/>
                  <a:pt x="3778" y="4970"/>
                  <a:pt x="2737" y="4608"/>
                </a:cubicBezTo>
                <a:cubicBezTo>
                  <a:pt x="2506" y="4527"/>
                  <a:pt x="2264" y="4483"/>
                  <a:pt x="2028" y="4482"/>
                </a:cubicBezTo>
                <a:close/>
                <a:moveTo>
                  <a:pt x="18763" y="4500"/>
                </a:moveTo>
                <a:cubicBezTo>
                  <a:pt x="18503" y="4530"/>
                  <a:pt x="18249" y="4606"/>
                  <a:pt x="18008" y="4733"/>
                </a:cubicBezTo>
                <a:cubicBezTo>
                  <a:pt x="17151" y="5189"/>
                  <a:pt x="16782" y="6148"/>
                  <a:pt x="17141" y="6992"/>
                </a:cubicBezTo>
                <a:cubicBezTo>
                  <a:pt x="17141" y="6992"/>
                  <a:pt x="17135" y="6980"/>
                  <a:pt x="17135" y="6980"/>
                </a:cubicBezTo>
                <a:lnTo>
                  <a:pt x="16695" y="7208"/>
                </a:lnTo>
                <a:cubicBezTo>
                  <a:pt x="16543" y="7288"/>
                  <a:pt x="16496" y="7465"/>
                  <a:pt x="16583" y="7603"/>
                </a:cubicBezTo>
                <a:cubicBezTo>
                  <a:pt x="16671" y="7742"/>
                  <a:pt x="16865" y="7791"/>
                  <a:pt x="17017" y="7711"/>
                </a:cubicBezTo>
                <a:lnTo>
                  <a:pt x="17450" y="7478"/>
                </a:lnTo>
                <a:cubicBezTo>
                  <a:pt x="18152" y="8267"/>
                  <a:pt x="19428" y="8388"/>
                  <a:pt x="20293" y="7747"/>
                </a:cubicBezTo>
                <a:cubicBezTo>
                  <a:pt x="21061" y="7177"/>
                  <a:pt x="21260" y="6181"/>
                  <a:pt x="20765" y="5399"/>
                </a:cubicBezTo>
                <a:cubicBezTo>
                  <a:pt x="20343" y="4740"/>
                  <a:pt x="19543" y="4409"/>
                  <a:pt x="18763" y="4500"/>
                </a:cubicBezTo>
                <a:close/>
                <a:moveTo>
                  <a:pt x="18842" y="5063"/>
                </a:moveTo>
                <a:cubicBezTo>
                  <a:pt x="19376" y="5003"/>
                  <a:pt x="19927" y="5234"/>
                  <a:pt x="20214" y="5686"/>
                </a:cubicBezTo>
                <a:cubicBezTo>
                  <a:pt x="20595" y="6290"/>
                  <a:pt x="20364" y="7058"/>
                  <a:pt x="19702" y="7406"/>
                </a:cubicBezTo>
                <a:cubicBezTo>
                  <a:pt x="19041" y="7753"/>
                  <a:pt x="18200" y="7547"/>
                  <a:pt x="17817" y="6944"/>
                </a:cubicBezTo>
                <a:cubicBezTo>
                  <a:pt x="17436" y="6340"/>
                  <a:pt x="17661" y="5573"/>
                  <a:pt x="18323" y="5225"/>
                </a:cubicBezTo>
                <a:cubicBezTo>
                  <a:pt x="18488" y="5138"/>
                  <a:pt x="18664" y="5083"/>
                  <a:pt x="18842" y="5063"/>
                </a:cubicBezTo>
                <a:close/>
                <a:moveTo>
                  <a:pt x="2186" y="5081"/>
                </a:moveTo>
                <a:cubicBezTo>
                  <a:pt x="2364" y="5101"/>
                  <a:pt x="2539" y="5155"/>
                  <a:pt x="2704" y="5243"/>
                </a:cubicBezTo>
                <a:cubicBezTo>
                  <a:pt x="3364" y="5592"/>
                  <a:pt x="3590" y="6359"/>
                  <a:pt x="3210" y="6962"/>
                </a:cubicBezTo>
                <a:cubicBezTo>
                  <a:pt x="2827" y="7566"/>
                  <a:pt x="1980" y="7773"/>
                  <a:pt x="1319" y="7424"/>
                </a:cubicBezTo>
                <a:cubicBezTo>
                  <a:pt x="659" y="7075"/>
                  <a:pt x="433" y="6301"/>
                  <a:pt x="814" y="5698"/>
                </a:cubicBezTo>
                <a:cubicBezTo>
                  <a:pt x="1101" y="5246"/>
                  <a:pt x="1651" y="5020"/>
                  <a:pt x="2186" y="5081"/>
                </a:cubicBezTo>
                <a:close/>
                <a:moveTo>
                  <a:pt x="10517" y="5081"/>
                </a:moveTo>
                <a:cubicBezTo>
                  <a:pt x="10342" y="5081"/>
                  <a:pt x="10202" y="5215"/>
                  <a:pt x="10202" y="5375"/>
                </a:cubicBezTo>
                <a:lnTo>
                  <a:pt x="10202" y="6417"/>
                </a:lnTo>
                <a:cubicBezTo>
                  <a:pt x="10202" y="6577"/>
                  <a:pt x="10342" y="6705"/>
                  <a:pt x="10517" y="6705"/>
                </a:cubicBezTo>
                <a:cubicBezTo>
                  <a:pt x="10692" y="6705"/>
                  <a:pt x="10839" y="6577"/>
                  <a:pt x="10839" y="6417"/>
                </a:cubicBezTo>
                <a:lnTo>
                  <a:pt x="10839" y="5375"/>
                </a:lnTo>
                <a:cubicBezTo>
                  <a:pt x="10839" y="5215"/>
                  <a:pt x="10692" y="5081"/>
                  <a:pt x="10517" y="5081"/>
                </a:cubicBezTo>
                <a:close/>
                <a:moveTo>
                  <a:pt x="10530" y="7388"/>
                </a:moveTo>
                <a:cubicBezTo>
                  <a:pt x="10355" y="7388"/>
                  <a:pt x="10215" y="7515"/>
                  <a:pt x="10215" y="7675"/>
                </a:cubicBezTo>
                <a:lnTo>
                  <a:pt x="10215" y="8113"/>
                </a:lnTo>
                <a:lnTo>
                  <a:pt x="9322" y="8113"/>
                </a:lnTo>
                <a:cubicBezTo>
                  <a:pt x="8639" y="8113"/>
                  <a:pt x="8046" y="8470"/>
                  <a:pt x="7760" y="8994"/>
                </a:cubicBezTo>
                <a:lnTo>
                  <a:pt x="7399" y="8802"/>
                </a:lnTo>
                <a:cubicBezTo>
                  <a:pt x="7247" y="8721"/>
                  <a:pt x="7054" y="8772"/>
                  <a:pt x="6965" y="8910"/>
                </a:cubicBezTo>
                <a:cubicBezTo>
                  <a:pt x="6877" y="9048"/>
                  <a:pt x="6925" y="9224"/>
                  <a:pt x="7077" y="9305"/>
                </a:cubicBezTo>
                <a:lnTo>
                  <a:pt x="7576" y="9575"/>
                </a:lnTo>
                <a:cubicBezTo>
                  <a:pt x="7572" y="9618"/>
                  <a:pt x="7576" y="9662"/>
                  <a:pt x="7576" y="9707"/>
                </a:cubicBezTo>
                <a:lnTo>
                  <a:pt x="7576" y="11893"/>
                </a:lnTo>
                <a:cubicBezTo>
                  <a:pt x="7576" y="11938"/>
                  <a:pt x="7572" y="11982"/>
                  <a:pt x="7576" y="12025"/>
                </a:cubicBezTo>
                <a:lnTo>
                  <a:pt x="7077" y="12295"/>
                </a:lnTo>
                <a:cubicBezTo>
                  <a:pt x="6925" y="12376"/>
                  <a:pt x="6877" y="12552"/>
                  <a:pt x="6965" y="12690"/>
                </a:cubicBezTo>
                <a:cubicBezTo>
                  <a:pt x="7024" y="12783"/>
                  <a:pt x="7132" y="12834"/>
                  <a:pt x="7241" y="12834"/>
                </a:cubicBezTo>
                <a:cubicBezTo>
                  <a:pt x="7295" y="12834"/>
                  <a:pt x="7348" y="12819"/>
                  <a:pt x="7399" y="12792"/>
                </a:cubicBezTo>
                <a:lnTo>
                  <a:pt x="7760" y="12606"/>
                </a:lnTo>
                <a:cubicBezTo>
                  <a:pt x="8046" y="13130"/>
                  <a:pt x="8639" y="13487"/>
                  <a:pt x="9322" y="13487"/>
                </a:cubicBezTo>
                <a:lnTo>
                  <a:pt x="10215" y="13487"/>
                </a:lnTo>
                <a:lnTo>
                  <a:pt x="10215" y="13925"/>
                </a:lnTo>
                <a:cubicBezTo>
                  <a:pt x="10215" y="14085"/>
                  <a:pt x="10355" y="14212"/>
                  <a:pt x="10530" y="14212"/>
                </a:cubicBezTo>
                <a:cubicBezTo>
                  <a:pt x="10705" y="14212"/>
                  <a:pt x="10845" y="14085"/>
                  <a:pt x="10845" y="13925"/>
                </a:cubicBezTo>
                <a:lnTo>
                  <a:pt x="10845" y="13487"/>
                </a:lnTo>
                <a:lnTo>
                  <a:pt x="11718" y="13487"/>
                </a:lnTo>
                <a:cubicBezTo>
                  <a:pt x="12402" y="13487"/>
                  <a:pt x="12995" y="13130"/>
                  <a:pt x="13281" y="12606"/>
                </a:cubicBezTo>
                <a:lnTo>
                  <a:pt x="13635" y="12792"/>
                </a:lnTo>
                <a:cubicBezTo>
                  <a:pt x="13686" y="12819"/>
                  <a:pt x="13745" y="12834"/>
                  <a:pt x="13800" y="12834"/>
                </a:cubicBezTo>
                <a:cubicBezTo>
                  <a:pt x="13909" y="12834"/>
                  <a:pt x="14016" y="12783"/>
                  <a:pt x="14075" y="12690"/>
                </a:cubicBezTo>
                <a:cubicBezTo>
                  <a:pt x="14164" y="12552"/>
                  <a:pt x="14115" y="12376"/>
                  <a:pt x="13964" y="12295"/>
                </a:cubicBezTo>
                <a:lnTo>
                  <a:pt x="13458" y="12025"/>
                </a:lnTo>
                <a:cubicBezTo>
                  <a:pt x="13462" y="11982"/>
                  <a:pt x="13465" y="11938"/>
                  <a:pt x="13465" y="11893"/>
                </a:cubicBezTo>
                <a:lnTo>
                  <a:pt x="13465" y="9707"/>
                </a:lnTo>
                <a:cubicBezTo>
                  <a:pt x="13465" y="9662"/>
                  <a:pt x="13462" y="9618"/>
                  <a:pt x="13458" y="9575"/>
                </a:cubicBezTo>
                <a:lnTo>
                  <a:pt x="13964" y="9305"/>
                </a:lnTo>
                <a:cubicBezTo>
                  <a:pt x="14115" y="9224"/>
                  <a:pt x="14164" y="9048"/>
                  <a:pt x="14075" y="8910"/>
                </a:cubicBezTo>
                <a:cubicBezTo>
                  <a:pt x="13987" y="8772"/>
                  <a:pt x="13787" y="8721"/>
                  <a:pt x="13635" y="8802"/>
                </a:cubicBezTo>
                <a:lnTo>
                  <a:pt x="13281" y="8994"/>
                </a:lnTo>
                <a:cubicBezTo>
                  <a:pt x="12995" y="8470"/>
                  <a:pt x="12402" y="8113"/>
                  <a:pt x="11718" y="8113"/>
                </a:cubicBezTo>
                <a:lnTo>
                  <a:pt x="10845" y="8113"/>
                </a:lnTo>
                <a:lnTo>
                  <a:pt x="10845" y="7675"/>
                </a:lnTo>
                <a:cubicBezTo>
                  <a:pt x="10845" y="7515"/>
                  <a:pt x="10705" y="7388"/>
                  <a:pt x="10530" y="7388"/>
                </a:cubicBezTo>
                <a:close/>
                <a:moveTo>
                  <a:pt x="5160" y="7687"/>
                </a:moveTo>
                <a:cubicBezTo>
                  <a:pt x="5081" y="7706"/>
                  <a:pt x="5007" y="7756"/>
                  <a:pt x="4963" y="7825"/>
                </a:cubicBezTo>
                <a:cubicBezTo>
                  <a:pt x="4874" y="7963"/>
                  <a:pt x="4923" y="8145"/>
                  <a:pt x="5074" y="8227"/>
                </a:cubicBezTo>
                <a:lnTo>
                  <a:pt x="6059" y="8754"/>
                </a:lnTo>
                <a:cubicBezTo>
                  <a:pt x="6210" y="8835"/>
                  <a:pt x="6410" y="8790"/>
                  <a:pt x="6499" y="8652"/>
                </a:cubicBezTo>
                <a:cubicBezTo>
                  <a:pt x="6588" y="8514"/>
                  <a:pt x="6532" y="8332"/>
                  <a:pt x="6381" y="8251"/>
                </a:cubicBezTo>
                <a:lnTo>
                  <a:pt x="5396" y="7723"/>
                </a:lnTo>
                <a:cubicBezTo>
                  <a:pt x="5321" y="7683"/>
                  <a:pt x="5238" y="7669"/>
                  <a:pt x="5160" y="7687"/>
                </a:cubicBezTo>
                <a:close/>
                <a:moveTo>
                  <a:pt x="15881" y="7687"/>
                </a:moveTo>
                <a:cubicBezTo>
                  <a:pt x="15802" y="7669"/>
                  <a:pt x="15720" y="7683"/>
                  <a:pt x="15644" y="7723"/>
                </a:cubicBezTo>
                <a:lnTo>
                  <a:pt x="14653" y="8251"/>
                </a:lnTo>
                <a:cubicBezTo>
                  <a:pt x="14502" y="8332"/>
                  <a:pt x="14453" y="8514"/>
                  <a:pt x="14541" y="8652"/>
                </a:cubicBezTo>
                <a:cubicBezTo>
                  <a:pt x="14630" y="8790"/>
                  <a:pt x="14824" y="8835"/>
                  <a:pt x="14975" y="8754"/>
                </a:cubicBezTo>
                <a:lnTo>
                  <a:pt x="15966" y="8227"/>
                </a:lnTo>
                <a:cubicBezTo>
                  <a:pt x="16117" y="8145"/>
                  <a:pt x="16160" y="7963"/>
                  <a:pt x="16071" y="7825"/>
                </a:cubicBezTo>
                <a:cubicBezTo>
                  <a:pt x="16027" y="7756"/>
                  <a:pt x="15959" y="7706"/>
                  <a:pt x="15881" y="7687"/>
                </a:cubicBezTo>
                <a:close/>
                <a:moveTo>
                  <a:pt x="9322" y="8688"/>
                </a:moveTo>
                <a:lnTo>
                  <a:pt x="11718" y="8688"/>
                </a:lnTo>
                <a:cubicBezTo>
                  <a:pt x="12331" y="8688"/>
                  <a:pt x="12828" y="9147"/>
                  <a:pt x="12828" y="9707"/>
                </a:cubicBezTo>
                <a:lnTo>
                  <a:pt x="12828" y="11893"/>
                </a:lnTo>
                <a:cubicBezTo>
                  <a:pt x="12828" y="12452"/>
                  <a:pt x="12331" y="12906"/>
                  <a:pt x="11718" y="12906"/>
                </a:cubicBezTo>
                <a:lnTo>
                  <a:pt x="9322" y="12906"/>
                </a:lnTo>
                <a:cubicBezTo>
                  <a:pt x="8710" y="12906"/>
                  <a:pt x="8206" y="12452"/>
                  <a:pt x="8206" y="11893"/>
                </a:cubicBezTo>
                <a:lnTo>
                  <a:pt x="8206" y="9707"/>
                </a:lnTo>
                <a:cubicBezTo>
                  <a:pt x="8206" y="9147"/>
                  <a:pt x="8710" y="8688"/>
                  <a:pt x="9322" y="8688"/>
                </a:cubicBezTo>
                <a:close/>
                <a:moveTo>
                  <a:pt x="6302" y="12816"/>
                </a:moveTo>
                <a:cubicBezTo>
                  <a:pt x="6224" y="12798"/>
                  <a:pt x="6135" y="12806"/>
                  <a:pt x="6059" y="12846"/>
                </a:cubicBezTo>
                <a:lnTo>
                  <a:pt x="5074" y="13373"/>
                </a:lnTo>
                <a:cubicBezTo>
                  <a:pt x="4923" y="13455"/>
                  <a:pt x="4874" y="13637"/>
                  <a:pt x="4963" y="13775"/>
                </a:cubicBezTo>
                <a:cubicBezTo>
                  <a:pt x="5052" y="13913"/>
                  <a:pt x="5245" y="13958"/>
                  <a:pt x="5396" y="13877"/>
                </a:cubicBezTo>
                <a:lnTo>
                  <a:pt x="6381" y="13349"/>
                </a:lnTo>
                <a:cubicBezTo>
                  <a:pt x="6532" y="13268"/>
                  <a:pt x="6588" y="13086"/>
                  <a:pt x="6499" y="12948"/>
                </a:cubicBezTo>
                <a:cubicBezTo>
                  <a:pt x="6455" y="12879"/>
                  <a:pt x="6381" y="12835"/>
                  <a:pt x="6302" y="12816"/>
                </a:cubicBezTo>
                <a:close/>
                <a:moveTo>
                  <a:pt x="14732" y="12816"/>
                </a:moveTo>
                <a:cubicBezTo>
                  <a:pt x="14653" y="12835"/>
                  <a:pt x="14586" y="12879"/>
                  <a:pt x="14541" y="12948"/>
                </a:cubicBezTo>
                <a:cubicBezTo>
                  <a:pt x="14452" y="13086"/>
                  <a:pt x="14502" y="13268"/>
                  <a:pt x="14653" y="13349"/>
                </a:cubicBezTo>
                <a:lnTo>
                  <a:pt x="15644" y="13877"/>
                </a:lnTo>
                <a:cubicBezTo>
                  <a:pt x="15795" y="13958"/>
                  <a:pt x="15982" y="13913"/>
                  <a:pt x="16071" y="13775"/>
                </a:cubicBezTo>
                <a:cubicBezTo>
                  <a:pt x="16160" y="13637"/>
                  <a:pt x="16117" y="13455"/>
                  <a:pt x="15966" y="13373"/>
                </a:cubicBezTo>
                <a:lnTo>
                  <a:pt x="14975" y="12846"/>
                </a:lnTo>
                <a:cubicBezTo>
                  <a:pt x="14899" y="12806"/>
                  <a:pt x="14810" y="12798"/>
                  <a:pt x="14732" y="12816"/>
                </a:cubicBezTo>
                <a:close/>
                <a:moveTo>
                  <a:pt x="2225" y="13451"/>
                </a:moveTo>
                <a:cubicBezTo>
                  <a:pt x="1712" y="13403"/>
                  <a:pt x="1180" y="13538"/>
                  <a:pt x="748" y="13859"/>
                </a:cubicBezTo>
                <a:cubicBezTo>
                  <a:pt x="-20" y="14429"/>
                  <a:pt x="-226" y="15419"/>
                  <a:pt x="269" y="16201"/>
                </a:cubicBezTo>
                <a:cubicBezTo>
                  <a:pt x="831" y="17079"/>
                  <a:pt x="2069" y="17377"/>
                  <a:pt x="3033" y="16867"/>
                </a:cubicBezTo>
                <a:cubicBezTo>
                  <a:pt x="3890" y="16411"/>
                  <a:pt x="4258" y="15458"/>
                  <a:pt x="3899" y="14614"/>
                </a:cubicBezTo>
                <a:cubicBezTo>
                  <a:pt x="3899" y="14614"/>
                  <a:pt x="3906" y="14626"/>
                  <a:pt x="3906" y="14626"/>
                </a:cubicBezTo>
                <a:lnTo>
                  <a:pt x="4339" y="14398"/>
                </a:lnTo>
                <a:cubicBezTo>
                  <a:pt x="4491" y="14318"/>
                  <a:pt x="4545" y="14135"/>
                  <a:pt x="4457" y="13997"/>
                </a:cubicBezTo>
                <a:cubicBezTo>
                  <a:pt x="4370" y="13858"/>
                  <a:pt x="4176" y="13815"/>
                  <a:pt x="4024" y="13895"/>
                </a:cubicBezTo>
                <a:lnTo>
                  <a:pt x="3584" y="14122"/>
                </a:lnTo>
                <a:cubicBezTo>
                  <a:pt x="3233" y="13728"/>
                  <a:pt x="2739" y="13500"/>
                  <a:pt x="2225" y="13451"/>
                </a:cubicBezTo>
                <a:close/>
                <a:moveTo>
                  <a:pt x="19341" y="13469"/>
                </a:moveTo>
                <a:cubicBezTo>
                  <a:pt x="18641" y="13366"/>
                  <a:pt x="17909" y="13599"/>
                  <a:pt x="17443" y="14128"/>
                </a:cubicBezTo>
                <a:cubicBezTo>
                  <a:pt x="17443" y="14128"/>
                  <a:pt x="17450" y="14116"/>
                  <a:pt x="17450" y="14116"/>
                </a:cubicBezTo>
                <a:lnTo>
                  <a:pt x="17017" y="13889"/>
                </a:lnTo>
                <a:cubicBezTo>
                  <a:pt x="16865" y="13809"/>
                  <a:pt x="16671" y="13858"/>
                  <a:pt x="16583" y="13997"/>
                </a:cubicBezTo>
                <a:cubicBezTo>
                  <a:pt x="16496" y="14135"/>
                  <a:pt x="16549" y="14312"/>
                  <a:pt x="16701" y="14392"/>
                </a:cubicBezTo>
                <a:lnTo>
                  <a:pt x="17135" y="14620"/>
                </a:lnTo>
                <a:cubicBezTo>
                  <a:pt x="16737" y="15570"/>
                  <a:pt x="17263" y="16636"/>
                  <a:pt x="18303" y="16998"/>
                </a:cubicBezTo>
                <a:cubicBezTo>
                  <a:pt x="19228" y="17321"/>
                  <a:pt x="20269" y="16984"/>
                  <a:pt x="20765" y="16201"/>
                </a:cubicBezTo>
                <a:cubicBezTo>
                  <a:pt x="21317" y="15318"/>
                  <a:pt x="20983" y="14191"/>
                  <a:pt x="20017" y="13685"/>
                </a:cubicBezTo>
                <a:cubicBezTo>
                  <a:pt x="19802" y="13573"/>
                  <a:pt x="19574" y="13504"/>
                  <a:pt x="19341" y="13469"/>
                </a:cubicBezTo>
                <a:close/>
                <a:moveTo>
                  <a:pt x="19196" y="14021"/>
                </a:moveTo>
                <a:cubicBezTo>
                  <a:pt x="19374" y="14041"/>
                  <a:pt x="19550" y="14095"/>
                  <a:pt x="19715" y="14182"/>
                </a:cubicBezTo>
                <a:cubicBezTo>
                  <a:pt x="20375" y="14531"/>
                  <a:pt x="20601" y="15299"/>
                  <a:pt x="20220" y="15902"/>
                </a:cubicBezTo>
                <a:cubicBezTo>
                  <a:pt x="19837" y="16505"/>
                  <a:pt x="18991" y="16713"/>
                  <a:pt x="18330" y="16363"/>
                </a:cubicBezTo>
                <a:cubicBezTo>
                  <a:pt x="17670" y="16014"/>
                  <a:pt x="17444" y="15247"/>
                  <a:pt x="17824" y="14644"/>
                </a:cubicBezTo>
                <a:cubicBezTo>
                  <a:pt x="18111" y="14191"/>
                  <a:pt x="18661" y="13959"/>
                  <a:pt x="19196" y="14021"/>
                </a:cubicBezTo>
                <a:close/>
                <a:moveTo>
                  <a:pt x="1858" y="14039"/>
                </a:moveTo>
                <a:cubicBezTo>
                  <a:pt x="2392" y="13978"/>
                  <a:pt x="2936" y="14204"/>
                  <a:pt x="3223" y="14656"/>
                </a:cubicBezTo>
                <a:cubicBezTo>
                  <a:pt x="3604" y="15260"/>
                  <a:pt x="3373" y="16033"/>
                  <a:pt x="2711" y="16381"/>
                </a:cubicBezTo>
                <a:cubicBezTo>
                  <a:pt x="2050" y="16728"/>
                  <a:pt x="1209" y="16522"/>
                  <a:pt x="827" y="15920"/>
                </a:cubicBezTo>
                <a:cubicBezTo>
                  <a:pt x="446" y="15316"/>
                  <a:pt x="670" y="14542"/>
                  <a:pt x="1332" y="14194"/>
                </a:cubicBezTo>
                <a:cubicBezTo>
                  <a:pt x="1498" y="14108"/>
                  <a:pt x="1680" y="14059"/>
                  <a:pt x="1858" y="14039"/>
                </a:cubicBezTo>
                <a:close/>
                <a:moveTo>
                  <a:pt x="10517" y="14889"/>
                </a:moveTo>
                <a:cubicBezTo>
                  <a:pt x="10342" y="14889"/>
                  <a:pt x="10202" y="15017"/>
                  <a:pt x="10202" y="15177"/>
                </a:cubicBezTo>
                <a:lnTo>
                  <a:pt x="10202" y="16225"/>
                </a:lnTo>
                <a:cubicBezTo>
                  <a:pt x="10202" y="16385"/>
                  <a:pt x="10342" y="16513"/>
                  <a:pt x="10517" y="16513"/>
                </a:cubicBezTo>
                <a:cubicBezTo>
                  <a:pt x="10692" y="16513"/>
                  <a:pt x="10839" y="16385"/>
                  <a:pt x="10839" y="16225"/>
                </a:cubicBezTo>
                <a:lnTo>
                  <a:pt x="10839" y="15177"/>
                </a:lnTo>
                <a:cubicBezTo>
                  <a:pt x="10839" y="15017"/>
                  <a:pt x="10692" y="14889"/>
                  <a:pt x="10517" y="14889"/>
                </a:cubicBezTo>
                <a:close/>
                <a:moveTo>
                  <a:pt x="10524" y="17190"/>
                </a:moveTo>
                <a:cubicBezTo>
                  <a:pt x="10348" y="17190"/>
                  <a:pt x="10202" y="17324"/>
                  <a:pt x="10202" y="17484"/>
                </a:cubicBezTo>
                <a:lnTo>
                  <a:pt x="10202" y="17945"/>
                </a:lnTo>
                <a:cubicBezTo>
                  <a:pt x="9102" y="18106"/>
                  <a:pt x="8358" y="19050"/>
                  <a:pt x="8534" y="20054"/>
                </a:cubicBezTo>
                <a:cubicBezTo>
                  <a:pt x="8691" y="20946"/>
                  <a:pt x="9533" y="21599"/>
                  <a:pt x="10524" y="21600"/>
                </a:cubicBezTo>
                <a:cubicBezTo>
                  <a:pt x="11638" y="21594"/>
                  <a:pt x="12535" y="20771"/>
                  <a:pt x="12533" y="19755"/>
                </a:cubicBezTo>
                <a:cubicBezTo>
                  <a:pt x="12529" y="18849"/>
                  <a:pt x="11806" y="18077"/>
                  <a:pt x="10826" y="17939"/>
                </a:cubicBezTo>
                <a:cubicBezTo>
                  <a:pt x="10826" y="17939"/>
                  <a:pt x="10839" y="17939"/>
                  <a:pt x="10839" y="17939"/>
                </a:cubicBezTo>
                <a:lnTo>
                  <a:pt x="10839" y="17484"/>
                </a:lnTo>
                <a:cubicBezTo>
                  <a:pt x="10839" y="17324"/>
                  <a:pt x="10699" y="17190"/>
                  <a:pt x="10524" y="17190"/>
                </a:cubicBezTo>
                <a:close/>
                <a:moveTo>
                  <a:pt x="10530" y="18496"/>
                </a:moveTo>
                <a:cubicBezTo>
                  <a:pt x="11294" y="18497"/>
                  <a:pt x="11910" y="19063"/>
                  <a:pt x="11909" y="19761"/>
                </a:cubicBezTo>
                <a:cubicBezTo>
                  <a:pt x="11908" y="20456"/>
                  <a:pt x="11293" y="21024"/>
                  <a:pt x="10530" y="21025"/>
                </a:cubicBezTo>
                <a:cubicBezTo>
                  <a:pt x="9766" y="21024"/>
                  <a:pt x="9144" y="20458"/>
                  <a:pt x="9145" y="19761"/>
                </a:cubicBezTo>
                <a:cubicBezTo>
                  <a:pt x="9146" y="19065"/>
                  <a:pt x="9768" y="18497"/>
                  <a:pt x="10530" y="18496"/>
                </a:cubicBezTo>
                <a:close/>
              </a:path>
            </a:pathLst>
          </a:custGeom>
          <a:solidFill>
            <a:srgbClr val="FFFFFF"/>
          </a:solidFill>
          <a:ln w="3175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62083B0B-20C2-1A79-553F-B650AF0F441E}"/>
              </a:ext>
            </a:extLst>
          </p:cNvPr>
          <p:cNvCxnSpPr>
            <a:cxnSpLocks/>
          </p:cNvCxnSpPr>
          <p:nvPr/>
        </p:nvCxnSpPr>
        <p:spPr>
          <a:xfrm>
            <a:off x="305435" y="6227547"/>
            <a:ext cx="6513054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96050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0C068BE-FF4F-ECB1-6C06-9FC7068CA8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3"/>
            <a:ext cx="10765383" cy="707842"/>
          </a:xfrm>
        </p:spPr>
        <p:txBody>
          <a:bodyPr/>
          <a:lstStyle/>
          <a:p>
            <a:r>
              <a:rPr lang="en-US" sz="2400" b="1"/>
              <a:t>Brief de </a:t>
            </a:r>
            <a:r>
              <a:rPr lang="en-US" sz="2400" b="1" err="1"/>
              <a:t>marca</a:t>
            </a:r>
            <a:endParaRPr lang="en-GB" sz="2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1F7ED10-D710-0716-9C27-22D06FB651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82925D-5B90-34A9-BAF6-8AF8153C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ExtraLight" pitchFamily="2" charset="77"/>
                <a:ea typeface="+mn-ea"/>
                <a:cs typeface="Poppins Extra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ExtraLight" pitchFamily="2" charset="77"/>
              <a:ea typeface="+mn-ea"/>
              <a:cs typeface="Poppins ExtraLight" pitchFamily="2" charset="77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79002C5-7D0F-59F9-8F26-A2D349B30C70}"/>
              </a:ext>
            </a:extLst>
          </p:cNvPr>
          <p:cNvGrpSpPr/>
          <p:nvPr/>
        </p:nvGrpSpPr>
        <p:grpSpPr>
          <a:xfrm>
            <a:off x="713308" y="1202465"/>
            <a:ext cx="10765383" cy="852277"/>
            <a:chOff x="713308" y="1445432"/>
            <a:chExt cx="10765383" cy="969180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98F4E12D-1979-A515-105B-CC7C7020D129}"/>
                </a:ext>
              </a:extLst>
            </p:cNvPr>
            <p:cNvSpPr/>
            <p:nvPr/>
          </p:nvSpPr>
          <p:spPr>
            <a:xfrm>
              <a:off x="713308" y="1445432"/>
              <a:ext cx="10765383" cy="96918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467D718-7975-5077-0AC0-8BAEADCA0241}"/>
                </a:ext>
              </a:extLst>
            </p:cNvPr>
            <p:cNvSpPr txBox="1"/>
            <p:nvPr/>
          </p:nvSpPr>
          <p:spPr>
            <a:xfrm>
              <a:off x="848284" y="1559628"/>
              <a:ext cx="10495429" cy="5195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Brand business objectives: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highlight>
                    <a:srgbClr val="FFFF00"/>
                  </a:highlight>
                  <a:uLnTx/>
                  <a:uFillTx/>
                  <a:latin typeface="Poppins-Regular"/>
                  <a:ea typeface="+mn-ea"/>
                  <a:cs typeface="+mn-cs"/>
                </a:rPr>
                <a:t>One sentence description of the campaign’s goal that quantified the success KPIs. To be added from the client brief.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5A2E560-B8A1-CAF8-2A94-CDBF9AB14D16}"/>
              </a:ext>
            </a:extLst>
          </p:cNvPr>
          <p:cNvGrpSpPr/>
          <p:nvPr/>
        </p:nvGrpSpPr>
        <p:grpSpPr>
          <a:xfrm>
            <a:off x="713308" y="2110499"/>
            <a:ext cx="10765383" cy="861123"/>
            <a:chOff x="713308" y="1445432"/>
            <a:chExt cx="10765383" cy="969180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76A2B472-BFEA-4FD5-29AF-1403EC54FB1F}"/>
                </a:ext>
              </a:extLst>
            </p:cNvPr>
            <p:cNvSpPr/>
            <p:nvPr/>
          </p:nvSpPr>
          <p:spPr>
            <a:xfrm>
              <a:off x="713308" y="1445432"/>
              <a:ext cx="10765383" cy="96918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A2B52492-1953-9AF6-465D-04B958682802}"/>
                </a:ext>
              </a:extLst>
            </p:cNvPr>
            <p:cNvSpPr txBox="1"/>
            <p:nvPr/>
          </p:nvSpPr>
          <p:spPr>
            <a:xfrm>
              <a:off x="848284" y="1559629"/>
              <a:ext cx="10495429" cy="6927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Brand marketing objectives: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highlight>
                    <a:srgbClr val="FFFF00"/>
                  </a:highlight>
                  <a:uLnTx/>
                  <a:uFillTx/>
                  <a:latin typeface="Poppins-Regular"/>
                  <a:ea typeface="+mn-ea"/>
                  <a:cs typeface="+mn-cs"/>
                </a:rPr>
                <a:t>What is the brand purpose? Why do we exist? How do we want to be seen as by the target audience?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6385EC7-09E2-CB52-D02D-BDB1DB236A3D}"/>
              </a:ext>
            </a:extLst>
          </p:cNvPr>
          <p:cNvGrpSpPr/>
          <p:nvPr/>
        </p:nvGrpSpPr>
        <p:grpSpPr>
          <a:xfrm>
            <a:off x="713308" y="3936504"/>
            <a:ext cx="5349157" cy="861123"/>
            <a:chOff x="713308" y="1445432"/>
            <a:chExt cx="10765381" cy="969180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4F5EAD44-FED6-E67A-2CEC-C67667234D8A}"/>
                </a:ext>
              </a:extLst>
            </p:cNvPr>
            <p:cNvSpPr/>
            <p:nvPr/>
          </p:nvSpPr>
          <p:spPr>
            <a:xfrm>
              <a:off x="713308" y="1445432"/>
              <a:ext cx="10765381" cy="96918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BD934D58-82FB-DFE7-4F6B-A3297564C599}"/>
                </a:ext>
              </a:extLst>
            </p:cNvPr>
            <p:cNvSpPr txBox="1"/>
            <p:nvPr/>
          </p:nvSpPr>
          <p:spPr>
            <a:xfrm>
              <a:off x="848285" y="1559628"/>
              <a:ext cx="10495429" cy="5022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JTBD: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highlight>
                    <a:srgbClr val="FFFF00"/>
                  </a:highlight>
                  <a:uLnTx/>
                  <a:uFillTx/>
                  <a:latin typeface="Poppins-Regular"/>
                  <a:ea typeface="+mn-ea"/>
                  <a:cs typeface="+mn-cs"/>
                </a:rPr>
                <a:t>Get x, To x, By x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A1F35F1A-FA75-BEBC-6080-234E9704EE37}"/>
              </a:ext>
            </a:extLst>
          </p:cNvPr>
          <p:cNvGrpSpPr/>
          <p:nvPr/>
        </p:nvGrpSpPr>
        <p:grpSpPr>
          <a:xfrm>
            <a:off x="6129533" y="3930884"/>
            <a:ext cx="5349158" cy="861123"/>
            <a:chOff x="713308" y="1445432"/>
            <a:chExt cx="10765383" cy="969180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D47B2259-5F45-8518-2CCE-3FA593EB80A4}"/>
                </a:ext>
              </a:extLst>
            </p:cNvPr>
            <p:cNvSpPr/>
            <p:nvPr/>
          </p:nvSpPr>
          <p:spPr>
            <a:xfrm>
              <a:off x="713308" y="1445432"/>
              <a:ext cx="10765383" cy="96918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54F13C7A-5893-FF25-6987-582D99CDFD6E}"/>
                </a:ext>
              </a:extLst>
            </p:cNvPr>
            <p:cNvSpPr txBox="1"/>
            <p:nvPr/>
          </p:nvSpPr>
          <p:spPr>
            <a:xfrm>
              <a:off x="848285" y="1559628"/>
              <a:ext cx="10495429" cy="6927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Target/Prospect: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highlight>
                    <a:srgbClr val="FFFF00"/>
                  </a:highlight>
                  <a:uLnTx/>
                  <a:uFillTx/>
                  <a:latin typeface="Poppins-Regular"/>
                  <a:ea typeface="+mn-ea"/>
                  <a:cs typeface="+mn-cs"/>
                </a:rPr>
                <a:t>What’s their demographic/Insight of a group we serve? (descriptive behavioral and need states info.)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364A714-76EA-69F9-D493-6AC79BC8A5E4}"/>
              </a:ext>
            </a:extLst>
          </p:cNvPr>
          <p:cNvGrpSpPr/>
          <p:nvPr/>
        </p:nvGrpSpPr>
        <p:grpSpPr>
          <a:xfrm>
            <a:off x="713308" y="4847762"/>
            <a:ext cx="5349158" cy="861123"/>
            <a:chOff x="713308" y="1445432"/>
            <a:chExt cx="10765383" cy="969180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9D098163-E909-7F6F-9492-A0F98282F7D0}"/>
                </a:ext>
              </a:extLst>
            </p:cNvPr>
            <p:cNvSpPr/>
            <p:nvPr/>
          </p:nvSpPr>
          <p:spPr>
            <a:xfrm>
              <a:off x="713308" y="1445432"/>
              <a:ext cx="10765383" cy="96918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E92E0005-706A-F094-CBDB-F4796105CEBA}"/>
                </a:ext>
              </a:extLst>
            </p:cNvPr>
            <p:cNvSpPr txBox="1"/>
            <p:nvPr/>
          </p:nvSpPr>
          <p:spPr>
            <a:xfrm>
              <a:off x="848285" y="1559628"/>
              <a:ext cx="10495429" cy="519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KPIs: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highlight>
                    <a:srgbClr val="FFFF00"/>
                  </a:highlight>
                  <a:uLnTx/>
                  <a:uFillTx/>
                  <a:latin typeface="Poppins-Regular"/>
                  <a:ea typeface="+mn-ea"/>
                  <a:cs typeface="+mn-cs"/>
                </a:rPr>
                <a:t>Add briefed KPIs here; What is the KPI for creative, media or retail?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D9FE2568-2EEF-0F4A-DBD9-A01E02755B77}"/>
              </a:ext>
            </a:extLst>
          </p:cNvPr>
          <p:cNvGrpSpPr/>
          <p:nvPr/>
        </p:nvGrpSpPr>
        <p:grpSpPr>
          <a:xfrm>
            <a:off x="6129533" y="4847762"/>
            <a:ext cx="5349158" cy="861123"/>
            <a:chOff x="794692" y="1445432"/>
            <a:chExt cx="10765383" cy="969180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79F687C2-73A2-A2E9-910C-23435F5B8CD3}"/>
                </a:ext>
              </a:extLst>
            </p:cNvPr>
            <p:cNvSpPr/>
            <p:nvPr/>
          </p:nvSpPr>
          <p:spPr>
            <a:xfrm>
              <a:off x="794692" y="1445432"/>
              <a:ext cx="10765383" cy="96918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20CE37A9-48C1-9FFC-9542-05DDE7C295A2}"/>
                </a:ext>
              </a:extLst>
            </p:cNvPr>
            <p:cNvSpPr txBox="1"/>
            <p:nvPr/>
          </p:nvSpPr>
          <p:spPr>
            <a:xfrm>
              <a:off x="929667" y="1559628"/>
              <a:ext cx="10495429" cy="519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Budget: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highlight>
                    <a:srgbClr val="FFFF00"/>
                  </a:highlight>
                  <a:uLnTx/>
                  <a:uFillTx/>
                  <a:latin typeface="Poppins-Regular"/>
                  <a:ea typeface="+mn-ea"/>
                  <a:cs typeface="+mn-cs"/>
                </a:rPr>
                <a:t>Add budget details here</a:t>
              </a: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E25252F7-8FCC-2FDC-E32D-DBACC08F1B89}"/>
              </a:ext>
            </a:extLst>
          </p:cNvPr>
          <p:cNvSpPr txBox="1"/>
          <p:nvPr/>
        </p:nvSpPr>
        <p:spPr>
          <a:xfrm>
            <a:off x="780376" y="5810349"/>
            <a:ext cx="52150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-Regular"/>
                <a:ea typeface="+mn-ea"/>
                <a:cs typeface="+mn-cs"/>
              </a:rPr>
              <a:t>+ Add any other salient information from the client brief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2C114BF-A741-D881-AE78-01F72F48DB79}"/>
              </a:ext>
            </a:extLst>
          </p:cNvPr>
          <p:cNvGrpSpPr/>
          <p:nvPr/>
        </p:nvGrpSpPr>
        <p:grpSpPr>
          <a:xfrm>
            <a:off x="713308" y="3024760"/>
            <a:ext cx="10765383" cy="861123"/>
            <a:chOff x="713308" y="1445432"/>
            <a:chExt cx="10765383" cy="96918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AD921FB-E784-FA47-DC92-237490676C2C}"/>
                </a:ext>
              </a:extLst>
            </p:cNvPr>
            <p:cNvSpPr/>
            <p:nvPr/>
          </p:nvSpPr>
          <p:spPr>
            <a:xfrm>
              <a:off x="713308" y="1445432"/>
              <a:ext cx="10765383" cy="96918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565F772-1A4D-6E68-ADFA-9CE3711A106B}"/>
                </a:ext>
              </a:extLst>
            </p:cNvPr>
            <p:cNvSpPr txBox="1"/>
            <p:nvPr/>
          </p:nvSpPr>
          <p:spPr>
            <a:xfrm>
              <a:off x="848284" y="1559629"/>
              <a:ext cx="10495429" cy="6927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Communication objectives: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highlight>
                    <a:srgbClr val="FFFF00"/>
                  </a:highlight>
                  <a:uLnTx/>
                  <a:uFillTx/>
                  <a:latin typeface="Poppins-Regular"/>
                  <a:ea typeface="+mn-ea"/>
                  <a:cs typeface="+mn-cs"/>
                </a:rPr>
                <a:t>What is the communication purpose? What and how do we want to influence the audience?   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</p:grpSp>
      <p:grpSp>
        <p:nvGrpSpPr>
          <p:cNvPr id="5" name="Group 16">
            <a:extLst>
              <a:ext uri="{FF2B5EF4-FFF2-40B4-BE49-F238E27FC236}">
                <a16:creationId xmlns:a16="http://schemas.microsoft.com/office/drawing/2014/main" id="{694C4FEE-C801-2F91-FC0B-592A6C215BD7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5">
              <a:extLst>
                <a:ext uri="{FF2B5EF4-FFF2-40B4-BE49-F238E27FC236}">
                  <a16:creationId xmlns:a16="http://schemas.microsoft.com/office/drawing/2014/main" id="{98131FED-5F20-91E0-9F98-4FE91EC3C04E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4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9" name="Oval 18">
              <a:extLst>
                <a:ext uri="{FF2B5EF4-FFF2-40B4-BE49-F238E27FC236}">
                  <a16:creationId xmlns:a16="http://schemas.microsoft.com/office/drawing/2014/main" id="{B9DDBAAA-4E1E-564D-5B0F-43EAD5C5391C}"/>
                </a:ext>
              </a:extLst>
            </p:cNvPr>
            <p:cNvSpPr/>
            <p:nvPr/>
          </p:nvSpPr>
          <p:spPr>
            <a:xfrm>
              <a:off x="10366304" y="136553"/>
              <a:ext cx="283585" cy="28358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13" name="TextBox 19">
              <a:extLst>
                <a:ext uri="{FF2B5EF4-FFF2-40B4-BE49-F238E27FC236}">
                  <a16:creationId xmlns:a16="http://schemas.microsoft.com/office/drawing/2014/main" id="{41E0C889-1347-FDEF-3388-4DAA8022B364}"/>
                </a:ext>
              </a:extLst>
            </p:cNvPr>
            <p:cNvSpPr txBox="1"/>
            <p:nvPr/>
          </p:nvSpPr>
          <p:spPr>
            <a:xfrm>
              <a:off x="10640364" y="124456"/>
              <a:ext cx="1132041" cy="30777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61E1E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Estrategia</a:t>
              </a:r>
              <a:endPara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61E1E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endParaRPr>
            </a:p>
          </p:txBody>
        </p:sp>
        <p:sp>
          <p:nvSpPr>
            <p:cNvPr id="14" name="Google Shape;1124;p39">
              <a:extLst>
                <a:ext uri="{FF2B5EF4-FFF2-40B4-BE49-F238E27FC236}">
                  <a16:creationId xmlns:a16="http://schemas.microsoft.com/office/drawing/2014/main" id="{D792ED28-9132-D10C-6324-1A810699E95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17368" y="177814"/>
              <a:ext cx="184632" cy="2077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35" h="21600" extrusionOk="0">
                  <a:moveTo>
                    <a:pt x="10517" y="0"/>
                  </a:moveTo>
                  <a:cubicBezTo>
                    <a:pt x="9403" y="6"/>
                    <a:pt x="8505" y="835"/>
                    <a:pt x="8508" y="1851"/>
                  </a:cubicBezTo>
                  <a:cubicBezTo>
                    <a:pt x="8512" y="2757"/>
                    <a:pt x="9235" y="3523"/>
                    <a:pt x="10215" y="3661"/>
                  </a:cubicBezTo>
                  <a:cubicBezTo>
                    <a:pt x="10215" y="3661"/>
                    <a:pt x="10195" y="3661"/>
                    <a:pt x="10195" y="3661"/>
                  </a:cubicBezTo>
                  <a:lnTo>
                    <a:pt x="10195" y="4122"/>
                  </a:lnTo>
                  <a:cubicBezTo>
                    <a:pt x="10195" y="4282"/>
                    <a:pt x="10342" y="4410"/>
                    <a:pt x="10517" y="4410"/>
                  </a:cubicBezTo>
                  <a:cubicBezTo>
                    <a:pt x="10692" y="4410"/>
                    <a:pt x="10832" y="4282"/>
                    <a:pt x="10832" y="4122"/>
                  </a:cubicBezTo>
                  <a:lnTo>
                    <a:pt x="10832" y="3661"/>
                  </a:lnTo>
                  <a:cubicBezTo>
                    <a:pt x="11932" y="3500"/>
                    <a:pt x="12683" y="2556"/>
                    <a:pt x="12506" y="1552"/>
                  </a:cubicBezTo>
                  <a:cubicBezTo>
                    <a:pt x="12350" y="660"/>
                    <a:pt x="11507" y="1"/>
                    <a:pt x="10517" y="0"/>
                  </a:cubicBezTo>
                  <a:close/>
                  <a:moveTo>
                    <a:pt x="10510" y="581"/>
                  </a:moveTo>
                  <a:cubicBezTo>
                    <a:pt x="11274" y="582"/>
                    <a:pt x="11890" y="1148"/>
                    <a:pt x="11889" y="1845"/>
                  </a:cubicBezTo>
                  <a:cubicBezTo>
                    <a:pt x="11888" y="2541"/>
                    <a:pt x="11273" y="3109"/>
                    <a:pt x="10510" y="3110"/>
                  </a:cubicBezTo>
                  <a:cubicBezTo>
                    <a:pt x="9746" y="3109"/>
                    <a:pt x="9124" y="2543"/>
                    <a:pt x="9125" y="1845"/>
                  </a:cubicBezTo>
                  <a:cubicBezTo>
                    <a:pt x="9126" y="1150"/>
                    <a:pt x="9748" y="582"/>
                    <a:pt x="10510" y="581"/>
                  </a:cubicBezTo>
                  <a:close/>
                  <a:moveTo>
                    <a:pt x="2028" y="4482"/>
                  </a:moveTo>
                  <a:cubicBezTo>
                    <a:pt x="1321" y="4478"/>
                    <a:pt x="641" y="4818"/>
                    <a:pt x="269" y="5404"/>
                  </a:cubicBezTo>
                  <a:cubicBezTo>
                    <a:pt x="-283" y="6288"/>
                    <a:pt x="51" y="7415"/>
                    <a:pt x="1017" y="7921"/>
                  </a:cubicBezTo>
                  <a:cubicBezTo>
                    <a:pt x="1878" y="8371"/>
                    <a:pt x="2969" y="8177"/>
                    <a:pt x="3591" y="7472"/>
                  </a:cubicBezTo>
                  <a:cubicBezTo>
                    <a:pt x="3591" y="7472"/>
                    <a:pt x="3584" y="7484"/>
                    <a:pt x="3584" y="7484"/>
                  </a:cubicBezTo>
                  <a:lnTo>
                    <a:pt x="4017" y="7717"/>
                  </a:lnTo>
                  <a:cubicBezTo>
                    <a:pt x="4169" y="7797"/>
                    <a:pt x="4363" y="7748"/>
                    <a:pt x="4451" y="7609"/>
                  </a:cubicBezTo>
                  <a:cubicBezTo>
                    <a:pt x="4538" y="7471"/>
                    <a:pt x="4491" y="7294"/>
                    <a:pt x="4339" y="7214"/>
                  </a:cubicBezTo>
                  <a:lnTo>
                    <a:pt x="3899" y="6980"/>
                  </a:lnTo>
                  <a:cubicBezTo>
                    <a:pt x="4297" y="6030"/>
                    <a:pt x="3778" y="4970"/>
                    <a:pt x="2737" y="4608"/>
                  </a:cubicBezTo>
                  <a:cubicBezTo>
                    <a:pt x="2506" y="4527"/>
                    <a:pt x="2264" y="4483"/>
                    <a:pt x="2028" y="4482"/>
                  </a:cubicBezTo>
                  <a:close/>
                  <a:moveTo>
                    <a:pt x="18763" y="4500"/>
                  </a:moveTo>
                  <a:cubicBezTo>
                    <a:pt x="18503" y="4530"/>
                    <a:pt x="18249" y="4606"/>
                    <a:pt x="18008" y="4733"/>
                  </a:cubicBezTo>
                  <a:cubicBezTo>
                    <a:pt x="17151" y="5189"/>
                    <a:pt x="16782" y="6148"/>
                    <a:pt x="17141" y="6992"/>
                  </a:cubicBezTo>
                  <a:cubicBezTo>
                    <a:pt x="17141" y="6992"/>
                    <a:pt x="17135" y="6980"/>
                    <a:pt x="17135" y="6980"/>
                  </a:cubicBezTo>
                  <a:lnTo>
                    <a:pt x="16695" y="7208"/>
                  </a:lnTo>
                  <a:cubicBezTo>
                    <a:pt x="16543" y="7288"/>
                    <a:pt x="16496" y="7465"/>
                    <a:pt x="16583" y="7603"/>
                  </a:cubicBezTo>
                  <a:cubicBezTo>
                    <a:pt x="16671" y="7742"/>
                    <a:pt x="16865" y="7791"/>
                    <a:pt x="17017" y="7711"/>
                  </a:cubicBezTo>
                  <a:lnTo>
                    <a:pt x="17450" y="7478"/>
                  </a:lnTo>
                  <a:cubicBezTo>
                    <a:pt x="18152" y="8267"/>
                    <a:pt x="19428" y="8388"/>
                    <a:pt x="20293" y="7747"/>
                  </a:cubicBezTo>
                  <a:cubicBezTo>
                    <a:pt x="21061" y="7177"/>
                    <a:pt x="21260" y="6181"/>
                    <a:pt x="20765" y="5399"/>
                  </a:cubicBezTo>
                  <a:cubicBezTo>
                    <a:pt x="20343" y="4740"/>
                    <a:pt x="19543" y="4409"/>
                    <a:pt x="18763" y="4500"/>
                  </a:cubicBezTo>
                  <a:close/>
                  <a:moveTo>
                    <a:pt x="18842" y="5063"/>
                  </a:moveTo>
                  <a:cubicBezTo>
                    <a:pt x="19376" y="5003"/>
                    <a:pt x="19927" y="5234"/>
                    <a:pt x="20214" y="5686"/>
                  </a:cubicBezTo>
                  <a:cubicBezTo>
                    <a:pt x="20595" y="6290"/>
                    <a:pt x="20364" y="7058"/>
                    <a:pt x="19702" y="7406"/>
                  </a:cubicBezTo>
                  <a:cubicBezTo>
                    <a:pt x="19041" y="7753"/>
                    <a:pt x="18200" y="7547"/>
                    <a:pt x="17817" y="6944"/>
                  </a:cubicBezTo>
                  <a:cubicBezTo>
                    <a:pt x="17436" y="6340"/>
                    <a:pt x="17661" y="5573"/>
                    <a:pt x="18323" y="5225"/>
                  </a:cubicBezTo>
                  <a:cubicBezTo>
                    <a:pt x="18488" y="5138"/>
                    <a:pt x="18664" y="5083"/>
                    <a:pt x="18842" y="5063"/>
                  </a:cubicBezTo>
                  <a:close/>
                  <a:moveTo>
                    <a:pt x="2186" y="5081"/>
                  </a:moveTo>
                  <a:cubicBezTo>
                    <a:pt x="2364" y="5101"/>
                    <a:pt x="2539" y="5155"/>
                    <a:pt x="2704" y="5243"/>
                  </a:cubicBezTo>
                  <a:cubicBezTo>
                    <a:pt x="3364" y="5592"/>
                    <a:pt x="3590" y="6359"/>
                    <a:pt x="3210" y="6962"/>
                  </a:cubicBezTo>
                  <a:cubicBezTo>
                    <a:pt x="2827" y="7566"/>
                    <a:pt x="1980" y="7773"/>
                    <a:pt x="1319" y="7424"/>
                  </a:cubicBezTo>
                  <a:cubicBezTo>
                    <a:pt x="659" y="7075"/>
                    <a:pt x="433" y="6301"/>
                    <a:pt x="814" y="5698"/>
                  </a:cubicBezTo>
                  <a:cubicBezTo>
                    <a:pt x="1101" y="5246"/>
                    <a:pt x="1651" y="5020"/>
                    <a:pt x="2186" y="5081"/>
                  </a:cubicBezTo>
                  <a:close/>
                  <a:moveTo>
                    <a:pt x="10517" y="5081"/>
                  </a:moveTo>
                  <a:cubicBezTo>
                    <a:pt x="10342" y="5081"/>
                    <a:pt x="10202" y="5215"/>
                    <a:pt x="10202" y="5375"/>
                  </a:cubicBezTo>
                  <a:lnTo>
                    <a:pt x="10202" y="6417"/>
                  </a:lnTo>
                  <a:cubicBezTo>
                    <a:pt x="10202" y="6577"/>
                    <a:pt x="10342" y="6705"/>
                    <a:pt x="10517" y="6705"/>
                  </a:cubicBezTo>
                  <a:cubicBezTo>
                    <a:pt x="10692" y="6705"/>
                    <a:pt x="10839" y="6577"/>
                    <a:pt x="10839" y="6417"/>
                  </a:cubicBezTo>
                  <a:lnTo>
                    <a:pt x="10839" y="5375"/>
                  </a:lnTo>
                  <a:cubicBezTo>
                    <a:pt x="10839" y="5215"/>
                    <a:pt x="10692" y="5081"/>
                    <a:pt x="10517" y="5081"/>
                  </a:cubicBezTo>
                  <a:close/>
                  <a:moveTo>
                    <a:pt x="10530" y="7388"/>
                  </a:moveTo>
                  <a:cubicBezTo>
                    <a:pt x="10355" y="7388"/>
                    <a:pt x="10215" y="7515"/>
                    <a:pt x="10215" y="7675"/>
                  </a:cubicBezTo>
                  <a:lnTo>
                    <a:pt x="10215" y="8113"/>
                  </a:lnTo>
                  <a:lnTo>
                    <a:pt x="9322" y="8113"/>
                  </a:lnTo>
                  <a:cubicBezTo>
                    <a:pt x="8639" y="8113"/>
                    <a:pt x="8046" y="8470"/>
                    <a:pt x="7760" y="8994"/>
                  </a:cubicBezTo>
                  <a:lnTo>
                    <a:pt x="7399" y="8802"/>
                  </a:lnTo>
                  <a:cubicBezTo>
                    <a:pt x="7247" y="8721"/>
                    <a:pt x="7054" y="8772"/>
                    <a:pt x="6965" y="8910"/>
                  </a:cubicBezTo>
                  <a:cubicBezTo>
                    <a:pt x="6877" y="9048"/>
                    <a:pt x="6925" y="9224"/>
                    <a:pt x="7077" y="9305"/>
                  </a:cubicBezTo>
                  <a:lnTo>
                    <a:pt x="7576" y="9575"/>
                  </a:lnTo>
                  <a:cubicBezTo>
                    <a:pt x="7572" y="9618"/>
                    <a:pt x="7576" y="9662"/>
                    <a:pt x="7576" y="9707"/>
                  </a:cubicBezTo>
                  <a:lnTo>
                    <a:pt x="7576" y="11893"/>
                  </a:lnTo>
                  <a:cubicBezTo>
                    <a:pt x="7576" y="11938"/>
                    <a:pt x="7572" y="11982"/>
                    <a:pt x="7576" y="12025"/>
                  </a:cubicBezTo>
                  <a:lnTo>
                    <a:pt x="7077" y="12295"/>
                  </a:lnTo>
                  <a:cubicBezTo>
                    <a:pt x="6925" y="12376"/>
                    <a:pt x="6877" y="12552"/>
                    <a:pt x="6965" y="12690"/>
                  </a:cubicBezTo>
                  <a:cubicBezTo>
                    <a:pt x="7024" y="12783"/>
                    <a:pt x="7132" y="12834"/>
                    <a:pt x="7241" y="12834"/>
                  </a:cubicBezTo>
                  <a:cubicBezTo>
                    <a:pt x="7295" y="12834"/>
                    <a:pt x="7348" y="12819"/>
                    <a:pt x="7399" y="12792"/>
                  </a:cubicBezTo>
                  <a:lnTo>
                    <a:pt x="7760" y="12606"/>
                  </a:lnTo>
                  <a:cubicBezTo>
                    <a:pt x="8046" y="13130"/>
                    <a:pt x="8639" y="13487"/>
                    <a:pt x="9322" y="13487"/>
                  </a:cubicBezTo>
                  <a:lnTo>
                    <a:pt x="10215" y="13487"/>
                  </a:lnTo>
                  <a:lnTo>
                    <a:pt x="10215" y="13925"/>
                  </a:lnTo>
                  <a:cubicBezTo>
                    <a:pt x="10215" y="14085"/>
                    <a:pt x="10355" y="14212"/>
                    <a:pt x="10530" y="14212"/>
                  </a:cubicBezTo>
                  <a:cubicBezTo>
                    <a:pt x="10705" y="14212"/>
                    <a:pt x="10845" y="14085"/>
                    <a:pt x="10845" y="13925"/>
                  </a:cubicBezTo>
                  <a:lnTo>
                    <a:pt x="10845" y="13487"/>
                  </a:lnTo>
                  <a:lnTo>
                    <a:pt x="11718" y="13487"/>
                  </a:lnTo>
                  <a:cubicBezTo>
                    <a:pt x="12402" y="13487"/>
                    <a:pt x="12995" y="13130"/>
                    <a:pt x="13281" y="12606"/>
                  </a:cubicBezTo>
                  <a:lnTo>
                    <a:pt x="13635" y="12792"/>
                  </a:lnTo>
                  <a:cubicBezTo>
                    <a:pt x="13686" y="12819"/>
                    <a:pt x="13745" y="12834"/>
                    <a:pt x="13800" y="12834"/>
                  </a:cubicBezTo>
                  <a:cubicBezTo>
                    <a:pt x="13909" y="12834"/>
                    <a:pt x="14016" y="12783"/>
                    <a:pt x="14075" y="12690"/>
                  </a:cubicBezTo>
                  <a:cubicBezTo>
                    <a:pt x="14164" y="12552"/>
                    <a:pt x="14115" y="12376"/>
                    <a:pt x="13964" y="12295"/>
                  </a:cubicBezTo>
                  <a:lnTo>
                    <a:pt x="13458" y="12025"/>
                  </a:lnTo>
                  <a:cubicBezTo>
                    <a:pt x="13462" y="11982"/>
                    <a:pt x="13465" y="11938"/>
                    <a:pt x="13465" y="11893"/>
                  </a:cubicBezTo>
                  <a:lnTo>
                    <a:pt x="13465" y="9707"/>
                  </a:lnTo>
                  <a:cubicBezTo>
                    <a:pt x="13465" y="9662"/>
                    <a:pt x="13462" y="9618"/>
                    <a:pt x="13458" y="9575"/>
                  </a:cubicBezTo>
                  <a:lnTo>
                    <a:pt x="13964" y="9305"/>
                  </a:lnTo>
                  <a:cubicBezTo>
                    <a:pt x="14115" y="9224"/>
                    <a:pt x="14164" y="9048"/>
                    <a:pt x="14075" y="8910"/>
                  </a:cubicBezTo>
                  <a:cubicBezTo>
                    <a:pt x="13987" y="8772"/>
                    <a:pt x="13787" y="8721"/>
                    <a:pt x="13635" y="8802"/>
                  </a:cubicBezTo>
                  <a:lnTo>
                    <a:pt x="13281" y="8994"/>
                  </a:lnTo>
                  <a:cubicBezTo>
                    <a:pt x="12995" y="8470"/>
                    <a:pt x="12402" y="8113"/>
                    <a:pt x="11718" y="8113"/>
                  </a:cubicBezTo>
                  <a:lnTo>
                    <a:pt x="10845" y="8113"/>
                  </a:lnTo>
                  <a:lnTo>
                    <a:pt x="10845" y="7675"/>
                  </a:lnTo>
                  <a:cubicBezTo>
                    <a:pt x="10845" y="7515"/>
                    <a:pt x="10705" y="7388"/>
                    <a:pt x="10530" y="7388"/>
                  </a:cubicBezTo>
                  <a:close/>
                  <a:moveTo>
                    <a:pt x="5160" y="7687"/>
                  </a:moveTo>
                  <a:cubicBezTo>
                    <a:pt x="5081" y="7706"/>
                    <a:pt x="5007" y="7756"/>
                    <a:pt x="4963" y="7825"/>
                  </a:cubicBezTo>
                  <a:cubicBezTo>
                    <a:pt x="4874" y="7963"/>
                    <a:pt x="4923" y="8145"/>
                    <a:pt x="5074" y="8227"/>
                  </a:cubicBezTo>
                  <a:lnTo>
                    <a:pt x="6059" y="8754"/>
                  </a:lnTo>
                  <a:cubicBezTo>
                    <a:pt x="6210" y="8835"/>
                    <a:pt x="6410" y="8790"/>
                    <a:pt x="6499" y="8652"/>
                  </a:cubicBezTo>
                  <a:cubicBezTo>
                    <a:pt x="6588" y="8514"/>
                    <a:pt x="6532" y="8332"/>
                    <a:pt x="6381" y="8251"/>
                  </a:cubicBezTo>
                  <a:lnTo>
                    <a:pt x="5396" y="7723"/>
                  </a:lnTo>
                  <a:cubicBezTo>
                    <a:pt x="5321" y="7683"/>
                    <a:pt x="5238" y="7669"/>
                    <a:pt x="5160" y="7687"/>
                  </a:cubicBezTo>
                  <a:close/>
                  <a:moveTo>
                    <a:pt x="15881" y="7687"/>
                  </a:moveTo>
                  <a:cubicBezTo>
                    <a:pt x="15802" y="7669"/>
                    <a:pt x="15720" y="7683"/>
                    <a:pt x="15644" y="7723"/>
                  </a:cubicBezTo>
                  <a:lnTo>
                    <a:pt x="14653" y="8251"/>
                  </a:lnTo>
                  <a:cubicBezTo>
                    <a:pt x="14502" y="8332"/>
                    <a:pt x="14453" y="8514"/>
                    <a:pt x="14541" y="8652"/>
                  </a:cubicBezTo>
                  <a:cubicBezTo>
                    <a:pt x="14630" y="8790"/>
                    <a:pt x="14824" y="8835"/>
                    <a:pt x="14975" y="8754"/>
                  </a:cubicBezTo>
                  <a:lnTo>
                    <a:pt x="15966" y="8227"/>
                  </a:lnTo>
                  <a:cubicBezTo>
                    <a:pt x="16117" y="8145"/>
                    <a:pt x="16160" y="7963"/>
                    <a:pt x="16071" y="7825"/>
                  </a:cubicBezTo>
                  <a:cubicBezTo>
                    <a:pt x="16027" y="7756"/>
                    <a:pt x="15959" y="7706"/>
                    <a:pt x="15881" y="7687"/>
                  </a:cubicBezTo>
                  <a:close/>
                  <a:moveTo>
                    <a:pt x="9322" y="8688"/>
                  </a:moveTo>
                  <a:lnTo>
                    <a:pt x="11718" y="8688"/>
                  </a:lnTo>
                  <a:cubicBezTo>
                    <a:pt x="12331" y="8688"/>
                    <a:pt x="12828" y="9147"/>
                    <a:pt x="12828" y="9707"/>
                  </a:cubicBezTo>
                  <a:lnTo>
                    <a:pt x="12828" y="11893"/>
                  </a:lnTo>
                  <a:cubicBezTo>
                    <a:pt x="12828" y="12452"/>
                    <a:pt x="12331" y="12906"/>
                    <a:pt x="11718" y="12906"/>
                  </a:cubicBezTo>
                  <a:lnTo>
                    <a:pt x="9322" y="12906"/>
                  </a:lnTo>
                  <a:cubicBezTo>
                    <a:pt x="8710" y="12906"/>
                    <a:pt x="8206" y="12452"/>
                    <a:pt x="8206" y="11893"/>
                  </a:cubicBezTo>
                  <a:lnTo>
                    <a:pt x="8206" y="9707"/>
                  </a:lnTo>
                  <a:cubicBezTo>
                    <a:pt x="8206" y="9147"/>
                    <a:pt x="8710" y="8688"/>
                    <a:pt x="9322" y="8688"/>
                  </a:cubicBezTo>
                  <a:close/>
                  <a:moveTo>
                    <a:pt x="6302" y="12816"/>
                  </a:moveTo>
                  <a:cubicBezTo>
                    <a:pt x="6224" y="12798"/>
                    <a:pt x="6135" y="12806"/>
                    <a:pt x="6059" y="12846"/>
                  </a:cubicBezTo>
                  <a:lnTo>
                    <a:pt x="5074" y="13373"/>
                  </a:lnTo>
                  <a:cubicBezTo>
                    <a:pt x="4923" y="13455"/>
                    <a:pt x="4874" y="13637"/>
                    <a:pt x="4963" y="13775"/>
                  </a:cubicBezTo>
                  <a:cubicBezTo>
                    <a:pt x="5052" y="13913"/>
                    <a:pt x="5245" y="13958"/>
                    <a:pt x="5396" y="13877"/>
                  </a:cubicBezTo>
                  <a:lnTo>
                    <a:pt x="6381" y="13349"/>
                  </a:lnTo>
                  <a:cubicBezTo>
                    <a:pt x="6532" y="13268"/>
                    <a:pt x="6588" y="13086"/>
                    <a:pt x="6499" y="12948"/>
                  </a:cubicBezTo>
                  <a:cubicBezTo>
                    <a:pt x="6455" y="12879"/>
                    <a:pt x="6381" y="12835"/>
                    <a:pt x="6302" y="12816"/>
                  </a:cubicBezTo>
                  <a:close/>
                  <a:moveTo>
                    <a:pt x="14732" y="12816"/>
                  </a:moveTo>
                  <a:cubicBezTo>
                    <a:pt x="14653" y="12835"/>
                    <a:pt x="14586" y="12879"/>
                    <a:pt x="14541" y="12948"/>
                  </a:cubicBezTo>
                  <a:cubicBezTo>
                    <a:pt x="14452" y="13086"/>
                    <a:pt x="14502" y="13268"/>
                    <a:pt x="14653" y="13349"/>
                  </a:cubicBezTo>
                  <a:lnTo>
                    <a:pt x="15644" y="13877"/>
                  </a:lnTo>
                  <a:cubicBezTo>
                    <a:pt x="15795" y="13958"/>
                    <a:pt x="15982" y="13913"/>
                    <a:pt x="16071" y="13775"/>
                  </a:cubicBezTo>
                  <a:cubicBezTo>
                    <a:pt x="16160" y="13637"/>
                    <a:pt x="16117" y="13455"/>
                    <a:pt x="15966" y="13373"/>
                  </a:cubicBezTo>
                  <a:lnTo>
                    <a:pt x="14975" y="12846"/>
                  </a:lnTo>
                  <a:cubicBezTo>
                    <a:pt x="14899" y="12806"/>
                    <a:pt x="14810" y="12798"/>
                    <a:pt x="14732" y="12816"/>
                  </a:cubicBezTo>
                  <a:close/>
                  <a:moveTo>
                    <a:pt x="2225" y="13451"/>
                  </a:moveTo>
                  <a:cubicBezTo>
                    <a:pt x="1712" y="13403"/>
                    <a:pt x="1180" y="13538"/>
                    <a:pt x="748" y="13859"/>
                  </a:cubicBezTo>
                  <a:cubicBezTo>
                    <a:pt x="-20" y="14429"/>
                    <a:pt x="-226" y="15419"/>
                    <a:pt x="269" y="16201"/>
                  </a:cubicBezTo>
                  <a:cubicBezTo>
                    <a:pt x="831" y="17079"/>
                    <a:pt x="2069" y="17377"/>
                    <a:pt x="3033" y="16867"/>
                  </a:cubicBezTo>
                  <a:cubicBezTo>
                    <a:pt x="3890" y="16411"/>
                    <a:pt x="4258" y="15458"/>
                    <a:pt x="3899" y="14614"/>
                  </a:cubicBezTo>
                  <a:cubicBezTo>
                    <a:pt x="3899" y="14614"/>
                    <a:pt x="3906" y="14626"/>
                    <a:pt x="3906" y="14626"/>
                  </a:cubicBezTo>
                  <a:lnTo>
                    <a:pt x="4339" y="14398"/>
                  </a:lnTo>
                  <a:cubicBezTo>
                    <a:pt x="4491" y="14318"/>
                    <a:pt x="4545" y="14135"/>
                    <a:pt x="4457" y="13997"/>
                  </a:cubicBezTo>
                  <a:cubicBezTo>
                    <a:pt x="4370" y="13858"/>
                    <a:pt x="4176" y="13815"/>
                    <a:pt x="4024" y="13895"/>
                  </a:cubicBezTo>
                  <a:lnTo>
                    <a:pt x="3584" y="14122"/>
                  </a:lnTo>
                  <a:cubicBezTo>
                    <a:pt x="3233" y="13728"/>
                    <a:pt x="2739" y="13500"/>
                    <a:pt x="2225" y="13451"/>
                  </a:cubicBezTo>
                  <a:close/>
                  <a:moveTo>
                    <a:pt x="19341" y="13469"/>
                  </a:moveTo>
                  <a:cubicBezTo>
                    <a:pt x="18641" y="13366"/>
                    <a:pt x="17909" y="13599"/>
                    <a:pt x="17443" y="14128"/>
                  </a:cubicBezTo>
                  <a:cubicBezTo>
                    <a:pt x="17443" y="14128"/>
                    <a:pt x="17450" y="14116"/>
                    <a:pt x="17450" y="14116"/>
                  </a:cubicBezTo>
                  <a:lnTo>
                    <a:pt x="17017" y="13889"/>
                  </a:lnTo>
                  <a:cubicBezTo>
                    <a:pt x="16865" y="13809"/>
                    <a:pt x="16671" y="13858"/>
                    <a:pt x="16583" y="13997"/>
                  </a:cubicBezTo>
                  <a:cubicBezTo>
                    <a:pt x="16496" y="14135"/>
                    <a:pt x="16549" y="14312"/>
                    <a:pt x="16701" y="14392"/>
                  </a:cubicBezTo>
                  <a:lnTo>
                    <a:pt x="17135" y="14620"/>
                  </a:lnTo>
                  <a:cubicBezTo>
                    <a:pt x="16737" y="15570"/>
                    <a:pt x="17263" y="16636"/>
                    <a:pt x="18303" y="16998"/>
                  </a:cubicBezTo>
                  <a:cubicBezTo>
                    <a:pt x="19228" y="17321"/>
                    <a:pt x="20269" y="16984"/>
                    <a:pt x="20765" y="16201"/>
                  </a:cubicBezTo>
                  <a:cubicBezTo>
                    <a:pt x="21317" y="15318"/>
                    <a:pt x="20983" y="14191"/>
                    <a:pt x="20017" y="13685"/>
                  </a:cubicBezTo>
                  <a:cubicBezTo>
                    <a:pt x="19802" y="13573"/>
                    <a:pt x="19574" y="13504"/>
                    <a:pt x="19341" y="13469"/>
                  </a:cubicBezTo>
                  <a:close/>
                  <a:moveTo>
                    <a:pt x="19196" y="14021"/>
                  </a:moveTo>
                  <a:cubicBezTo>
                    <a:pt x="19374" y="14041"/>
                    <a:pt x="19550" y="14095"/>
                    <a:pt x="19715" y="14182"/>
                  </a:cubicBezTo>
                  <a:cubicBezTo>
                    <a:pt x="20375" y="14531"/>
                    <a:pt x="20601" y="15299"/>
                    <a:pt x="20220" y="15902"/>
                  </a:cubicBezTo>
                  <a:cubicBezTo>
                    <a:pt x="19837" y="16505"/>
                    <a:pt x="18991" y="16713"/>
                    <a:pt x="18330" y="16363"/>
                  </a:cubicBezTo>
                  <a:cubicBezTo>
                    <a:pt x="17670" y="16014"/>
                    <a:pt x="17444" y="15247"/>
                    <a:pt x="17824" y="14644"/>
                  </a:cubicBezTo>
                  <a:cubicBezTo>
                    <a:pt x="18111" y="14191"/>
                    <a:pt x="18661" y="13959"/>
                    <a:pt x="19196" y="14021"/>
                  </a:cubicBezTo>
                  <a:close/>
                  <a:moveTo>
                    <a:pt x="1858" y="14039"/>
                  </a:moveTo>
                  <a:cubicBezTo>
                    <a:pt x="2392" y="13978"/>
                    <a:pt x="2936" y="14204"/>
                    <a:pt x="3223" y="14656"/>
                  </a:cubicBezTo>
                  <a:cubicBezTo>
                    <a:pt x="3604" y="15260"/>
                    <a:pt x="3373" y="16033"/>
                    <a:pt x="2711" y="16381"/>
                  </a:cubicBezTo>
                  <a:cubicBezTo>
                    <a:pt x="2050" y="16728"/>
                    <a:pt x="1209" y="16522"/>
                    <a:pt x="827" y="15920"/>
                  </a:cubicBezTo>
                  <a:cubicBezTo>
                    <a:pt x="446" y="15316"/>
                    <a:pt x="670" y="14542"/>
                    <a:pt x="1332" y="14194"/>
                  </a:cubicBezTo>
                  <a:cubicBezTo>
                    <a:pt x="1498" y="14108"/>
                    <a:pt x="1680" y="14059"/>
                    <a:pt x="1858" y="14039"/>
                  </a:cubicBezTo>
                  <a:close/>
                  <a:moveTo>
                    <a:pt x="10517" y="14889"/>
                  </a:moveTo>
                  <a:cubicBezTo>
                    <a:pt x="10342" y="14889"/>
                    <a:pt x="10202" y="15017"/>
                    <a:pt x="10202" y="15177"/>
                  </a:cubicBezTo>
                  <a:lnTo>
                    <a:pt x="10202" y="16225"/>
                  </a:lnTo>
                  <a:cubicBezTo>
                    <a:pt x="10202" y="16385"/>
                    <a:pt x="10342" y="16513"/>
                    <a:pt x="10517" y="16513"/>
                  </a:cubicBezTo>
                  <a:cubicBezTo>
                    <a:pt x="10692" y="16513"/>
                    <a:pt x="10839" y="16385"/>
                    <a:pt x="10839" y="16225"/>
                  </a:cubicBezTo>
                  <a:lnTo>
                    <a:pt x="10839" y="15177"/>
                  </a:lnTo>
                  <a:cubicBezTo>
                    <a:pt x="10839" y="15017"/>
                    <a:pt x="10692" y="14889"/>
                    <a:pt x="10517" y="14889"/>
                  </a:cubicBezTo>
                  <a:close/>
                  <a:moveTo>
                    <a:pt x="10524" y="17190"/>
                  </a:moveTo>
                  <a:cubicBezTo>
                    <a:pt x="10348" y="17190"/>
                    <a:pt x="10202" y="17324"/>
                    <a:pt x="10202" y="17484"/>
                  </a:cubicBezTo>
                  <a:lnTo>
                    <a:pt x="10202" y="17945"/>
                  </a:lnTo>
                  <a:cubicBezTo>
                    <a:pt x="9102" y="18106"/>
                    <a:pt x="8358" y="19050"/>
                    <a:pt x="8534" y="20054"/>
                  </a:cubicBezTo>
                  <a:cubicBezTo>
                    <a:pt x="8691" y="20946"/>
                    <a:pt x="9533" y="21599"/>
                    <a:pt x="10524" y="21600"/>
                  </a:cubicBezTo>
                  <a:cubicBezTo>
                    <a:pt x="11638" y="21594"/>
                    <a:pt x="12535" y="20771"/>
                    <a:pt x="12533" y="19755"/>
                  </a:cubicBezTo>
                  <a:cubicBezTo>
                    <a:pt x="12529" y="18849"/>
                    <a:pt x="11806" y="18077"/>
                    <a:pt x="10826" y="17939"/>
                  </a:cubicBezTo>
                  <a:cubicBezTo>
                    <a:pt x="10826" y="17939"/>
                    <a:pt x="10839" y="17939"/>
                    <a:pt x="10839" y="17939"/>
                  </a:cubicBezTo>
                  <a:lnTo>
                    <a:pt x="10839" y="17484"/>
                  </a:lnTo>
                  <a:cubicBezTo>
                    <a:pt x="10839" y="17324"/>
                    <a:pt x="10699" y="17190"/>
                    <a:pt x="10524" y="17190"/>
                  </a:cubicBezTo>
                  <a:close/>
                  <a:moveTo>
                    <a:pt x="10530" y="18496"/>
                  </a:moveTo>
                  <a:cubicBezTo>
                    <a:pt x="11294" y="18497"/>
                    <a:pt x="11910" y="19063"/>
                    <a:pt x="11909" y="19761"/>
                  </a:cubicBezTo>
                  <a:cubicBezTo>
                    <a:pt x="11908" y="20456"/>
                    <a:pt x="11293" y="21024"/>
                    <a:pt x="10530" y="21025"/>
                  </a:cubicBezTo>
                  <a:cubicBezTo>
                    <a:pt x="9766" y="21024"/>
                    <a:pt x="9144" y="20458"/>
                    <a:pt x="9145" y="19761"/>
                  </a:cubicBezTo>
                  <a:cubicBezTo>
                    <a:pt x="9146" y="19065"/>
                    <a:pt x="9768" y="18497"/>
                    <a:pt x="10530" y="18496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FFFFFF"/>
              </a:solidFill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8" name="CuadroTexto 7">
            <a:extLst>
              <a:ext uri="{FF2B5EF4-FFF2-40B4-BE49-F238E27FC236}">
                <a16:creationId xmlns:a16="http://schemas.microsoft.com/office/drawing/2014/main" id="{F8AE4CC4-C480-0B91-235D-2F012585CAC3}"/>
              </a:ext>
            </a:extLst>
          </p:cNvPr>
          <p:cNvSpPr txBox="1"/>
          <p:nvPr/>
        </p:nvSpPr>
        <p:spPr>
          <a:xfrm>
            <a:off x="3085731" y="3318610"/>
            <a:ext cx="54057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BRIEF DE MARCA</a:t>
            </a:r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16910983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90AEA4-C5AB-7254-0C20-2DFC63D3AC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CAEAAD5-E868-BFB1-CEF8-10458C8B92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E48D6D33-2A29-AB0E-5A41-75D7F481A12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  <p:graphicFrame>
        <p:nvGraphicFramePr>
          <p:cNvPr id="44" name="Table 44">
            <a:extLst>
              <a:ext uri="{FF2B5EF4-FFF2-40B4-BE49-F238E27FC236}">
                <a16:creationId xmlns:a16="http://schemas.microsoft.com/office/drawing/2014/main" id="{19B5BA7B-FF79-2C0E-73FB-8CCFE40E4E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3597751"/>
              </p:ext>
            </p:extLst>
          </p:nvPr>
        </p:nvGraphicFramePr>
        <p:xfrm>
          <a:off x="4377204" y="2122714"/>
          <a:ext cx="5975111" cy="402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7253">
                  <a:extLst>
                    <a:ext uri="{9D8B030D-6E8A-4147-A177-3AD203B41FA5}">
                      <a16:colId xmlns:a16="http://schemas.microsoft.com/office/drawing/2014/main" val="1267486112"/>
                    </a:ext>
                  </a:extLst>
                </a:gridCol>
                <a:gridCol w="162273">
                  <a:extLst>
                    <a:ext uri="{9D8B030D-6E8A-4147-A177-3AD203B41FA5}">
                      <a16:colId xmlns:a16="http://schemas.microsoft.com/office/drawing/2014/main" val="1191153545"/>
                    </a:ext>
                  </a:extLst>
                </a:gridCol>
                <a:gridCol w="4715585">
                  <a:extLst>
                    <a:ext uri="{9D8B030D-6E8A-4147-A177-3AD203B41FA5}">
                      <a16:colId xmlns:a16="http://schemas.microsoft.com/office/drawing/2014/main" val="518157885"/>
                    </a:ext>
                  </a:extLst>
                </a:gridCol>
              </a:tblGrid>
              <a:tr h="805456">
                <a:tc>
                  <a:txBody>
                    <a:bodyPr/>
                    <a:lstStyle/>
                    <a:p>
                      <a:pPr algn="r"/>
                      <a:r>
                        <a:rPr lang="en-GB" sz="1800" b="1">
                          <a:solidFill>
                            <a:schemeClr val="tx1"/>
                          </a:solidFill>
                        </a:rPr>
                        <a:t>01</a:t>
                      </a:r>
                    </a:p>
                  </a:txBody>
                  <a:tcPr marL="0" marR="288000" anchor="ctr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lineación</a:t>
                      </a:r>
                      <a:endParaRPr kumimoji="0" lang="en-GB" sz="1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¿</a:t>
                      </a:r>
                      <a:r>
                        <a:rPr kumimoji="0" lang="en-GB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é</a:t>
                      </a: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GB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só</a:t>
                      </a: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GB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n</a:t>
                      </a: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2024?</a:t>
                      </a:r>
                    </a:p>
                  </a:txBody>
                  <a:tcPr marL="288000" marR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0955368"/>
                  </a:ext>
                </a:extLst>
              </a:tr>
              <a:tr h="805456">
                <a:tc>
                  <a:txBody>
                    <a:bodyPr/>
                    <a:lstStyle/>
                    <a:p>
                      <a:pPr algn="r"/>
                      <a:r>
                        <a:rPr lang="en-GB" sz="1800" b="1">
                          <a:solidFill>
                            <a:schemeClr val="tx1"/>
                          </a:solidFill>
                        </a:rPr>
                        <a:t>02</a:t>
                      </a:r>
                    </a:p>
                  </a:txBody>
                  <a:tcPr marL="0" marR="288000" anchor="ctr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udiencia</a:t>
                      </a:r>
                    </a:p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VA</a:t>
                      </a:r>
                    </a:p>
                  </a:txBody>
                  <a:tcPr marL="288000" marR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418696"/>
                  </a:ext>
                </a:extLst>
              </a:tr>
              <a:tr h="805456">
                <a:tc>
                  <a:txBody>
                    <a:bodyPr/>
                    <a:lstStyle/>
                    <a:p>
                      <a:pPr algn="r"/>
                      <a:r>
                        <a:rPr lang="en-GB" sz="1800" b="1">
                          <a:solidFill>
                            <a:schemeClr val="tx1"/>
                          </a:solidFill>
                        </a:rPr>
                        <a:t>03</a:t>
                      </a:r>
                    </a:p>
                  </a:txBody>
                  <a:tcPr marL="0" marR="288000" anchor="ctr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stratégia</a:t>
                      </a:r>
                      <a:endParaRPr kumimoji="0" lang="en-GB" sz="1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8000" marR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8304370"/>
                  </a:ext>
                </a:extLst>
              </a:tr>
              <a:tr h="805456">
                <a:tc>
                  <a:txBody>
                    <a:bodyPr/>
                    <a:lstStyle/>
                    <a:p>
                      <a:pPr algn="r"/>
                      <a:r>
                        <a:rPr lang="en-GB" sz="1800" b="1">
                          <a:solidFill>
                            <a:schemeClr val="tx1"/>
                          </a:solidFill>
                        </a:rPr>
                        <a:t>04</a:t>
                      </a:r>
                    </a:p>
                  </a:txBody>
                  <a:tcPr marL="0" marR="288000" anchor="ctr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ctivación</a:t>
                      </a:r>
                      <a:endParaRPr kumimoji="0" lang="en-GB" sz="1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cciones</a:t>
                      </a: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&amp; Plan </a:t>
                      </a:r>
                      <a:r>
                        <a:rPr kumimoji="0" lang="en-GB" sz="10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ual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8000" marR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9963238"/>
                  </a:ext>
                </a:extLst>
              </a:tr>
              <a:tr h="805456">
                <a:tc>
                  <a:txBody>
                    <a:bodyPr/>
                    <a:lstStyle/>
                    <a:p>
                      <a:pPr algn="r"/>
                      <a:r>
                        <a:rPr lang="en-GB" sz="1800" b="1">
                          <a:solidFill>
                            <a:schemeClr val="tx1"/>
                          </a:solidFill>
                        </a:rPr>
                        <a:t>05</a:t>
                      </a:r>
                    </a:p>
                  </a:txBody>
                  <a:tcPr marL="0" marR="288000" anchor="ctr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37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dición</a:t>
                      </a:r>
                      <a:r>
                        <a:rPr kumimoji="0" lang="en-GB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gital</a:t>
                      </a:r>
                    </a:p>
                  </a:txBody>
                  <a:tcPr marL="288000" marR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1973373"/>
                  </a:ext>
                </a:extLst>
              </a:tr>
            </a:tbl>
          </a:graphicData>
        </a:graphic>
      </p:graphicFrame>
      <p:pic>
        <p:nvPicPr>
          <p:cNvPr id="2058" name="Picture 10" descr="Das pulsierende Nachtleben in Palma - Wackershauser Immobilien Mallorca">
            <a:extLst>
              <a:ext uri="{FF2B5EF4-FFF2-40B4-BE49-F238E27FC236}">
                <a16:creationId xmlns:a16="http://schemas.microsoft.com/office/drawing/2014/main" id="{6AF10A04-B4B7-7F3F-C27B-F53F5F95091D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240" r="5184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01841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posición de imagen 12">
            <a:extLst>
              <a:ext uri="{FF2B5EF4-FFF2-40B4-BE49-F238E27FC236}">
                <a16:creationId xmlns:a16="http://schemas.microsoft.com/office/drawing/2014/main" id="{9A2E094F-D29F-110C-3D2E-B16C9DC01BE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3A305F40-AA2E-73FF-5C03-01BE136B2F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E12A796A-A5A5-603F-E040-C2CF05798B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20</a:t>
            </a:fld>
            <a:endParaRPr lang="es-MX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B36B459-E7EA-4A29-DE66-64E0BB50BB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anchor="t"/>
          <a:lstStyle/>
          <a:p>
            <a:pPr algn="ctr"/>
            <a:r>
              <a:rPr lang="es-MX" sz="2000" b="1" err="1">
                <a:solidFill>
                  <a:schemeClr val="accent5"/>
                </a:solidFill>
              </a:rPr>
              <a:t>Market</a:t>
            </a:r>
            <a:r>
              <a:rPr lang="es-MX" sz="2000" b="1">
                <a:solidFill>
                  <a:schemeClr val="accent5"/>
                </a:solidFill>
              </a:rPr>
              <a:t> Share</a:t>
            </a:r>
          </a:p>
          <a:p>
            <a:pPr algn="ctr"/>
            <a:endParaRPr lang="es-MX" b="0">
              <a:solidFill>
                <a:schemeClr val="tx1"/>
              </a:solidFill>
            </a:endParaRPr>
          </a:p>
          <a:p>
            <a:pPr algn="ctr"/>
            <a:endParaRPr lang="es-MX" b="0">
              <a:solidFill>
                <a:schemeClr val="tx1"/>
              </a:solidFill>
            </a:endParaRPr>
          </a:p>
          <a:p>
            <a:pPr algn="ctr"/>
            <a:r>
              <a:rPr lang="es-MX" sz="1800" b="0">
                <a:solidFill>
                  <a:schemeClr val="tx1"/>
                </a:solidFill>
              </a:rPr>
              <a:t>XX%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797693C-0980-E01A-39D5-56335D6467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2400" b="1"/>
              <a:t>SITUACIÓN ACTUAL DE LA MARCA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4673E61-3198-DA40-0444-E4C053B9D5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anchor="t"/>
          <a:lstStyle/>
          <a:p>
            <a:pPr algn="ctr"/>
            <a:r>
              <a:rPr lang="es-MX" sz="2000" b="1">
                <a:solidFill>
                  <a:schemeClr val="accent5"/>
                </a:solidFill>
              </a:rPr>
              <a:t>Brand </a:t>
            </a:r>
            <a:r>
              <a:rPr lang="es-MX" sz="2000" b="1" err="1">
                <a:solidFill>
                  <a:schemeClr val="accent5"/>
                </a:solidFill>
              </a:rPr>
              <a:t>Updates</a:t>
            </a:r>
            <a:endParaRPr lang="es-MX" sz="2000" b="1">
              <a:solidFill>
                <a:schemeClr val="accent5"/>
              </a:solidFill>
            </a:endParaRPr>
          </a:p>
          <a:p>
            <a:pPr algn="ctr"/>
            <a:endParaRPr lang="es-MX">
              <a:solidFill>
                <a:schemeClr val="tx1"/>
              </a:solidFill>
            </a:endParaRPr>
          </a:p>
          <a:p>
            <a:pPr algn="ctr"/>
            <a:endParaRPr lang="es-MX" sz="1800" b="0">
              <a:solidFill>
                <a:schemeClr val="tx1"/>
              </a:solidFill>
            </a:endParaRPr>
          </a:p>
          <a:p>
            <a:pPr algn="ctr"/>
            <a:r>
              <a:rPr lang="es-MX" sz="1800" b="0">
                <a:solidFill>
                  <a:schemeClr val="tx1"/>
                </a:solidFill>
              </a:rPr>
              <a:t>Lanzamientos, Mejoras, etc. de marca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EE56F21C-F182-31CA-0DC2-BBE1AB96E9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/>
          <a:lstStyle/>
          <a:p>
            <a:pPr algn="ctr"/>
            <a:r>
              <a:rPr lang="es-MX" sz="2000" b="1">
                <a:solidFill>
                  <a:schemeClr val="accent5"/>
                </a:solidFill>
              </a:rPr>
              <a:t>Brand </a:t>
            </a:r>
            <a:r>
              <a:rPr lang="es-MX" sz="2000" b="1" err="1">
                <a:solidFill>
                  <a:schemeClr val="accent5"/>
                </a:solidFill>
              </a:rPr>
              <a:t>Power</a:t>
            </a:r>
            <a:endParaRPr lang="es-MX" sz="2000" b="1">
              <a:solidFill>
                <a:schemeClr val="accent5"/>
              </a:solidFill>
            </a:endParaRPr>
          </a:p>
          <a:p>
            <a:pPr algn="ctr"/>
            <a:endParaRPr lang="es-MX">
              <a:solidFill>
                <a:schemeClr val="tx1"/>
              </a:solidFill>
            </a:endParaRPr>
          </a:p>
          <a:p>
            <a:pPr algn="ctr"/>
            <a:endParaRPr lang="es-MX" sz="1800" b="0">
              <a:solidFill>
                <a:schemeClr val="tx1"/>
              </a:solidFill>
            </a:endParaRPr>
          </a:p>
          <a:p>
            <a:pPr algn="ctr"/>
            <a:r>
              <a:rPr lang="es-MX" sz="1800" b="0">
                <a:solidFill>
                  <a:schemeClr val="tx1"/>
                </a:solidFill>
              </a:rPr>
              <a:t>Indicadores de marca (atributo principal</a:t>
            </a:r>
          </a:p>
        </p:txBody>
      </p:sp>
      <p:grpSp>
        <p:nvGrpSpPr>
          <p:cNvPr id="2" name="Group 16">
            <a:extLst>
              <a:ext uri="{FF2B5EF4-FFF2-40B4-BE49-F238E27FC236}">
                <a16:creationId xmlns:a16="http://schemas.microsoft.com/office/drawing/2014/main" id="{76BA2EFB-8F02-E7E9-6642-8B800CE19803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4" name="Round Same-side Corner of Rectangle 5">
              <a:extLst>
                <a:ext uri="{FF2B5EF4-FFF2-40B4-BE49-F238E27FC236}">
                  <a16:creationId xmlns:a16="http://schemas.microsoft.com/office/drawing/2014/main" id="{3EA12B4A-610D-B3B6-0C79-6F354494777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4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10" name="Oval 18">
              <a:extLst>
                <a:ext uri="{FF2B5EF4-FFF2-40B4-BE49-F238E27FC236}">
                  <a16:creationId xmlns:a16="http://schemas.microsoft.com/office/drawing/2014/main" id="{7D13592C-ADBC-AEA3-B84F-64310FF36EEC}"/>
                </a:ext>
              </a:extLst>
            </p:cNvPr>
            <p:cNvSpPr/>
            <p:nvPr/>
          </p:nvSpPr>
          <p:spPr>
            <a:xfrm>
              <a:off x="10366304" y="136553"/>
              <a:ext cx="283585" cy="28358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11" name="TextBox 19">
              <a:extLst>
                <a:ext uri="{FF2B5EF4-FFF2-40B4-BE49-F238E27FC236}">
                  <a16:creationId xmlns:a16="http://schemas.microsoft.com/office/drawing/2014/main" id="{F21DF038-3FA8-EF4F-669E-8316F7797F75}"/>
                </a:ext>
              </a:extLst>
            </p:cNvPr>
            <p:cNvSpPr txBox="1"/>
            <p:nvPr/>
          </p:nvSpPr>
          <p:spPr>
            <a:xfrm>
              <a:off x="10640364" y="124456"/>
              <a:ext cx="1132041" cy="30777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61E1E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Estrategia</a:t>
              </a:r>
              <a:endPara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61E1E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endParaRPr>
            </a:p>
          </p:txBody>
        </p:sp>
        <p:sp>
          <p:nvSpPr>
            <p:cNvPr id="12" name="Google Shape;1124;p39">
              <a:extLst>
                <a:ext uri="{FF2B5EF4-FFF2-40B4-BE49-F238E27FC236}">
                  <a16:creationId xmlns:a16="http://schemas.microsoft.com/office/drawing/2014/main" id="{8A522D9F-1D58-EA17-0342-229A10923E6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17368" y="177814"/>
              <a:ext cx="184632" cy="2077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35" h="21600" extrusionOk="0">
                  <a:moveTo>
                    <a:pt x="10517" y="0"/>
                  </a:moveTo>
                  <a:cubicBezTo>
                    <a:pt x="9403" y="6"/>
                    <a:pt x="8505" y="835"/>
                    <a:pt x="8508" y="1851"/>
                  </a:cubicBezTo>
                  <a:cubicBezTo>
                    <a:pt x="8512" y="2757"/>
                    <a:pt x="9235" y="3523"/>
                    <a:pt x="10215" y="3661"/>
                  </a:cubicBezTo>
                  <a:cubicBezTo>
                    <a:pt x="10215" y="3661"/>
                    <a:pt x="10195" y="3661"/>
                    <a:pt x="10195" y="3661"/>
                  </a:cubicBezTo>
                  <a:lnTo>
                    <a:pt x="10195" y="4122"/>
                  </a:lnTo>
                  <a:cubicBezTo>
                    <a:pt x="10195" y="4282"/>
                    <a:pt x="10342" y="4410"/>
                    <a:pt x="10517" y="4410"/>
                  </a:cubicBezTo>
                  <a:cubicBezTo>
                    <a:pt x="10692" y="4410"/>
                    <a:pt x="10832" y="4282"/>
                    <a:pt x="10832" y="4122"/>
                  </a:cubicBezTo>
                  <a:lnTo>
                    <a:pt x="10832" y="3661"/>
                  </a:lnTo>
                  <a:cubicBezTo>
                    <a:pt x="11932" y="3500"/>
                    <a:pt x="12683" y="2556"/>
                    <a:pt x="12506" y="1552"/>
                  </a:cubicBezTo>
                  <a:cubicBezTo>
                    <a:pt x="12350" y="660"/>
                    <a:pt x="11507" y="1"/>
                    <a:pt x="10517" y="0"/>
                  </a:cubicBezTo>
                  <a:close/>
                  <a:moveTo>
                    <a:pt x="10510" y="581"/>
                  </a:moveTo>
                  <a:cubicBezTo>
                    <a:pt x="11274" y="582"/>
                    <a:pt x="11890" y="1148"/>
                    <a:pt x="11889" y="1845"/>
                  </a:cubicBezTo>
                  <a:cubicBezTo>
                    <a:pt x="11888" y="2541"/>
                    <a:pt x="11273" y="3109"/>
                    <a:pt x="10510" y="3110"/>
                  </a:cubicBezTo>
                  <a:cubicBezTo>
                    <a:pt x="9746" y="3109"/>
                    <a:pt x="9124" y="2543"/>
                    <a:pt x="9125" y="1845"/>
                  </a:cubicBezTo>
                  <a:cubicBezTo>
                    <a:pt x="9126" y="1150"/>
                    <a:pt x="9748" y="582"/>
                    <a:pt x="10510" y="581"/>
                  </a:cubicBezTo>
                  <a:close/>
                  <a:moveTo>
                    <a:pt x="2028" y="4482"/>
                  </a:moveTo>
                  <a:cubicBezTo>
                    <a:pt x="1321" y="4478"/>
                    <a:pt x="641" y="4818"/>
                    <a:pt x="269" y="5404"/>
                  </a:cubicBezTo>
                  <a:cubicBezTo>
                    <a:pt x="-283" y="6288"/>
                    <a:pt x="51" y="7415"/>
                    <a:pt x="1017" y="7921"/>
                  </a:cubicBezTo>
                  <a:cubicBezTo>
                    <a:pt x="1878" y="8371"/>
                    <a:pt x="2969" y="8177"/>
                    <a:pt x="3591" y="7472"/>
                  </a:cubicBezTo>
                  <a:cubicBezTo>
                    <a:pt x="3591" y="7472"/>
                    <a:pt x="3584" y="7484"/>
                    <a:pt x="3584" y="7484"/>
                  </a:cubicBezTo>
                  <a:lnTo>
                    <a:pt x="4017" y="7717"/>
                  </a:lnTo>
                  <a:cubicBezTo>
                    <a:pt x="4169" y="7797"/>
                    <a:pt x="4363" y="7748"/>
                    <a:pt x="4451" y="7609"/>
                  </a:cubicBezTo>
                  <a:cubicBezTo>
                    <a:pt x="4538" y="7471"/>
                    <a:pt x="4491" y="7294"/>
                    <a:pt x="4339" y="7214"/>
                  </a:cubicBezTo>
                  <a:lnTo>
                    <a:pt x="3899" y="6980"/>
                  </a:lnTo>
                  <a:cubicBezTo>
                    <a:pt x="4297" y="6030"/>
                    <a:pt x="3778" y="4970"/>
                    <a:pt x="2737" y="4608"/>
                  </a:cubicBezTo>
                  <a:cubicBezTo>
                    <a:pt x="2506" y="4527"/>
                    <a:pt x="2264" y="4483"/>
                    <a:pt x="2028" y="4482"/>
                  </a:cubicBezTo>
                  <a:close/>
                  <a:moveTo>
                    <a:pt x="18763" y="4500"/>
                  </a:moveTo>
                  <a:cubicBezTo>
                    <a:pt x="18503" y="4530"/>
                    <a:pt x="18249" y="4606"/>
                    <a:pt x="18008" y="4733"/>
                  </a:cubicBezTo>
                  <a:cubicBezTo>
                    <a:pt x="17151" y="5189"/>
                    <a:pt x="16782" y="6148"/>
                    <a:pt x="17141" y="6992"/>
                  </a:cubicBezTo>
                  <a:cubicBezTo>
                    <a:pt x="17141" y="6992"/>
                    <a:pt x="17135" y="6980"/>
                    <a:pt x="17135" y="6980"/>
                  </a:cubicBezTo>
                  <a:lnTo>
                    <a:pt x="16695" y="7208"/>
                  </a:lnTo>
                  <a:cubicBezTo>
                    <a:pt x="16543" y="7288"/>
                    <a:pt x="16496" y="7465"/>
                    <a:pt x="16583" y="7603"/>
                  </a:cubicBezTo>
                  <a:cubicBezTo>
                    <a:pt x="16671" y="7742"/>
                    <a:pt x="16865" y="7791"/>
                    <a:pt x="17017" y="7711"/>
                  </a:cubicBezTo>
                  <a:lnTo>
                    <a:pt x="17450" y="7478"/>
                  </a:lnTo>
                  <a:cubicBezTo>
                    <a:pt x="18152" y="8267"/>
                    <a:pt x="19428" y="8388"/>
                    <a:pt x="20293" y="7747"/>
                  </a:cubicBezTo>
                  <a:cubicBezTo>
                    <a:pt x="21061" y="7177"/>
                    <a:pt x="21260" y="6181"/>
                    <a:pt x="20765" y="5399"/>
                  </a:cubicBezTo>
                  <a:cubicBezTo>
                    <a:pt x="20343" y="4740"/>
                    <a:pt x="19543" y="4409"/>
                    <a:pt x="18763" y="4500"/>
                  </a:cubicBezTo>
                  <a:close/>
                  <a:moveTo>
                    <a:pt x="18842" y="5063"/>
                  </a:moveTo>
                  <a:cubicBezTo>
                    <a:pt x="19376" y="5003"/>
                    <a:pt x="19927" y="5234"/>
                    <a:pt x="20214" y="5686"/>
                  </a:cubicBezTo>
                  <a:cubicBezTo>
                    <a:pt x="20595" y="6290"/>
                    <a:pt x="20364" y="7058"/>
                    <a:pt x="19702" y="7406"/>
                  </a:cubicBezTo>
                  <a:cubicBezTo>
                    <a:pt x="19041" y="7753"/>
                    <a:pt x="18200" y="7547"/>
                    <a:pt x="17817" y="6944"/>
                  </a:cubicBezTo>
                  <a:cubicBezTo>
                    <a:pt x="17436" y="6340"/>
                    <a:pt x="17661" y="5573"/>
                    <a:pt x="18323" y="5225"/>
                  </a:cubicBezTo>
                  <a:cubicBezTo>
                    <a:pt x="18488" y="5138"/>
                    <a:pt x="18664" y="5083"/>
                    <a:pt x="18842" y="5063"/>
                  </a:cubicBezTo>
                  <a:close/>
                  <a:moveTo>
                    <a:pt x="2186" y="5081"/>
                  </a:moveTo>
                  <a:cubicBezTo>
                    <a:pt x="2364" y="5101"/>
                    <a:pt x="2539" y="5155"/>
                    <a:pt x="2704" y="5243"/>
                  </a:cubicBezTo>
                  <a:cubicBezTo>
                    <a:pt x="3364" y="5592"/>
                    <a:pt x="3590" y="6359"/>
                    <a:pt x="3210" y="6962"/>
                  </a:cubicBezTo>
                  <a:cubicBezTo>
                    <a:pt x="2827" y="7566"/>
                    <a:pt x="1980" y="7773"/>
                    <a:pt x="1319" y="7424"/>
                  </a:cubicBezTo>
                  <a:cubicBezTo>
                    <a:pt x="659" y="7075"/>
                    <a:pt x="433" y="6301"/>
                    <a:pt x="814" y="5698"/>
                  </a:cubicBezTo>
                  <a:cubicBezTo>
                    <a:pt x="1101" y="5246"/>
                    <a:pt x="1651" y="5020"/>
                    <a:pt x="2186" y="5081"/>
                  </a:cubicBezTo>
                  <a:close/>
                  <a:moveTo>
                    <a:pt x="10517" y="5081"/>
                  </a:moveTo>
                  <a:cubicBezTo>
                    <a:pt x="10342" y="5081"/>
                    <a:pt x="10202" y="5215"/>
                    <a:pt x="10202" y="5375"/>
                  </a:cubicBezTo>
                  <a:lnTo>
                    <a:pt x="10202" y="6417"/>
                  </a:lnTo>
                  <a:cubicBezTo>
                    <a:pt x="10202" y="6577"/>
                    <a:pt x="10342" y="6705"/>
                    <a:pt x="10517" y="6705"/>
                  </a:cubicBezTo>
                  <a:cubicBezTo>
                    <a:pt x="10692" y="6705"/>
                    <a:pt x="10839" y="6577"/>
                    <a:pt x="10839" y="6417"/>
                  </a:cubicBezTo>
                  <a:lnTo>
                    <a:pt x="10839" y="5375"/>
                  </a:lnTo>
                  <a:cubicBezTo>
                    <a:pt x="10839" y="5215"/>
                    <a:pt x="10692" y="5081"/>
                    <a:pt x="10517" y="5081"/>
                  </a:cubicBezTo>
                  <a:close/>
                  <a:moveTo>
                    <a:pt x="10530" y="7388"/>
                  </a:moveTo>
                  <a:cubicBezTo>
                    <a:pt x="10355" y="7388"/>
                    <a:pt x="10215" y="7515"/>
                    <a:pt x="10215" y="7675"/>
                  </a:cubicBezTo>
                  <a:lnTo>
                    <a:pt x="10215" y="8113"/>
                  </a:lnTo>
                  <a:lnTo>
                    <a:pt x="9322" y="8113"/>
                  </a:lnTo>
                  <a:cubicBezTo>
                    <a:pt x="8639" y="8113"/>
                    <a:pt x="8046" y="8470"/>
                    <a:pt x="7760" y="8994"/>
                  </a:cubicBezTo>
                  <a:lnTo>
                    <a:pt x="7399" y="8802"/>
                  </a:lnTo>
                  <a:cubicBezTo>
                    <a:pt x="7247" y="8721"/>
                    <a:pt x="7054" y="8772"/>
                    <a:pt x="6965" y="8910"/>
                  </a:cubicBezTo>
                  <a:cubicBezTo>
                    <a:pt x="6877" y="9048"/>
                    <a:pt x="6925" y="9224"/>
                    <a:pt x="7077" y="9305"/>
                  </a:cubicBezTo>
                  <a:lnTo>
                    <a:pt x="7576" y="9575"/>
                  </a:lnTo>
                  <a:cubicBezTo>
                    <a:pt x="7572" y="9618"/>
                    <a:pt x="7576" y="9662"/>
                    <a:pt x="7576" y="9707"/>
                  </a:cubicBezTo>
                  <a:lnTo>
                    <a:pt x="7576" y="11893"/>
                  </a:lnTo>
                  <a:cubicBezTo>
                    <a:pt x="7576" y="11938"/>
                    <a:pt x="7572" y="11982"/>
                    <a:pt x="7576" y="12025"/>
                  </a:cubicBezTo>
                  <a:lnTo>
                    <a:pt x="7077" y="12295"/>
                  </a:lnTo>
                  <a:cubicBezTo>
                    <a:pt x="6925" y="12376"/>
                    <a:pt x="6877" y="12552"/>
                    <a:pt x="6965" y="12690"/>
                  </a:cubicBezTo>
                  <a:cubicBezTo>
                    <a:pt x="7024" y="12783"/>
                    <a:pt x="7132" y="12834"/>
                    <a:pt x="7241" y="12834"/>
                  </a:cubicBezTo>
                  <a:cubicBezTo>
                    <a:pt x="7295" y="12834"/>
                    <a:pt x="7348" y="12819"/>
                    <a:pt x="7399" y="12792"/>
                  </a:cubicBezTo>
                  <a:lnTo>
                    <a:pt x="7760" y="12606"/>
                  </a:lnTo>
                  <a:cubicBezTo>
                    <a:pt x="8046" y="13130"/>
                    <a:pt x="8639" y="13487"/>
                    <a:pt x="9322" y="13487"/>
                  </a:cubicBezTo>
                  <a:lnTo>
                    <a:pt x="10215" y="13487"/>
                  </a:lnTo>
                  <a:lnTo>
                    <a:pt x="10215" y="13925"/>
                  </a:lnTo>
                  <a:cubicBezTo>
                    <a:pt x="10215" y="14085"/>
                    <a:pt x="10355" y="14212"/>
                    <a:pt x="10530" y="14212"/>
                  </a:cubicBezTo>
                  <a:cubicBezTo>
                    <a:pt x="10705" y="14212"/>
                    <a:pt x="10845" y="14085"/>
                    <a:pt x="10845" y="13925"/>
                  </a:cubicBezTo>
                  <a:lnTo>
                    <a:pt x="10845" y="13487"/>
                  </a:lnTo>
                  <a:lnTo>
                    <a:pt x="11718" y="13487"/>
                  </a:lnTo>
                  <a:cubicBezTo>
                    <a:pt x="12402" y="13487"/>
                    <a:pt x="12995" y="13130"/>
                    <a:pt x="13281" y="12606"/>
                  </a:cubicBezTo>
                  <a:lnTo>
                    <a:pt x="13635" y="12792"/>
                  </a:lnTo>
                  <a:cubicBezTo>
                    <a:pt x="13686" y="12819"/>
                    <a:pt x="13745" y="12834"/>
                    <a:pt x="13800" y="12834"/>
                  </a:cubicBezTo>
                  <a:cubicBezTo>
                    <a:pt x="13909" y="12834"/>
                    <a:pt x="14016" y="12783"/>
                    <a:pt x="14075" y="12690"/>
                  </a:cubicBezTo>
                  <a:cubicBezTo>
                    <a:pt x="14164" y="12552"/>
                    <a:pt x="14115" y="12376"/>
                    <a:pt x="13964" y="12295"/>
                  </a:cubicBezTo>
                  <a:lnTo>
                    <a:pt x="13458" y="12025"/>
                  </a:lnTo>
                  <a:cubicBezTo>
                    <a:pt x="13462" y="11982"/>
                    <a:pt x="13465" y="11938"/>
                    <a:pt x="13465" y="11893"/>
                  </a:cubicBezTo>
                  <a:lnTo>
                    <a:pt x="13465" y="9707"/>
                  </a:lnTo>
                  <a:cubicBezTo>
                    <a:pt x="13465" y="9662"/>
                    <a:pt x="13462" y="9618"/>
                    <a:pt x="13458" y="9575"/>
                  </a:cubicBezTo>
                  <a:lnTo>
                    <a:pt x="13964" y="9305"/>
                  </a:lnTo>
                  <a:cubicBezTo>
                    <a:pt x="14115" y="9224"/>
                    <a:pt x="14164" y="9048"/>
                    <a:pt x="14075" y="8910"/>
                  </a:cubicBezTo>
                  <a:cubicBezTo>
                    <a:pt x="13987" y="8772"/>
                    <a:pt x="13787" y="8721"/>
                    <a:pt x="13635" y="8802"/>
                  </a:cubicBezTo>
                  <a:lnTo>
                    <a:pt x="13281" y="8994"/>
                  </a:lnTo>
                  <a:cubicBezTo>
                    <a:pt x="12995" y="8470"/>
                    <a:pt x="12402" y="8113"/>
                    <a:pt x="11718" y="8113"/>
                  </a:cubicBezTo>
                  <a:lnTo>
                    <a:pt x="10845" y="8113"/>
                  </a:lnTo>
                  <a:lnTo>
                    <a:pt x="10845" y="7675"/>
                  </a:lnTo>
                  <a:cubicBezTo>
                    <a:pt x="10845" y="7515"/>
                    <a:pt x="10705" y="7388"/>
                    <a:pt x="10530" y="7388"/>
                  </a:cubicBezTo>
                  <a:close/>
                  <a:moveTo>
                    <a:pt x="5160" y="7687"/>
                  </a:moveTo>
                  <a:cubicBezTo>
                    <a:pt x="5081" y="7706"/>
                    <a:pt x="5007" y="7756"/>
                    <a:pt x="4963" y="7825"/>
                  </a:cubicBezTo>
                  <a:cubicBezTo>
                    <a:pt x="4874" y="7963"/>
                    <a:pt x="4923" y="8145"/>
                    <a:pt x="5074" y="8227"/>
                  </a:cubicBezTo>
                  <a:lnTo>
                    <a:pt x="6059" y="8754"/>
                  </a:lnTo>
                  <a:cubicBezTo>
                    <a:pt x="6210" y="8835"/>
                    <a:pt x="6410" y="8790"/>
                    <a:pt x="6499" y="8652"/>
                  </a:cubicBezTo>
                  <a:cubicBezTo>
                    <a:pt x="6588" y="8514"/>
                    <a:pt x="6532" y="8332"/>
                    <a:pt x="6381" y="8251"/>
                  </a:cubicBezTo>
                  <a:lnTo>
                    <a:pt x="5396" y="7723"/>
                  </a:lnTo>
                  <a:cubicBezTo>
                    <a:pt x="5321" y="7683"/>
                    <a:pt x="5238" y="7669"/>
                    <a:pt x="5160" y="7687"/>
                  </a:cubicBezTo>
                  <a:close/>
                  <a:moveTo>
                    <a:pt x="15881" y="7687"/>
                  </a:moveTo>
                  <a:cubicBezTo>
                    <a:pt x="15802" y="7669"/>
                    <a:pt x="15720" y="7683"/>
                    <a:pt x="15644" y="7723"/>
                  </a:cubicBezTo>
                  <a:lnTo>
                    <a:pt x="14653" y="8251"/>
                  </a:lnTo>
                  <a:cubicBezTo>
                    <a:pt x="14502" y="8332"/>
                    <a:pt x="14453" y="8514"/>
                    <a:pt x="14541" y="8652"/>
                  </a:cubicBezTo>
                  <a:cubicBezTo>
                    <a:pt x="14630" y="8790"/>
                    <a:pt x="14824" y="8835"/>
                    <a:pt x="14975" y="8754"/>
                  </a:cubicBezTo>
                  <a:lnTo>
                    <a:pt x="15966" y="8227"/>
                  </a:lnTo>
                  <a:cubicBezTo>
                    <a:pt x="16117" y="8145"/>
                    <a:pt x="16160" y="7963"/>
                    <a:pt x="16071" y="7825"/>
                  </a:cubicBezTo>
                  <a:cubicBezTo>
                    <a:pt x="16027" y="7756"/>
                    <a:pt x="15959" y="7706"/>
                    <a:pt x="15881" y="7687"/>
                  </a:cubicBezTo>
                  <a:close/>
                  <a:moveTo>
                    <a:pt x="9322" y="8688"/>
                  </a:moveTo>
                  <a:lnTo>
                    <a:pt x="11718" y="8688"/>
                  </a:lnTo>
                  <a:cubicBezTo>
                    <a:pt x="12331" y="8688"/>
                    <a:pt x="12828" y="9147"/>
                    <a:pt x="12828" y="9707"/>
                  </a:cubicBezTo>
                  <a:lnTo>
                    <a:pt x="12828" y="11893"/>
                  </a:lnTo>
                  <a:cubicBezTo>
                    <a:pt x="12828" y="12452"/>
                    <a:pt x="12331" y="12906"/>
                    <a:pt x="11718" y="12906"/>
                  </a:cubicBezTo>
                  <a:lnTo>
                    <a:pt x="9322" y="12906"/>
                  </a:lnTo>
                  <a:cubicBezTo>
                    <a:pt x="8710" y="12906"/>
                    <a:pt x="8206" y="12452"/>
                    <a:pt x="8206" y="11893"/>
                  </a:cubicBezTo>
                  <a:lnTo>
                    <a:pt x="8206" y="9707"/>
                  </a:lnTo>
                  <a:cubicBezTo>
                    <a:pt x="8206" y="9147"/>
                    <a:pt x="8710" y="8688"/>
                    <a:pt x="9322" y="8688"/>
                  </a:cubicBezTo>
                  <a:close/>
                  <a:moveTo>
                    <a:pt x="6302" y="12816"/>
                  </a:moveTo>
                  <a:cubicBezTo>
                    <a:pt x="6224" y="12798"/>
                    <a:pt x="6135" y="12806"/>
                    <a:pt x="6059" y="12846"/>
                  </a:cubicBezTo>
                  <a:lnTo>
                    <a:pt x="5074" y="13373"/>
                  </a:lnTo>
                  <a:cubicBezTo>
                    <a:pt x="4923" y="13455"/>
                    <a:pt x="4874" y="13637"/>
                    <a:pt x="4963" y="13775"/>
                  </a:cubicBezTo>
                  <a:cubicBezTo>
                    <a:pt x="5052" y="13913"/>
                    <a:pt x="5245" y="13958"/>
                    <a:pt x="5396" y="13877"/>
                  </a:cubicBezTo>
                  <a:lnTo>
                    <a:pt x="6381" y="13349"/>
                  </a:lnTo>
                  <a:cubicBezTo>
                    <a:pt x="6532" y="13268"/>
                    <a:pt x="6588" y="13086"/>
                    <a:pt x="6499" y="12948"/>
                  </a:cubicBezTo>
                  <a:cubicBezTo>
                    <a:pt x="6455" y="12879"/>
                    <a:pt x="6381" y="12835"/>
                    <a:pt x="6302" y="12816"/>
                  </a:cubicBezTo>
                  <a:close/>
                  <a:moveTo>
                    <a:pt x="14732" y="12816"/>
                  </a:moveTo>
                  <a:cubicBezTo>
                    <a:pt x="14653" y="12835"/>
                    <a:pt x="14586" y="12879"/>
                    <a:pt x="14541" y="12948"/>
                  </a:cubicBezTo>
                  <a:cubicBezTo>
                    <a:pt x="14452" y="13086"/>
                    <a:pt x="14502" y="13268"/>
                    <a:pt x="14653" y="13349"/>
                  </a:cubicBezTo>
                  <a:lnTo>
                    <a:pt x="15644" y="13877"/>
                  </a:lnTo>
                  <a:cubicBezTo>
                    <a:pt x="15795" y="13958"/>
                    <a:pt x="15982" y="13913"/>
                    <a:pt x="16071" y="13775"/>
                  </a:cubicBezTo>
                  <a:cubicBezTo>
                    <a:pt x="16160" y="13637"/>
                    <a:pt x="16117" y="13455"/>
                    <a:pt x="15966" y="13373"/>
                  </a:cubicBezTo>
                  <a:lnTo>
                    <a:pt x="14975" y="12846"/>
                  </a:lnTo>
                  <a:cubicBezTo>
                    <a:pt x="14899" y="12806"/>
                    <a:pt x="14810" y="12798"/>
                    <a:pt x="14732" y="12816"/>
                  </a:cubicBezTo>
                  <a:close/>
                  <a:moveTo>
                    <a:pt x="2225" y="13451"/>
                  </a:moveTo>
                  <a:cubicBezTo>
                    <a:pt x="1712" y="13403"/>
                    <a:pt x="1180" y="13538"/>
                    <a:pt x="748" y="13859"/>
                  </a:cubicBezTo>
                  <a:cubicBezTo>
                    <a:pt x="-20" y="14429"/>
                    <a:pt x="-226" y="15419"/>
                    <a:pt x="269" y="16201"/>
                  </a:cubicBezTo>
                  <a:cubicBezTo>
                    <a:pt x="831" y="17079"/>
                    <a:pt x="2069" y="17377"/>
                    <a:pt x="3033" y="16867"/>
                  </a:cubicBezTo>
                  <a:cubicBezTo>
                    <a:pt x="3890" y="16411"/>
                    <a:pt x="4258" y="15458"/>
                    <a:pt x="3899" y="14614"/>
                  </a:cubicBezTo>
                  <a:cubicBezTo>
                    <a:pt x="3899" y="14614"/>
                    <a:pt x="3906" y="14626"/>
                    <a:pt x="3906" y="14626"/>
                  </a:cubicBezTo>
                  <a:lnTo>
                    <a:pt x="4339" y="14398"/>
                  </a:lnTo>
                  <a:cubicBezTo>
                    <a:pt x="4491" y="14318"/>
                    <a:pt x="4545" y="14135"/>
                    <a:pt x="4457" y="13997"/>
                  </a:cubicBezTo>
                  <a:cubicBezTo>
                    <a:pt x="4370" y="13858"/>
                    <a:pt x="4176" y="13815"/>
                    <a:pt x="4024" y="13895"/>
                  </a:cubicBezTo>
                  <a:lnTo>
                    <a:pt x="3584" y="14122"/>
                  </a:lnTo>
                  <a:cubicBezTo>
                    <a:pt x="3233" y="13728"/>
                    <a:pt x="2739" y="13500"/>
                    <a:pt x="2225" y="13451"/>
                  </a:cubicBezTo>
                  <a:close/>
                  <a:moveTo>
                    <a:pt x="19341" y="13469"/>
                  </a:moveTo>
                  <a:cubicBezTo>
                    <a:pt x="18641" y="13366"/>
                    <a:pt x="17909" y="13599"/>
                    <a:pt x="17443" y="14128"/>
                  </a:cubicBezTo>
                  <a:cubicBezTo>
                    <a:pt x="17443" y="14128"/>
                    <a:pt x="17450" y="14116"/>
                    <a:pt x="17450" y="14116"/>
                  </a:cubicBezTo>
                  <a:lnTo>
                    <a:pt x="17017" y="13889"/>
                  </a:lnTo>
                  <a:cubicBezTo>
                    <a:pt x="16865" y="13809"/>
                    <a:pt x="16671" y="13858"/>
                    <a:pt x="16583" y="13997"/>
                  </a:cubicBezTo>
                  <a:cubicBezTo>
                    <a:pt x="16496" y="14135"/>
                    <a:pt x="16549" y="14312"/>
                    <a:pt x="16701" y="14392"/>
                  </a:cubicBezTo>
                  <a:lnTo>
                    <a:pt x="17135" y="14620"/>
                  </a:lnTo>
                  <a:cubicBezTo>
                    <a:pt x="16737" y="15570"/>
                    <a:pt x="17263" y="16636"/>
                    <a:pt x="18303" y="16998"/>
                  </a:cubicBezTo>
                  <a:cubicBezTo>
                    <a:pt x="19228" y="17321"/>
                    <a:pt x="20269" y="16984"/>
                    <a:pt x="20765" y="16201"/>
                  </a:cubicBezTo>
                  <a:cubicBezTo>
                    <a:pt x="21317" y="15318"/>
                    <a:pt x="20983" y="14191"/>
                    <a:pt x="20017" y="13685"/>
                  </a:cubicBezTo>
                  <a:cubicBezTo>
                    <a:pt x="19802" y="13573"/>
                    <a:pt x="19574" y="13504"/>
                    <a:pt x="19341" y="13469"/>
                  </a:cubicBezTo>
                  <a:close/>
                  <a:moveTo>
                    <a:pt x="19196" y="14021"/>
                  </a:moveTo>
                  <a:cubicBezTo>
                    <a:pt x="19374" y="14041"/>
                    <a:pt x="19550" y="14095"/>
                    <a:pt x="19715" y="14182"/>
                  </a:cubicBezTo>
                  <a:cubicBezTo>
                    <a:pt x="20375" y="14531"/>
                    <a:pt x="20601" y="15299"/>
                    <a:pt x="20220" y="15902"/>
                  </a:cubicBezTo>
                  <a:cubicBezTo>
                    <a:pt x="19837" y="16505"/>
                    <a:pt x="18991" y="16713"/>
                    <a:pt x="18330" y="16363"/>
                  </a:cubicBezTo>
                  <a:cubicBezTo>
                    <a:pt x="17670" y="16014"/>
                    <a:pt x="17444" y="15247"/>
                    <a:pt x="17824" y="14644"/>
                  </a:cubicBezTo>
                  <a:cubicBezTo>
                    <a:pt x="18111" y="14191"/>
                    <a:pt x="18661" y="13959"/>
                    <a:pt x="19196" y="14021"/>
                  </a:cubicBezTo>
                  <a:close/>
                  <a:moveTo>
                    <a:pt x="1858" y="14039"/>
                  </a:moveTo>
                  <a:cubicBezTo>
                    <a:pt x="2392" y="13978"/>
                    <a:pt x="2936" y="14204"/>
                    <a:pt x="3223" y="14656"/>
                  </a:cubicBezTo>
                  <a:cubicBezTo>
                    <a:pt x="3604" y="15260"/>
                    <a:pt x="3373" y="16033"/>
                    <a:pt x="2711" y="16381"/>
                  </a:cubicBezTo>
                  <a:cubicBezTo>
                    <a:pt x="2050" y="16728"/>
                    <a:pt x="1209" y="16522"/>
                    <a:pt x="827" y="15920"/>
                  </a:cubicBezTo>
                  <a:cubicBezTo>
                    <a:pt x="446" y="15316"/>
                    <a:pt x="670" y="14542"/>
                    <a:pt x="1332" y="14194"/>
                  </a:cubicBezTo>
                  <a:cubicBezTo>
                    <a:pt x="1498" y="14108"/>
                    <a:pt x="1680" y="14059"/>
                    <a:pt x="1858" y="14039"/>
                  </a:cubicBezTo>
                  <a:close/>
                  <a:moveTo>
                    <a:pt x="10517" y="14889"/>
                  </a:moveTo>
                  <a:cubicBezTo>
                    <a:pt x="10342" y="14889"/>
                    <a:pt x="10202" y="15017"/>
                    <a:pt x="10202" y="15177"/>
                  </a:cubicBezTo>
                  <a:lnTo>
                    <a:pt x="10202" y="16225"/>
                  </a:lnTo>
                  <a:cubicBezTo>
                    <a:pt x="10202" y="16385"/>
                    <a:pt x="10342" y="16513"/>
                    <a:pt x="10517" y="16513"/>
                  </a:cubicBezTo>
                  <a:cubicBezTo>
                    <a:pt x="10692" y="16513"/>
                    <a:pt x="10839" y="16385"/>
                    <a:pt x="10839" y="16225"/>
                  </a:cubicBezTo>
                  <a:lnTo>
                    <a:pt x="10839" y="15177"/>
                  </a:lnTo>
                  <a:cubicBezTo>
                    <a:pt x="10839" y="15017"/>
                    <a:pt x="10692" y="14889"/>
                    <a:pt x="10517" y="14889"/>
                  </a:cubicBezTo>
                  <a:close/>
                  <a:moveTo>
                    <a:pt x="10524" y="17190"/>
                  </a:moveTo>
                  <a:cubicBezTo>
                    <a:pt x="10348" y="17190"/>
                    <a:pt x="10202" y="17324"/>
                    <a:pt x="10202" y="17484"/>
                  </a:cubicBezTo>
                  <a:lnTo>
                    <a:pt x="10202" y="17945"/>
                  </a:lnTo>
                  <a:cubicBezTo>
                    <a:pt x="9102" y="18106"/>
                    <a:pt x="8358" y="19050"/>
                    <a:pt x="8534" y="20054"/>
                  </a:cubicBezTo>
                  <a:cubicBezTo>
                    <a:pt x="8691" y="20946"/>
                    <a:pt x="9533" y="21599"/>
                    <a:pt x="10524" y="21600"/>
                  </a:cubicBezTo>
                  <a:cubicBezTo>
                    <a:pt x="11638" y="21594"/>
                    <a:pt x="12535" y="20771"/>
                    <a:pt x="12533" y="19755"/>
                  </a:cubicBezTo>
                  <a:cubicBezTo>
                    <a:pt x="12529" y="18849"/>
                    <a:pt x="11806" y="18077"/>
                    <a:pt x="10826" y="17939"/>
                  </a:cubicBezTo>
                  <a:cubicBezTo>
                    <a:pt x="10826" y="17939"/>
                    <a:pt x="10839" y="17939"/>
                    <a:pt x="10839" y="17939"/>
                  </a:cubicBezTo>
                  <a:lnTo>
                    <a:pt x="10839" y="17484"/>
                  </a:lnTo>
                  <a:cubicBezTo>
                    <a:pt x="10839" y="17324"/>
                    <a:pt x="10699" y="17190"/>
                    <a:pt x="10524" y="17190"/>
                  </a:cubicBezTo>
                  <a:close/>
                  <a:moveTo>
                    <a:pt x="10530" y="18496"/>
                  </a:moveTo>
                  <a:cubicBezTo>
                    <a:pt x="11294" y="18497"/>
                    <a:pt x="11910" y="19063"/>
                    <a:pt x="11909" y="19761"/>
                  </a:cubicBezTo>
                  <a:cubicBezTo>
                    <a:pt x="11908" y="20456"/>
                    <a:pt x="11293" y="21024"/>
                    <a:pt x="10530" y="21025"/>
                  </a:cubicBezTo>
                  <a:cubicBezTo>
                    <a:pt x="9766" y="21024"/>
                    <a:pt x="9144" y="20458"/>
                    <a:pt x="9145" y="19761"/>
                  </a:cubicBezTo>
                  <a:cubicBezTo>
                    <a:pt x="9146" y="19065"/>
                    <a:pt x="9768" y="18497"/>
                    <a:pt x="10530" y="18496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FFFFFF"/>
              </a:solidFill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14" name="CuadroTexto 13">
            <a:extLst>
              <a:ext uri="{FF2B5EF4-FFF2-40B4-BE49-F238E27FC236}">
                <a16:creationId xmlns:a16="http://schemas.microsoft.com/office/drawing/2014/main" id="{D27ADE8D-A05A-85A4-29CF-A22EBCE8A11F}"/>
              </a:ext>
            </a:extLst>
          </p:cNvPr>
          <p:cNvSpPr txBox="1"/>
          <p:nvPr/>
        </p:nvSpPr>
        <p:spPr>
          <a:xfrm>
            <a:off x="3085731" y="3318610"/>
            <a:ext cx="54057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BRIEF DE MARCA</a:t>
            </a:r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10761040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10C9AC7-0182-7469-50A6-B7B05F8087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2400" b="1" err="1"/>
              <a:t>Highlights</a:t>
            </a:r>
            <a:r>
              <a:rPr lang="es-MX" sz="2400" b="1"/>
              <a:t> </a:t>
            </a:r>
            <a:r>
              <a:rPr lang="es-MX" sz="2400"/>
              <a:t>Principales</a:t>
            </a:r>
            <a:r>
              <a:rPr lang="es-MX" sz="2400" b="1"/>
              <a:t> </a:t>
            </a:r>
          </a:p>
        </p:txBody>
      </p:sp>
      <p:sp>
        <p:nvSpPr>
          <p:cNvPr id="16" name="Marcador de pie de página 15">
            <a:extLst>
              <a:ext uri="{FF2B5EF4-FFF2-40B4-BE49-F238E27FC236}">
                <a16:creationId xmlns:a16="http://schemas.microsoft.com/office/drawing/2014/main" id="{D294550F-70E4-5145-0639-20EE7E0FF3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17" name="Marcador de número de diapositiva 16">
            <a:extLst>
              <a:ext uri="{FF2B5EF4-FFF2-40B4-BE49-F238E27FC236}">
                <a16:creationId xmlns:a16="http://schemas.microsoft.com/office/drawing/2014/main" id="{FEC4AE52-47B5-9A25-E412-295C211543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21</a:t>
            </a:fld>
            <a:endParaRPr lang="es-MX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D7AF2BA0-6468-1BC7-C44E-916A7A70B4CA}"/>
              </a:ext>
            </a:extLst>
          </p:cNvPr>
          <p:cNvSpPr txBox="1">
            <a:spLocks/>
          </p:cNvSpPr>
          <p:nvPr/>
        </p:nvSpPr>
        <p:spPr>
          <a:xfrm>
            <a:off x="3469641" y="1642745"/>
            <a:ext cx="6393510" cy="1281600"/>
          </a:xfrm>
          <a:prstGeom prst="rect">
            <a:avLst/>
          </a:prstGeom>
          <a:solidFill>
            <a:srgbClr val="EDE9E9"/>
          </a:solidFill>
        </p:spPr>
        <p:txBody>
          <a:bodyPr lIns="360000" anchor="ctr"/>
          <a:lstStyle>
            <a:lvl1pPr marL="0" indent="0" algn="l" defTabSz="3637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3637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System Font Regular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0400" indent="-320400" algn="l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System Font Regular"/>
              <a:buChar char="⏤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55" indent="0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0180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2032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3883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5734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tx1"/>
                </a:solidFill>
              </a:rPr>
              <a:t>Growing Consumer Trend</a:t>
            </a:r>
          </a:p>
          <a:p>
            <a:pPr lvl="1"/>
            <a:r>
              <a:rPr lang="en-GB"/>
              <a:t>[Indicator or explanation]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12008A23-AF90-A057-9EBC-EC767973267B}"/>
              </a:ext>
            </a:extLst>
          </p:cNvPr>
          <p:cNvSpPr txBox="1">
            <a:spLocks/>
          </p:cNvSpPr>
          <p:nvPr/>
        </p:nvSpPr>
        <p:spPr>
          <a:xfrm>
            <a:off x="2045101" y="1642745"/>
            <a:ext cx="1424540" cy="1281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lIns="180000" tIns="180000" rIns="180000" bIns="180000" anchor="ctr"/>
          <a:lstStyle>
            <a:lvl1pPr marL="0" indent="0" algn="l" defTabSz="3637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3637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System Font Regular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0400" indent="-320400" algn="l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System Font Regular"/>
              <a:buChar char="⏤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55" indent="0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0180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2032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3883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5734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000">
                <a:solidFill>
                  <a:schemeClr val="bg1"/>
                </a:solidFill>
              </a:rPr>
              <a:t>###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4C7F470-9B68-72AB-C7EA-AF5CEA835AA2}"/>
              </a:ext>
            </a:extLst>
          </p:cNvPr>
          <p:cNvSpPr txBox="1">
            <a:spLocks/>
          </p:cNvSpPr>
          <p:nvPr/>
        </p:nvSpPr>
        <p:spPr>
          <a:xfrm>
            <a:off x="3469641" y="3095625"/>
            <a:ext cx="6393510" cy="1281600"/>
          </a:xfrm>
          <a:prstGeom prst="rect">
            <a:avLst/>
          </a:prstGeom>
          <a:solidFill>
            <a:srgbClr val="EDE9E9"/>
          </a:solidFill>
        </p:spPr>
        <p:txBody>
          <a:bodyPr lIns="360000" anchor="ctr"/>
          <a:lstStyle>
            <a:lvl1pPr marL="0" indent="0" algn="l" defTabSz="3637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3637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System Font Regular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0400" indent="-320400" algn="l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System Font Regular"/>
              <a:buChar char="⏤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55" indent="0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0180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2032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3883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5734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tx1"/>
                </a:solidFill>
              </a:rPr>
              <a:t>Key Consumer Barrier</a:t>
            </a:r>
          </a:p>
          <a:p>
            <a:pPr lvl="1"/>
            <a:r>
              <a:rPr lang="en-GB"/>
              <a:t>[Indicator or explanation]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C5EB2978-055E-9E04-4707-02062D6975F1}"/>
              </a:ext>
            </a:extLst>
          </p:cNvPr>
          <p:cNvSpPr txBox="1">
            <a:spLocks/>
          </p:cNvSpPr>
          <p:nvPr/>
        </p:nvSpPr>
        <p:spPr>
          <a:xfrm>
            <a:off x="2045101" y="3095625"/>
            <a:ext cx="1424540" cy="1281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lIns="180000" tIns="180000" rIns="180000" bIns="180000" anchor="ctr"/>
          <a:lstStyle>
            <a:lvl1pPr marL="0" indent="0" algn="l" defTabSz="3637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3637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System Font Regular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0400" indent="-320400" algn="l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System Font Regular"/>
              <a:buChar char="⏤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55" indent="0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0180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2032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3883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5734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000">
                <a:solidFill>
                  <a:schemeClr val="bg1"/>
                </a:solidFill>
              </a:rPr>
              <a:t>###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55D89126-5EB6-3BC0-74CF-FF6E070C8CFA}"/>
              </a:ext>
            </a:extLst>
          </p:cNvPr>
          <p:cNvSpPr txBox="1">
            <a:spLocks/>
          </p:cNvSpPr>
          <p:nvPr/>
        </p:nvSpPr>
        <p:spPr>
          <a:xfrm>
            <a:off x="3469640" y="4548505"/>
            <a:ext cx="6393510" cy="1281600"/>
          </a:xfrm>
          <a:prstGeom prst="rect">
            <a:avLst/>
          </a:prstGeom>
          <a:solidFill>
            <a:srgbClr val="EDE9E9"/>
          </a:solidFill>
        </p:spPr>
        <p:txBody>
          <a:bodyPr lIns="360000" anchor="ctr"/>
          <a:lstStyle>
            <a:lvl1pPr marL="0" indent="0" algn="l" defTabSz="3637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3637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System Font Regular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0400" indent="-320400" algn="l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System Font Regular"/>
              <a:buChar char="⏤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55" indent="0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0180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2032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3883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5734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tx1"/>
                </a:solidFill>
              </a:rPr>
              <a:t>Category Growth Channels:</a:t>
            </a:r>
          </a:p>
          <a:p>
            <a:pPr lvl="1"/>
            <a:r>
              <a:rPr lang="en-GB"/>
              <a:t>[Indicator or explanation]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42BDCEAF-28F8-D7C2-0F1E-78E4CFFB5544}"/>
              </a:ext>
            </a:extLst>
          </p:cNvPr>
          <p:cNvSpPr txBox="1">
            <a:spLocks/>
          </p:cNvSpPr>
          <p:nvPr/>
        </p:nvSpPr>
        <p:spPr>
          <a:xfrm>
            <a:off x="2045100" y="4548505"/>
            <a:ext cx="1424540" cy="1281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lIns="180000" tIns="180000" rIns="180000" bIns="180000" anchor="ctr"/>
          <a:lstStyle>
            <a:lvl1pPr marL="0" indent="0" algn="l" defTabSz="3637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3637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System Font Regular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0400" indent="-320400" algn="l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System Font Regular"/>
              <a:buChar char="⏤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55" indent="0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0180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2032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3883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5734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000">
                <a:solidFill>
                  <a:schemeClr val="bg1"/>
                </a:solidFill>
              </a:rPr>
              <a:t>###</a:t>
            </a:r>
            <a:endParaRPr lang="en-GB" sz="1600">
              <a:solidFill>
                <a:schemeClr val="bg1"/>
              </a:solidFill>
            </a:endParaRPr>
          </a:p>
        </p:txBody>
      </p:sp>
      <p:grpSp>
        <p:nvGrpSpPr>
          <p:cNvPr id="3" name="Group 16">
            <a:extLst>
              <a:ext uri="{FF2B5EF4-FFF2-40B4-BE49-F238E27FC236}">
                <a16:creationId xmlns:a16="http://schemas.microsoft.com/office/drawing/2014/main" id="{25CAE6A8-CC74-D89C-7A41-2F1D7542ED4C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5" name="Round Same-side Corner of Rectangle 5">
              <a:extLst>
                <a:ext uri="{FF2B5EF4-FFF2-40B4-BE49-F238E27FC236}">
                  <a16:creationId xmlns:a16="http://schemas.microsoft.com/office/drawing/2014/main" id="{DBD98CDA-2568-077C-F939-CE13191CB9C9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4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7" name="Oval 18">
              <a:extLst>
                <a:ext uri="{FF2B5EF4-FFF2-40B4-BE49-F238E27FC236}">
                  <a16:creationId xmlns:a16="http://schemas.microsoft.com/office/drawing/2014/main" id="{15955CD5-CA70-28C8-C5DD-942FB48AE82E}"/>
                </a:ext>
              </a:extLst>
            </p:cNvPr>
            <p:cNvSpPr/>
            <p:nvPr/>
          </p:nvSpPr>
          <p:spPr>
            <a:xfrm>
              <a:off x="10366304" y="136553"/>
              <a:ext cx="283585" cy="28358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11" name="TextBox 19">
              <a:extLst>
                <a:ext uri="{FF2B5EF4-FFF2-40B4-BE49-F238E27FC236}">
                  <a16:creationId xmlns:a16="http://schemas.microsoft.com/office/drawing/2014/main" id="{CBE811AD-E5B4-B13D-8625-0EC62775B13C}"/>
                </a:ext>
              </a:extLst>
            </p:cNvPr>
            <p:cNvSpPr txBox="1"/>
            <p:nvPr/>
          </p:nvSpPr>
          <p:spPr>
            <a:xfrm>
              <a:off x="10640364" y="124456"/>
              <a:ext cx="1132041" cy="30777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61E1E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Estrategia</a:t>
              </a:r>
              <a:endPara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61E1E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endParaRPr>
            </a:p>
          </p:txBody>
        </p:sp>
        <p:sp>
          <p:nvSpPr>
            <p:cNvPr id="14" name="Google Shape;1124;p39">
              <a:extLst>
                <a:ext uri="{FF2B5EF4-FFF2-40B4-BE49-F238E27FC236}">
                  <a16:creationId xmlns:a16="http://schemas.microsoft.com/office/drawing/2014/main" id="{115F1E3A-3672-1B68-2B62-0A53224392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17368" y="177814"/>
              <a:ext cx="184632" cy="2077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35" h="21600" extrusionOk="0">
                  <a:moveTo>
                    <a:pt x="10517" y="0"/>
                  </a:moveTo>
                  <a:cubicBezTo>
                    <a:pt x="9403" y="6"/>
                    <a:pt x="8505" y="835"/>
                    <a:pt x="8508" y="1851"/>
                  </a:cubicBezTo>
                  <a:cubicBezTo>
                    <a:pt x="8512" y="2757"/>
                    <a:pt x="9235" y="3523"/>
                    <a:pt x="10215" y="3661"/>
                  </a:cubicBezTo>
                  <a:cubicBezTo>
                    <a:pt x="10215" y="3661"/>
                    <a:pt x="10195" y="3661"/>
                    <a:pt x="10195" y="3661"/>
                  </a:cubicBezTo>
                  <a:lnTo>
                    <a:pt x="10195" y="4122"/>
                  </a:lnTo>
                  <a:cubicBezTo>
                    <a:pt x="10195" y="4282"/>
                    <a:pt x="10342" y="4410"/>
                    <a:pt x="10517" y="4410"/>
                  </a:cubicBezTo>
                  <a:cubicBezTo>
                    <a:pt x="10692" y="4410"/>
                    <a:pt x="10832" y="4282"/>
                    <a:pt x="10832" y="4122"/>
                  </a:cubicBezTo>
                  <a:lnTo>
                    <a:pt x="10832" y="3661"/>
                  </a:lnTo>
                  <a:cubicBezTo>
                    <a:pt x="11932" y="3500"/>
                    <a:pt x="12683" y="2556"/>
                    <a:pt x="12506" y="1552"/>
                  </a:cubicBezTo>
                  <a:cubicBezTo>
                    <a:pt x="12350" y="660"/>
                    <a:pt x="11507" y="1"/>
                    <a:pt x="10517" y="0"/>
                  </a:cubicBezTo>
                  <a:close/>
                  <a:moveTo>
                    <a:pt x="10510" y="581"/>
                  </a:moveTo>
                  <a:cubicBezTo>
                    <a:pt x="11274" y="582"/>
                    <a:pt x="11890" y="1148"/>
                    <a:pt x="11889" y="1845"/>
                  </a:cubicBezTo>
                  <a:cubicBezTo>
                    <a:pt x="11888" y="2541"/>
                    <a:pt x="11273" y="3109"/>
                    <a:pt x="10510" y="3110"/>
                  </a:cubicBezTo>
                  <a:cubicBezTo>
                    <a:pt x="9746" y="3109"/>
                    <a:pt x="9124" y="2543"/>
                    <a:pt x="9125" y="1845"/>
                  </a:cubicBezTo>
                  <a:cubicBezTo>
                    <a:pt x="9126" y="1150"/>
                    <a:pt x="9748" y="582"/>
                    <a:pt x="10510" y="581"/>
                  </a:cubicBezTo>
                  <a:close/>
                  <a:moveTo>
                    <a:pt x="2028" y="4482"/>
                  </a:moveTo>
                  <a:cubicBezTo>
                    <a:pt x="1321" y="4478"/>
                    <a:pt x="641" y="4818"/>
                    <a:pt x="269" y="5404"/>
                  </a:cubicBezTo>
                  <a:cubicBezTo>
                    <a:pt x="-283" y="6288"/>
                    <a:pt x="51" y="7415"/>
                    <a:pt x="1017" y="7921"/>
                  </a:cubicBezTo>
                  <a:cubicBezTo>
                    <a:pt x="1878" y="8371"/>
                    <a:pt x="2969" y="8177"/>
                    <a:pt x="3591" y="7472"/>
                  </a:cubicBezTo>
                  <a:cubicBezTo>
                    <a:pt x="3591" y="7472"/>
                    <a:pt x="3584" y="7484"/>
                    <a:pt x="3584" y="7484"/>
                  </a:cubicBezTo>
                  <a:lnTo>
                    <a:pt x="4017" y="7717"/>
                  </a:lnTo>
                  <a:cubicBezTo>
                    <a:pt x="4169" y="7797"/>
                    <a:pt x="4363" y="7748"/>
                    <a:pt x="4451" y="7609"/>
                  </a:cubicBezTo>
                  <a:cubicBezTo>
                    <a:pt x="4538" y="7471"/>
                    <a:pt x="4491" y="7294"/>
                    <a:pt x="4339" y="7214"/>
                  </a:cubicBezTo>
                  <a:lnTo>
                    <a:pt x="3899" y="6980"/>
                  </a:lnTo>
                  <a:cubicBezTo>
                    <a:pt x="4297" y="6030"/>
                    <a:pt x="3778" y="4970"/>
                    <a:pt x="2737" y="4608"/>
                  </a:cubicBezTo>
                  <a:cubicBezTo>
                    <a:pt x="2506" y="4527"/>
                    <a:pt x="2264" y="4483"/>
                    <a:pt x="2028" y="4482"/>
                  </a:cubicBezTo>
                  <a:close/>
                  <a:moveTo>
                    <a:pt x="18763" y="4500"/>
                  </a:moveTo>
                  <a:cubicBezTo>
                    <a:pt x="18503" y="4530"/>
                    <a:pt x="18249" y="4606"/>
                    <a:pt x="18008" y="4733"/>
                  </a:cubicBezTo>
                  <a:cubicBezTo>
                    <a:pt x="17151" y="5189"/>
                    <a:pt x="16782" y="6148"/>
                    <a:pt x="17141" y="6992"/>
                  </a:cubicBezTo>
                  <a:cubicBezTo>
                    <a:pt x="17141" y="6992"/>
                    <a:pt x="17135" y="6980"/>
                    <a:pt x="17135" y="6980"/>
                  </a:cubicBezTo>
                  <a:lnTo>
                    <a:pt x="16695" y="7208"/>
                  </a:lnTo>
                  <a:cubicBezTo>
                    <a:pt x="16543" y="7288"/>
                    <a:pt x="16496" y="7465"/>
                    <a:pt x="16583" y="7603"/>
                  </a:cubicBezTo>
                  <a:cubicBezTo>
                    <a:pt x="16671" y="7742"/>
                    <a:pt x="16865" y="7791"/>
                    <a:pt x="17017" y="7711"/>
                  </a:cubicBezTo>
                  <a:lnTo>
                    <a:pt x="17450" y="7478"/>
                  </a:lnTo>
                  <a:cubicBezTo>
                    <a:pt x="18152" y="8267"/>
                    <a:pt x="19428" y="8388"/>
                    <a:pt x="20293" y="7747"/>
                  </a:cubicBezTo>
                  <a:cubicBezTo>
                    <a:pt x="21061" y="7177"/>
                    <a:pt x="21260" y="6181"/>
                    <a:pt x="20765" y="5399"/>
                  </a:cubicBezTo>
                  <a:cubicBezTo>
                    <a:pt x="20343" y="4740"/>
                    <a:pt x="19543" y="4409"/>
                    <a:pt x="18763" y="4500"/>
                  </a:cubicBezTo>
                  <a:close/>
                  <a:moveTo>
                    <a:pt x="18842" y="5063"/>
                  </a:moveTo>
                  <a:cubicBezTo>
                    <a:pt x="19376" y="5003"/>
                    <a:pt x="19927" y="5234"/>
                    <a:pt x="20214" y="5686"/>
                  </a:cubicBezTo>
                  <a:cubicBezTo>
                    <a:pt x="20595" y="6290"/>
                    <a:pt x="20364" y="7058"/>
                    <a:pt x="19702" y="7406"/>
                  </a:cubicBezTo>
                  <a:cubicBezTo>
                    <a:pt x="19041" y="7753"/>
                    <a:pt x="18200" y="7547"/>
                    <a:pt x="17817" y="6944"/>
                  </a:cubicBezTo>
                  <a:cubicBezTo>
                    <a:pt x="17436" y="6340"/>
                    <a:pt x="17661" y="5573"/>
                    <a:pt x="18323" y="5225"/>
                  </a:cubicBezTo>
                  <a:cubicBezTo>
                    <a:pt x="18488" y="5138"/>
                    <a:pt x="18664" y="5083"/>
                    <a:pt x="18842" y="5063"/>
                  </a:cubicBezTo>
                  <a:close/>
                  <a:moveTo>
                    <a:pt x="2186" y="5081"/>
                  </a:moveTo>
                  <a:cubicBezTo>
                    <a:pt x="2364" y="5101"/>
                    <a:pt x="2539" y="5155"/>
                    <a:pt x="2704" y="5243"/>
                  </a:cubicBezTo>
                  <a:cubicBezTo>
                    <a:pt x="3364" y="5592"/>
                    <a:pt x="3590" y="6359"/>
                    <a:pt x="3210" y="6962"/>
                  </a:cubicBezTo>
                  <a:cubicBezTo>
                    <a:pt x="2827" y="7566"/>
                    <a:pt x="1980" y="7773"/>
                    <a:pt x="1319" y="7424"/>
                  </a:cubicBezTo>
                  <a:cubicBezTo>
                    <a:pt x="659" y="7075"/>
                    <a:pt x="433" y="6301"/>
                    <a:pt x="814" y="5698"/>
                  </a:cubicBezTo>
                  <a:cubicBezTo>
                    <a:pt x="1101" y="5246"/>
                    <a:pt x="1651" y="5020"/>
                    <a:pt x="2186" y="5081"/>
                  </a:cubicBezTo>
                  <a:close/>
                  <a:moveTo>
                    <a:pt x="10517" y="5081"/>
                  </a:moveTo>
                  <a:cubicBezTo>
                    <a:pt x="10342" y="5081"/>
                    <a:pt x="10202" y="5215"/>
                    <a:pt x="10202" y="5375"/>
                  </a:cubicBezTo>
                  <a:lnTo>
                    <a:pt x="10202" y="6417"/>
                  </a:lnTo>
                  <a:cubicBezTo>
                    <a:pt x="10202" y="6577"/>
                    <a:pt x="10342" y="6705"/>
                    <a:pt x="10517" y="6705"/>
                  </a:cubicBezTo>
                  <a:cubicBezTo>
                    <a:pt x="10692" y="6705"/>
                    <a:pt x="10839" y="6577"/>
                    <a:pt x="10839" y="6417"/>
                  </a:cubicBezTo>
                  <a:lnTo>
                    <a:pt x="10839" y="5375"/>
                  </a:lnTo>
                  <a:cubicBezTo>
                    <a:pt x="10839" y="5215"/>
                    <a:pt x="10692" y="5081"/>
                    <a:pt x="10517" y="5081"/>
                  </a:cubicBezTo>
                  <a:close/>
                  <a:moveTo>
                    <a:pt x="10530" y="7388"/>
                  </a:moveTo>
                  <a:cubicBezTo>
                    <a:pt x="10355" y="7388"/>
                    <a:pt x="10215" y="7515"/>
                    <a:pt x="10215" y="7675"/>
                  </a:cubicBezTo>
                  <a:lnTo>
                    <a:pt x="10215" y="8113"/>
                  </a:lnTo>
                  <a:lnTo>
                    <a:pt x="9322" y="8113"/>
                  </a:lnTo>
                  <a:cubicBezTo>
                    <a:pt x="8639" y="8113"/>
                    <a:pt x="8046" y="8470"/>
                    <a:pt x="7760" y="8994"/>
                  </a:cubicBezTo>
                  <a:lnTo>
                    <a:pt x="7399" y="8802"/>
                  </a:lnTo>
                  <a:cubicBezTo>
                    <a:pt x="7247" y="8721"/>
                    <a:pt x="7054" y="8772"/>
                    <a:pt x="6965" y="8910"/>
                  </a:cubicBezTo>
                  <a:cubicBezTo>
                    <a:pt x="6877" y="9048"/>
                    <a:pt x="6925" y="9224"/>
                    <a:pt x="7077" y="9305"/>
                  </a:cubicBezTo>
                  <a:lnTo>
                    <a:pt x="7576" y="9575"/>
                  </a:lnTo>
                  <a:cubicBezTo>
                    <a:pt x="7572" y="9618"/>
                    <a:pt x="7576" y="9662"/>
                    <a:pt x="7576" y="9707"/>
                  </a:cubicBezTo>
                  <a:lnTo>
                    <a:pt x="7576" y="11893"/>
                  </a:lnTo>
                  <a:cubicBezTo>
                    <a:pt x="7576" y="11938"/>
                    <a:pt x="7572" y="11982"/>
                    <a:pt x="7576" y="12025"/>
                  </a:cubicBezTo>
                  <a:lnTo>
                    <a:pt x="7077" y="12295"/>
                  </a:lnTo>
                  <a:cubicBezTo>
                    <a:pt x="6925" y="12376"/>
                    <a:pt x="6877" y="12552"/>
                    <a:pt x="6965" y="12690"/>
                  </a:cubicBezTo>
                  <a:cubicBezTo>
                    <a:pt x="7024" y="12783"/>
                    <a:pt x="7132" y="12834"/>
                    <a:pt x="7241" y="12834"/>
                  </a:cubicBezTo>
                  <a:cubicBezTo>
                    <a:pt x="7295" y="12834"/>
                    <a:pt x="7348" y="12819"/>
                    <a:pt x="7399" y="12792"/>
                  </a:cubicBezTo>
                  <a:lnTo>
                    <a:pt x="7760" y="12606"/>
                  </a:lnTo>
                  <a:cubicBezTo>
                    <a:pt x="8046" y="13130"/>
                    <a:pt x="8639" y="13487"/>
                    <a:pt x="9322" y="13487"/>
                  </a:cubicBezTo>
                  <a:lnTo>
                    <a:pt x="10215" y="13487"/>
                  </a:lnTo>
                  <a:lnTo>
                    <a:pt x="10215" y="13925"/>
                  </a:lnTo>
                  <a:cubicBezTo>
                    <a:pt x="10215" y="14085"/>
                    <a:pt x="10355" y="14212"/>
                    <a:pt x="10530" y="14212"/>
                  </a:cubicBezTo>
                  <a:cubicBezTo>
                    <a:pt x="10705" y="14212"/>
                    <a:pt x="10845" y="14085"/>
                    <a:pt x="10845" y="13925"/>
                  </a:cubicBezTo>
                  <a:lnTo>
                    <a:pt x="10845" y="13487"/>
                  </a:lnTo>
                  <a:lnTo>
                    <a:pt x="11718" y="13487"/>
                  </a:lnTo>
                  <a:cubicBezTo>
                    <a:pt x="12402" y="13487"/>
                    <a:pt x="12995" y="13130"/>
                    <a:pt x="13281" y="12606"/>
                  </a:cubicBezTo>
                  <a:lnTo>
                    <a:pt x="13635" y="12792"/>
                  </a:lnTo>
                  <a:cubicBezTo>
                    <a:pt x="13686" y="12819"/>
                    <a:pt x="13745" y="12834"/>
                    <a:pt x="13800" y="12834"/>
                  </a:cubicBezTo>
                  <a:cubicBezTo>
                    <a:pt x="13909" y="12834"/>
                    <a:pt x="14016" y="12783"/>
                    <a:pt x="14075" y="12690"/>
                  </a:cubicBezTo>
                  <a:cubicBezTo>
                    <a:pt x="14164" y="12552"/>
                    <a:pt x="14115" y="12376"/>
                    <a:pt x="13964" y="12295"/>
                  </a:cubicBezTo>
                  <a:lnTo>
                    <a:pt x="13458" y="12025"/>
                  </a:lnTo>
                  <a:cubicBezTo>
                    <a:pt x="13462" y="11982"/>
                    <a:pt x="13465" y="11938"/>
                    <a:pt x="13465" y="11893"/>
                  </a:cubicBezTo>
                  <a:lnTo>
                    <a:pt x="13465" y="9707"/>
                  </a:lnTo>
                  <a:cubicBezTo>
                    <a:pt x="13465" y="9662"/>
                    <a:pt x="13462" y="9618"/>
                    <a:pt x="13458" y="9575"/>
                  </a:cubicBezTo>
                  <a:lnTo>
                    <a:pt x="13964" y="9305"/>
                  </a:lnTo>
                  <a:cubicBezTo>
                    <a:pt x="14115" y="9224"/>
                    <a:pt x="14164" y="9048"/>
                    <a:pt x="14075" y="8910"/>
                  </a:cubicBezTo>
                  <a:cubicBezTo>
                    <a:pt x="13987" y="8772"/>
                    <a:pt x="13787" y="8721"/>
                    <a:pt x="13635" y="8802"/>
                  </a:cubicBezTo>
                  <a:lnTo>
                    <a:pt x="13281" y="8994"/>
                  </a:lnTo>
                  <a:cubicBezTo>
                    <a:pt x="12995" y="8470"/>
                    <a:pt x="12402" y="8113"/>
                    <a:pt x="11718" y="8113"/>
                  </a:cubicBezTo>
                  <a:lnTo>
                    <a:pt x="10845" y="8113"/>
                  </a:lnTo>
                  <a:lnTo>
                    <a:pt x="10845" y="7675"/>
                  </a:lnTo>
                  <a:cubicBezTo>
                    <a:pt x="10845" y="7515"/>
                    <a:pt x="10705" y="7388"/>
                    <a:pt x="10530" y="7388"/>
                  </a:cubicBezTo>
                  <a:close/>
                  <a:moveTo>
                    <a:pt x="5160" y="7687"/>
                  </a:moveTo>
                  <a:cubicBezTo>
                    <a:pt x="5081" y="7706"/>
                    <a:pt x="5007" y="7756"/>
                    <a:pt x="4963" y="7825"/>
                  </a:cubicBezTo>
                  <a:cubicBezTo>
                    <a:pt x="4874" y="7963"/>
                    <a:pt x="4923" y="8145"/>
                    <a:pt x="5074" y="8227"/>
                  </a:cubicBezTo>
                  <a:lnTo>
                    <a:pt x="6059" y="8754"/>
                  </a:lnTo>
                  <a:cubicBezTo>
                    <a:pt x="6210" y="8835"/>
                    <a:pt x="6410" y="8790"/>
                    <a:pt x="6499" y="8652"/>
                  </a:cubicBezTo>
                  <a:cubicBezTo>
                    <a:pt x="6588" y="8514"/>
                    <a:pt x="6532" y="8332"/>
                    <a:pt x="6381" y="8251"/>
                  </a:cubicBezTo>
                  <a:lnTo>
                    <a:pt x="5396" y="7723"/>
                  </a:lnTo>
                  <a:cubicBezTo>
                    <a:pt x="5321" y="7683"/>
                    <a:pt x="5238" y="7669"/>
                    <a:pt x="5160" y="7687"/>
                  </a:cubicBezTo>
                  <a:close/>
                  <a:moveTo>
                    <a:pt x="15881" y="7687"/>
                  </a:moveTo>
                  <a:cubicBezTo>
                    <a:pt x="15802" y="7669"/>
                    <a:pt x="15720" y="7683"/>
                    <a:pt x="15644" y="7723"/>
                  </a:cubicBezTo>
                  <a:lnTo>
                    <a:pt x="14653" y="8251"/>
                  </a:lnTo>
                  <a:cubicBezTo>
                    <a:pt x="14502" y="8332"/>
                    <a:pt x="14453" y="8514"/>
                    <a:pt x="14541" y="8652"/>
                  </a:cubicBezTo>
                  <a:cubicBezTo>
                    <a:pt x="14630" y="8790"/>
                    <a:pt x="14824" y="8835"/>
                    <a:pt x="14975" y="8754"/>
                  </a:cubicBezTo>
                  <a:lnTo>
                    <a:pt x="15966" y="8227"/>
                  </a:lnTo>
                  <a:cubicBezTo>
                    <a:pt x="16117" y="8145"/>
                    <a:pt x="16160" y="7963"/>
                    <a:pt x="16071" y="7825"/>
                  </a:cubicBezTo>
                  <a:cubicBezTo>
                    <a:pt x="16027" y="7756"/>
                    <a:pt x="15959" y="7706"/>
                    <a:pt x="15881" y="7687"/>
                  </a:cubicBezTo>
                  <a:close/>
                  <a:moveTo>
                    <a:pt x="9322" y="8688"/>
                  </a:moveTo>
                  <a:lnTo>
                    <a:pt x="11718" y="8688"/>
                  </a:lnTo>
                  <a:cubicBezTo>
                    <a:pt x="12331" y="8688"/>
                    <a:pt x="12828" y="9147"/>
                    <a:pt x="12828" y="9707"/>
                  </a:cubicBezTo>
                  <a:lnTo>
                    <a:pt x="12828" y="11893"/>
                  </a:lnTo>
                  <a:cubicBezTo>
                    <a:pt x="12828" y="12452"/>
                    <a:pt x="12331" y="12906"/>
                    <a:pt x="11718" y="12906"/>
                  </a:cubicBezTo>
                  <a:lnTo>
                    <a:pt x="9322" y="12906"/>
                  </a:lnTo>
                  <a:cubicBezTo>
                    <a:pt x="8710" y="12906"/>
                    <a:pt x="8206" y="12452"/>
                    <a:pt x="8206" y="11893"/>
                  </a:cubicBezTo>
                  <a:lnTo>
                    <a:pt x="8206" y="9707"/>
                  </a:lnTo>
                  <a:cubicBezTo>
                    <a:pt x="8206" y="9147"/>
                    <a:pt x="8710" y="8688"/>
                    <a:pt x="9322" y="8688"/>
                  </a:cubicBezTo>
                  <a:close/>
                  <a:moveTo>
                    <a:pt x="6302" y="12816"/>
                  </a:moveTo>
                  <a:cubicBezTo>
                    <a:pt x="6224" y="12798"/>
                    <a:pt x="6135" y="12806"/>
                    <a:pt x="6059" y="12846"/>
                  </a:cubicBezTo>
                  <a:lnTo>
                    <a:pt x="5074" y="13373"/>
                  </a:lnTo>
                  <a:cubicBezTo>
                    <a:pt x="4923" y="13455"/>
                    <a:pt x="4874" y="13637"/>
                    <a:pt x="4963" y="13775"/>
                  </a:cubicBezTo>
                  <a:cubicBezTo>
                    <a:pt x="5052" y="13913"/>
                    <a:pt x="5245" y="13958"/>
                    <a:pt x="5396" y="13877"/>
                  </a:cubicBezTo>
                  <a:lnTo>
                    <a:pt x="6381" y="13349"/>
                  </a:lnTo>
                  <a:cubicBezTo>
                    <a:pt x="6532" y="13268"/>
                    <a:pt x="6588" y="13086"/>
                    <a:pt x="6499" y="12948"/>
                  </a:cubicBezTo>
                  <a:cubicBezTo>
                    <a:pt x="6455" y="12879"/>
                    <a:pt x="6381" y="12835"/>
                    <a:pt x="6302" y="12816"/>
                  </a:cubicBezTo>
                  <a:close/>
                  <a:moveTo>
                    <a:pt x="14732" y="12816"/>
                  </a:moveTo>
                  <a:cubicBezTo>
                    <a:pt x="14653" y="12835"/>
                    <a:pt x="14586" y="12879"/>
                    <a:pt x="14541" y="12948"/>
                  </a:cubicBezTo>
                  <a:cubicBezTo>
                    <a:pt x="14452" y="13086"/>
                    <a:pt x="14502" y="13268"/>
                    <a:pt x="14653" y="13349"/>
                  </a:cubicBezTo>
                  <a:lnTo>
                    <a:pt x="15644" y="13877"/>
                  </a:lnTo>
                  <a:cubicBezTo>
                    <a:pt x="15795" y="13958"/>
                    <a:pt x="15982" y="13913"/>
                    <a:pt x="16071" y="13775"/>
                  </a:cubicBezTo>
                  <a:cubicBezTo>
                    <a:pt x="16160" y="13637"/>
                    <a:pt x="16117" y="13455"/>
                    <a:pt x="15966" y="13373"/>
                  </a:cubicBezTo>
                  <a:lnTo>
                    <a:pt x="14975" y="12846"/>
                  </a:lnTo>
                  <a:cubicBezTo>
                    <a:pt x="14899" y="12806"/>
                    <a:pt x="14810" y="12798"/>
                    <a:pt x="14732" y="12816"/>
                  </a:cubicBezTo>
                  <a:close/>
                  <a:moveTo>
                    <a:pt x="2225" y="13451"/>
                  </a:moveTo>
                  <a:cubicBezTo>
                    <a:pt x="1712" y="13403"/>
                    <a:pt x="1180" y="13538"/>
                    <a:pt x="748" y="13859"/>
                  </a:cubicBezTo>
                  <a:cubicBezTo>
                    <a:pt x="-20" y="14429"/>
                    <a:pt x="-226" y="15419"/>
                    <a:pt x="269" y="16201"/>
                  </a:cubicBezTo>
                  <a:cubicBezTo>
                    <a:pt x="831" y="17079"/>
                    <a:pt x="2069" y="17377"/>
                    <a:pt x="3033" y="16867"/>
                  </a:cubicBezTo>
                  <a:cubicBezTo>
                    <a:pt x="3890" y="16411"/>
                    <a:pt x="4258" y="15458"/>
                    <a:pt x="3899" y="14614"/>
                  </a:cubicBezTo>
                  <a:cubicBezTo>
                    <a:pt x="3899" y="14614"/>
                    <a:pt x="3906" y="14626"/>
                    <a:pt x="3906" y="14626"/>
                  </a:cubicBezTo>
                  <a:lnTo>
                    <a:pt x="4339" y="14398"/>
                  </a:lnTo>
                  <a:cubicBezTo>
                    <a:pt x="4491" y="14318"/>
                    <a:pt x="4545" y="14135"/>
                    <a:pt x="4457" y="13997"/>
                  </a:cubicBezTo>
                  <a:cubicBezTo>
                    <a:pt x="4370" y="13858"/>
                    <a:pt x="4176" y="13815"/>
                    <a:pt x="4024" y="13895"/>
                  </a:cubicBezTo>
                  <a:lnTo>
                    <a:pt x="3584" y="14122"/>
                  </a:lnTo>
                  <a:cubicBezTo>
                    <a:pt x="3233" y="13728"/>
                    <a:pt x="2739" y="13500"/>
                    <a:pt x="2225" y="13451"/>
                  </a:cubicBezTo>
                  <a:close/>
                  <a:moveTo>
                    <a:pt x="19341" y="13469"/>
                  </a:moveTo>
                  <a:cubicBezTo>
                    <a:pt x="18641" y="13366"/>
                    <a:pt x="17909" y="13599"/>
                    <a:pt x="17443" y="14128"/>
                  </a:cubicBezTo>
                  <a:cubicBezTo>
                    <a:pt x="17443" y="14128"/>
                    <a:pt x="17450" y="14116"/>
                    <a:pt x="17450" y="14116"/>
                  </a:cubicBezTo>
                  <a:lnTo>
                    <a:pt x="17017" y="13889"/>
                  </a:lnTo>
                  <a:cubicBezTo>
                    <a:pt x="16865" y="13809"/>
                    <a:pt x="16671" y="13858"/>
                    <a:pt x="16583" y="13997"/>
                  </a:cubicBezTo>
                  <a:cubicBezTo>
                    <a:pt x="16496" y="14135"/>
                    <a:pt x="16549" y="14312"/>
                    <a:pt x="16701" y="14392"/>
                  </a:cubicBezTo>
                  <a:lnTo>
                    <a:pt x="17135" y="14620"/>
                  </a:lnTo>
                  <a:cubicBezTo>
                    <a:pt x="16737" y="15570"/>
                    <a:pt x="17263" y="16636"/>
                    <a:pt x="18303" y="16998"/>
                  </a:cubicBezTo>
                  <a:cubicBezTo>
                    <a:pt x="19228" y="17321"/>
                    <a:pt x="20269" y="16984"/>
                    <a:pt x="20765" y="16201"/>
                  </a:cubicBezTo>
                  <a:cubicBezTo>
                    <a:pt x="21317" y="15318"/>
                    <a:pt x="20983" y="14191"/>
                    <a:pt x="20017" y="13685"/>
                  </a:cubicBezTo>
                  <a:cubicBezTo>
                    <a:pt x="19802" y="13573"/>
                    <a:pt x="19574" y="13504"/>
                    <a:pt x="19341" y="13469"/>
                  </a:cubicBezTo>
                  <a:close/>
                  <a:moveTo>
                    <a:pt x="19196" y="14021"/>
                  </a:moveTo>
                  <a:cubicBezTo>
                    <a:pt x="19374" y="14041"/>
                    <a:pt x="19550" y="14095"/>
                    <a:pt x="19715" y="14182"/>
                  </a:cubicBezTo>
                  <a:cubicBezTo>
                    <a:pt x="20375" y="14531"/>
                    <a:pt x="20601" y="15299"/>
                    <a:pt x="20220" y="15902"/>
                  </a:cubicBezTo>
                  <a:cubicBezTo>
                    <a:pt x="19837" y="16505"/>
                    <a:pt x="18991" y="16713"/>
                    <a:pt x="18330" y="16363"/>
                  </a:cubicBezTo>
                  <a:cubicBezTo>
                    <a:pt x="17670" y="16014"/>
                    <a:pt x="17444" y="15247"/>
                    <a:pt x="17824" y="14644"/>
                  </a:cubicBezTo>
                  <a:cubicBezTo>
                    <a:pt x="18111" y="14191"/>
                    <a:pt x="18661" y="13959"/>
                    <a:pt x="19196" y="14021"/>
                  </a:cubicBezTo>
                  <a:close/>
                  <a:moveTo>
                    <a:pt x="1858" y="14039"/>
                  </a:moveTo>
                  <a:cubicBezTo>
                    <a:pt x="2392" y="13978"/>
                    <a:pt x="2936" y="14204"/>
                    <a:pt x="3223" y="14656"/>
                  </a:cubicBezTo>
                  <a:cubicBezTo>
                    <a:pt x="3604" y="15260"/>
                    <a:pt x="3373" y="16033"/>
                    <a:pt x="2711" y="16381"/>
                  </a:cubicBezTo>
                  <a:cubicBezTo>
                    <a:pt x="2050" y="16728"/>
                    <a:pt x="1209" y="16522"/>
                    <a:pt x="827" y="15920"/>
                  </a:cubicBezTo>
                  <a:cubicBezTo>
                    <a:pt x="446" y="15316"/>
                    <a:pt x="670" y="14542"/>
                    <a:pt x="1332" y="14194"/>
                  </a:cubicBezTo>
                  <a:cubicBezTo>
                    <a:pt x="1498" y="14108"/>
                    <a:pt x="1680" y="14059"/>
                    <a:pt x="1858" y="14039"/>
                  </a:cubicBezTo>
                  <a:close/>
                  <a:moveTo>
                    <a:pt x="10517" y="14889"/>
                  </a:moveTo>
                  <a:cubicBezTo>
                    <a:pt x="10342" y="14889"/>
                    <a:pt x="10202" y="15017"/>
                    <a:pt x="10202" y="15177"/>
                  </a:cubicBezTo>
                  <a:lnTo>
                    <a:pt x="10202" y="16225"/>
                  </a:lnTo>
                  <a:cubicBezTo>
                    <a:pt x="10202" y="16385"/>
                    <a:pt x="10342" y="16513"/>
                    <a:pt x="10517" y="16513"/>
                  </a:cubicBezTo>
                  <a:cubicBezTo>
                    <a:pt x="10692" y="16513"/>
                    <a:pt x="10839" y="16385"/>
                    <a:pt x="10839" y="16225"/>
                  </a:cubicBezTo>
                  <a:lnTo>
                    <a:pt x="10839" y="15177"/>
                  </a:lnTo>
                  <a:cubicBezTo>
                    <a:pt x="10839" y="15017"/>
                    <a:pt x="10692" y="14889"/>
                    <a:pt x="10517" y="14889"/>
                  </a:cubicBezTo>
                  <a:close/>
                  <a:moveTo>
                    <a:pt x="10524" y="17190"/>
                  </a:moveTo>
                  <a:cubicBezTo>
                    <a:pt x="10348" y="17190"/>
                    <a:pt x="10202" y="17324"/>
                    <a:pt x="10202" y="17484"/>
                  </a:cubicBezTo>
                  <a:lnTo>
                    <a:pt x="10202" y="17945"/>
                  </a:lnTo>
                  <a:cubicBezTo>
                    <a:pt x="9102" y="18106"/>
                    <a:pt x="8358" y="19050"/>
                    <a:pt x="8534" y="20054"/>
                  </a:cubicBezTo>
                  <a:cubicBezTo>
                    <a:pt x="8691" y="20946"/>
                    <a:pt x="9533" y="21599"/>
                    <a:pt x="10524" y="21600"/>
                  </a:cubicBezTo>
                  <a:cubicBezTo>
                    <a:pt x="11638" y="21594"/>
                    <a:pt x="12535" y="20771"/>
                    <a:pt x="12533" y="19755"/>
                  </a:cubicBezTo>
                  <a:cubicBezTo>
                    <a:pt x="12529" y="18849"/>
                    <a:pt x="11806" y="18077"/>
                    <a:pt x="10826" y="17939"/>
                  </a:cubicBezTo>
                  <a:cubicBezTo>
                    <a:pt x="10826" y="17939"/>
                    <a:pt x="10839" y="17939"/>
                    <a:pt x="10839" y="17939"/>
                  </a:cubicBezTo>
                  <a:lnTo>
                    <a:pt x="10839" y="17484"/>
                  </a:lnTo>
                  <a:cubicBezTo>
                    <a:pt x="10839" y="17324"/>
                    <a:pt x="10699" y="17190"/>
                    <a:pt x="10524" y="17190"/>
                  </a:cubicBezTo>
                  <a:close/>
                  <a:moveTo>
                    <a:pt x="10530" y="18496"/>
                  </a:moveTo>
                  <a:cubicBezTo>
                    <a:pt x="11294" y="18497"/>
                    <a:pt x="11910" y="19063"/>
                    <a:pt x="11909" y="19761"/>
                  </a:cubicBezTo>
                  <a:cubicBezTo>
                    <a:pt x="11908" y="20456"/>
                    <a:pt x="11293" y="21024"/>
                    <a:pt x="10530" y="21025"/>
                  </a:cubicBezTo>
                  <a:cubicBezTo>
                    <a:pt x="9766" y="21024"/>
                    <a:pt x="9144" y="20458"/>
                    <a:pt x="9145" y="19761"/>
                  </a:cubicBezTo>
                  <a:cubicBezTo>
                    <a:pt x="9146" y="19065"/>
                    <a:pt x="9768" y="18497"/>
                    <a:pt x="10530" y="18496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FFFFFF"/>
              </a:solidFill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8" name="CuadroTexto 7">
            <a:extLst>
              <a:ext uri="{FF2B5EF4-FFF2-40B4-BE49-F238E27FC236}">
                <a16:creationId xmlns:a16="http://schemas.microsoft.com/office/drawing/2014/main" id="{AD1157CF-C9DB-8F81-F404-42BA55F2F369}"/>
              </a:ext>
            </a:extLst>
          </p:cNvPr>
          <p:cNvSpPr txBox="1"/>
          <p:nvPr/>
        </p:nvSpPr>
        <p:spPr>
          <a:xfrm>
            <a:off x="3085731" y="3318610"/>
            <a:ext cx="54057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BRIEF DE MARCA / GUATEMALA</a:t>
            </a:r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24580477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0C068BE-FF4F-ECB1-6C06-9FC7068CA8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565" y="500817"/>
            <a:ext cx="10765383" cy="707842"/>
          </a:xfrm>
        </p:spPr>
        <p:txBody>
          <a:bodyPr/>
          <a:lstStyle/>
          <a:p>
            <a:r>
              <a:rPr lang="en-US" sz="2400" b="1"/>
              <a:t>Mapa </a:t>
            </a:r>
            <a:r>
              <a:rPr lang="en-US" sz="2400" b="1" err="1"/>
              <a:t>estratégico</a:t>
            </a:r>
            <a:endParaRPr lang="en-GB" sz="2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1F7ED10-D710-0716-9C27-22D06FB651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82925D-5B90-34A9-BAF6-8AF8153C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12" name="Shape 2651">
            <a:extLst>
              <a:ext uri="{FF2B5EF4-FFF2-40B4-BE49-F238E27FC236}">
                <a16:creationId xmlns:a16="http://schemas.microsoft.com/office/drawing/2014/main" id="{8F478D8B-91AB-52D4-1E51-A1F288DBBAB0}"/>
              </a:ext>
            </a:extLst>
          </p:cNvPr>
          <p:cNvSpPr/>
          <p:nvPr/>
        </p:nvSpPr>
        <p:spPr>
          <a:xfrm>
            <a:off x="2117674" y="2819594"/>
            <a:ext cx="2828215" cy="671994"/>
          </a:xfrm>
          <a:prstGeom prst="snip1Rect">
            <a:avLst>
              <a:gd name="adj" fmla="val 0"/>
            </a:avLst>
          </a:prstGeom>
          <a:solidFill>
            <a:schemeClr val="accent3"/>
          </a:solidFill>
          <a:ln>
            <a:noFill/>
          </a:ln>
        </p:spPr>
        <p:txBody>
          <a:bodyPr lIns="121807" tIns="0" rIns="0" bIns="0" anchor="ctr"/>
          <a:lstStyle/>
          <a:p>
            <a:pPr marL="0" marR="0" lvl="0" indent="0" algn="ctr" defTabSz="914354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POSICIONAMIENTO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itchFamily="2" charset="77"/>
              <a:ea typeface="Century Gothic" charset="0"/>
              <a:cs typeface="Poppins" pitchFamily="2" charset="77"/>
              <a:sym typeface="Source Sans Pro"/>
            </a:endParaRPr>
          </a:p>
        </p:txBody>
      </p:sp>
      <p:sp>
        <p:nvSpPr>
          <p:cNvPr id="13" name="Shape 2649">
            <a:extLst>
              <a:ext uri="{FF2B5EF4-FFF2-40B4-BE49-F238E27FC236}">
                <a16:creationId xmlns:a16="http://schemas.microsoft.com/office/drawing/2014/main" id="{D3561C07-6520-4DCC-6461-D95930B83F44}"/>
              </a:ext>
            </a:extLst>
          </p:cNvPr>
          <p:cNvSpPr/>
          <p:nvPr/>
        </p:nvSpPr>
        <p:spPr>
          <a:xfrm>
            <a:off x="5034496" y="2831889"/>
            <a:ext cx="3558824" cy="659696"/>
          </a:xfrm>
          <a:prstGeom prst="snip1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txBody>
          <a:bodyPr lIns="121807" tIns="0" rIns="0" bIns="0" anchor="ctr"/>
          <a:lstStyle/>
          <a:p>
            <a:pPr marL="0" marR="0" lvl="0" indent="0" algn="ctr" defTabSz="914354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Source Sans Pro"/>
              </a:rPr>
              <a:t>CONSIDERACIÓN</a:t>
            </a:r>
          </a:p>
        </p:txBody>
      </p:sp>
      <p:sp>
        <p:nvSpPr>
          <p:cNvPr id="14" name="Shape 2649">
            <a:extLst>
              <a:ext uri="{FF2B5EF4-FFF2-40B4-BE49-F238E27FC236}">
                <a16:creationId xmlns:a16="http://schemas.microsoft.com/office/drawing/2014/main" id="{0337A14A-8B11-46D0-F8F3-AAD90D6DF362}"/>
              </a:ext>
            </a:extLst>
          </p:cNvPr>
          <p:cNvSpPr/>
          <p:nvPr/>
        </p:nvSpPr>
        <p:spPr>
          <a:xfrm>
            <a:off x="8680339" y="2819594"/>
            <a:ext cx="2794916" cy="671991"/>
          </a:xfrm>
          <a:prstGeom prst="snip1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txBody>
          <a:bodyPr lIns="121807" tIns="0" rIns="0" bIns="0" anchor="ctr"/>
          <a:lstStyle/>
          <a:p>
            <a:pPr marL="0" marR="0" lvl="0" indent="0" algn="ctr" defTabSz="914354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Source Sans Pro"/>
              </a:rPr>
              <a:t>ACCIÓN</a:t>
            </a:r>
          </a:p>
        </p:txBody>
      </p:sp>
      <p:sp>
        <p:nvSpPr>
          <p:cNvPr id="16" name="Freeform 137">
            <a:extLst>
              <a:ext uri="{FF2B5EF4-FFF2-40B4-BE49-F238E27FC236}">
                <a16:creationId xmlns:a16="http://schemas.microsoft.com/office/drawing/2014/main" id="{5BE0618D-0119-BB58-E513-BB84BBBC0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95074" y="2983355"/>
            <a:ext cx="317957" cy="328838"/>
          </a:xfrm>
          <a:custGeom>
            <a:avLst/>
            <a:gdLst>
              <a:gd name="connsiteX0" fmla="*/ 395725 w 607654"/>
              <a:gd name="connsiteY0" fmla="*/ 573087 h 609235"/>
              <a:gd name="connsiteX1" fmla="*/ 406044 w 607654"/>
              <a:gd name="connsiteY1" fmla="*/ 583311 h 609235"/>
              <a:gd name="connsiteX2" fmla="*/ 406044 w 607654"/>
              <a:gd name="connsiteY2" fmla="*/ 599011 h 609235"/>
              <a:gd name="connsiteX3" fmla="*/ 395725 w 607654"/>
              <a:gd name="connsiteY3" fmla="*/ 609235 h 609235"/>
              <a:gd name="connsiteX4" fmla="*/ 385762 w 607654"/>
              <a:gd name="connsiteY4" fmla="*/ 599011 h 609235"/>
              <a:gd name="connsiteX5" fmla="*/ 385762 w 607654"/>
              <a:gd name="connsiteY5" fmla="*/ 583311 h 609235"/>
              <a:gd name="connsiteX6" fmla="*/ 395725 w 607654"/>
              <a:gd name="connsiteY6" fmla="*/ 573087 h 609235"/>
              <a:gd name="connsiteX7" fmla="*/ 395725 w 607654"/>
              <a:gd name="connsiteY7" fmla="*/ 514350 h 609235"/>
              <a:gd name="connsiteX8" fmla="*/ 406044 w 607654"/>
              <a:gd name="connsiteY8" fmla="*/ 524583 h 609235"/>
              <a:gd name="connsiteX9" fmla="*/ 406044 w 607654"/>
              <a:gd name="connsiteY9" fmla="*/ 554552 h 609235"/>
              <a:gd name="connsiteX10" fmla="*/ 395725 w 607654"/>
              <a:gd name="connsiteY10" fmla="*/ 564785 h 609235"/>
              <a:gd name="connsiteX11" fmla="*/ 385762 w 607654"/>
              <a:gd name="connsiteY11" fmla="*/ 554552 h 609235"/>
              <a:gd name="connsiteX12" fmla="*/ 385762 w 607654"/>
              <a:gd name="connsiteY12" fmla="*/ 524583 h 609235"/>
              <a:gd name="connsiteX13" fmla="*/ 395725 w 607654"/>
              <a:gd name="connsiteY13" fmla="*/ 514350 h 609235"/>
              <a:gd name="connsiteX14" fmla="*/ 105019 w 607654"/>
              <a:gd name="connsiteY14" fmla="*/ 469206 h 609235"/>
              <a:gd name="connsiteX15" fmla="*/ 109781 w 607654"/>
              <a:gd name="connsiteY15" fmla="*/ 482671 h 609235"/>
              <a:gd name="connsiteX16" fmla="*/ 100257 w 607654"/>
              <a:gd name="connsiteY16" fmla="*/ 500388 h 609235"/>
              <a:gd name="connsiteX17" fmla="*/ 91098 w 607654"/>
              <a:gd name="connsiteY17" fmla="*/ 506058 h 609235"/>
              <a:gd name="connsiteX18" fmla="*/ 86702 w 607654"/>
              <a:gd name="connsiteY18" fmla="*/ 504995 h 609235"/>
              <a:gd name="connsiteX19" fmla="*/ 81940 w 607654"/>
              <a:gd name="connsiteY19" fmla="*/ 491530 h 609235"/>
              <a:gd name="connsiteX20" fmla="*/ 91098 w 607654"/>
              <a:gd name="connsiteY20" fmla="*/ 473458 h 609235"/>
              <a:gd name="connsiteX21" fmla="*/ 105019 w 607654"/>
              <a:gd name="connsiteY21" fmla="*/ 469206 h 609235"/>
              <a:gd name="connsiteX22" fmla="*/ 204622 w 607654"/>
              <a:gd name="connsiteY22" fmla="*/ 460022 h 609235"/>
              <a:gd name="connsiteX23" fmla="*/ 218810 w 607654"/>
              <a:gd name="connsiteY23" fmla="*/ 462845 h 609235"/>
              <a:gd name="connsiteX24" fmla="*/ 230088 w 607654"/>
              <a:gd name="connsiteY24" fmla="*/ 479425 h 609235"/>
              <a:gd name="connsiteX25" fmla="*/ 227177 w 607654"/>
              <a:gd name="connsiteY25" fmla="*/ 493183 h 609235"/>
              <a:gd name="connsiteX26" fmla="*/ 221357 w 607654"/>
              <a:gd name="connsiteY26" fmla="*/ 494947 h 609235"/>
              <a:gd name="connsiteX27" fmla="*/ 212989 w 607654"/>
              <a:gd name="connsiteY27" fmla="*/ 490361 h 609235"/>
              <a:gd name="connsiteX28" fmla="*/ 201711 w 607654"/>
              <a:gd name="connsiteY28" fmla="*/ 473781 h 609235"/>
              <a:gd name="connsiteX29" fmla="*/ 204622 w 607654"/>
              <a:gd name="connsiteY29" fmla="*/ 460022 h 609235"/>
              <a:gd name="connsiteX30" fmla="*/ 395725 w 607654"/>
              <a:gd name="connsiteY30" fmla="*/ 455612 h 609235"/>
              <a:gd name="connsiteX31" fmla="*/ 406044 w 607654"/>
              <a:gd name="connsiteY31" fmla="*/ 465845 h 609235"/>
              <a:gd name="connsiteX32" fmla="*/ 406044 w 607654"/>
              <a:gd name="connsiteY32" fmla="*/ 495814 h 609235"/>
              <a:gd name="connsiteX33" fmla="*/ 395725 w 607654"/>
              <a:gd name="connsiteY33" fmla="*/ 506047 h 609235"/>
              <a:gd name="connsiteX34" fmla="*/ 385762 w 607654"/>
              <a:gd name="connsiteY34" fmla="*/ 495814 h 609235"/>
              <a:gd name="connsiteX35" fmla="*/ 385762 w 607654"/>
              <a:gd name="connsiteY35" fmla="*/ 465845 h 609235"/>
              <a:gd name="connsiteX36" fmla="*/ 395725 w 607654"/>
              <a:gd name="connsiteY36" fmla="*/ 455612 h 609235"/>
              <a:gd name="connsiteX37" fmla="*/ 57766 w 607654"/>
              <a:gd name="connsiteY37" fmla="*/ 445341 h 609235"/>
              <a:gd name="connsiteX38" fmla="*/ 71946 w 607654"/>
              <a:gd name="connsiteY38" fmla="*/ 445341 h 609235"/>
              <a:gd name="connsiteX39" fmla="*/ 71946 w 607654"/>
              <a:gd name="connsiteY39" fmla="*/ 459946 h 609235"/>
              <a:gd name="connsiteX40" fmla="*/ 57766 w 607654"/>
              <a:gd name="connsiteY40" fmla="*/ 474551 h 609235"/>
              <a:gd name="connsiteX41" fmla="*/ 50676 w 607654"/>
              <a:gd name="connsiteY41" fmla="*/ 477472 h 609235"/>
              <a:gd name="connsiteX42" fmla="*/ 43586 w 607654"/>
              <a:gd name="connsiteY42" fmla="*/ 474551 h 609235"/>
              <a:gd name="connsiteX43" fmla="*/ 43586 w 607654"/>
              <a:gd name="connsiteY43" fmla="*/ 459946 h 609235"/>
              <a:gd name="connsiteX44" fmla="*/ 125686 w 607654"/>
              <a:gd name="connsiteY44" fmla="*/ 426402 h 609235"/>
              <a:gd name="connsiteX45" fmla="*/ 130431 w 607654"/>
              <a:gd name="connsiteY45" fmla="*/ 440191 h 609235"/>
              <a:gd name="connsiteX46" fmla="*/ 122767 w 607654"/>
              <a:gd name="connsiteY46" fmla="*/ 455794 h 609235"/>
              <a:gd name="connsiteX47" fmla="*/ 113643 w 607654"/>
              <a:gd name="connsiteY47" fmla="*/ 461599 h 609235"/>
              <a:gd name="connsiteX48" fmla="*/ 108899 w 607654"/>
              <a:gd name="connsiteY48" fmla="*/ 460511 h 609235"/>
              <a:gd name="connsiteX49" fmla="*/ 104155 w 607654"/>
              <a:gd name="connsiteY49" fmla="*/ 446722 h 609235"/>
              <a:gd name="connsiteX50" fmla="*/ 112183 w 607654"/>
              <a:gd name="connsiteY50" fmla="*/ 431119 h 609235"/>
              <a:gd name="connsiteX51" fmla="*/ 125686 w 607654"/>
              <a:gd name="connsiteY51" fmla="*/ 426402 h 609235"/>
              <a:gd name="connsiteX52" fmla="*/ 151250 w 607654"/>
              <a:gd name="connsiteY52" fmla="*/ 425450 h 609235"/>
              <a:gd name="connsiteX53" fmla="*/ 161569 w 607654"/>
              <a:gd name="connsiteY53" fmla="*/ 435872 h 609235"/>
              <a:gd name="connsiteX54" fmla="*/ 161569 w 607654"/>
              <a:gd name="connsiteY54" fmla="*/ 597590 h 609235"/>
              <a:gd name="connsiteX55" fmla="*/ 151250 w 607654"/>
              <a:gd name="connsiteY55" fmla="*/ 607653 h 609235"/>
              <a:gd name="connsiteX56" fmla="*/ 141287 w 607654"/>
              <a:gd name="connsiteY56" fmla="*/ 597590 h 609235"/>
              <a:gd name="connsiteX57" fmla="*/ 141287 w 607654"/>
              <a:gd name="connsiteY57" fmla="*/ 435872 h 609235"/>
              <a:gd name="connsiteX58" fmla="*/ 151250 w 607654"/>
              <a:gd name="connsiteY58" fmla="*/ 425450 h 609235"/>
              <a:gd name="connsiteX59" fmla="*/ 177271 w 607654"/>
              <a:gd name="connsiteY59" fmla="*/ 417512 h 609235"/>
              <a:gd name="connsiteX60" fmla="*/ 191459 w 607654"/>
              <a:gd name="connsiteY60" fmla="*/ 420334 h 609235"/>
              <a:gd name="connsiteX61" fmla="*/ 203101 w 607654"/>
              <a:gd name="connsiteY61" fmla="*/ 436562 h 609235"/>
              <a:gd name="connsiteX62" fmla="*/ 199827 w 607654"/>
              <a:gd name="connsiteY62" fmla="*/ 450673 h 609235"/>
              <a:gd name="connsiteX63" fmla="*/ 194370 w 607654"/>
              <a:gd name="connsiteY63" fmla="*/ 452084 h 609235"/>
              <a:gd name="connsiteX64" fmla="*/ 186002 w 607654"/>
              <a:gd name="connsiteY64" fmla="*/ 447851 h 609235"/>
              <a:gd name="connsiteX65" fmla="*/ 174361 w 607654"/>
              <a:gd name="connsiteY65" fmla="*/ 431270 h 609235"/>
              <a:gd name="connsiteX66" fmla="*/ 177271 w 607654"/>
              <a:gd name="connsiteY66" fmla="*/ 417512 h 609235"/>
              <a:gd name="connsiteX67" fmla="*/ 264350 w 607654"/>
              <a:gd name="connsiteY67" fmla="*/ 414948 h 609235"/>
              <a:gd name="connsiteX68" fmla="*/ 267949 w 607654"/>
              <a:gd name="connsiteY68" fmla="*/ 416414 h 609235"/>
              <a:gd name="connsiteX69" fmla="*/ 273706 w 607654"/>
              <a:gd name="connsiteY69" fmla="*/ 429602 h 609235"/>
              <a:gd name="connsiteX70" fmla="*/ 264350 w 607654"/>
              <a:gd name="connsiteY70" fmla="*/ 436196 h 609235"/>
              <a:gd name="connsiteX71" fmla="*/ 260392 w 607654"/>
              <a:gd name="connsiteY71" fmla="*/ 435463 h 609235"/>
              <a:gd name="connsiteX72" fmla="*/ 256794 w 607654"/>
              <a:gd name="connsiteY72" fmla="*/ 433998 h 609235"/>
              <a:gd name="connsiteX73" fmla="*/ 251036 w 607654"/>
              <a:gd name="connsiteY73" fmla="*/ 420810 h 609235"/>
              <a:gd name="connsiteX74" fmla="*/ 264350 w 607654"/>
              <a:gd name="connsiteY74" fmla="*/ 414948 h 609235"/>
              <a:gd name="connsiteX75" fmla="*/ 92691 w 607654"/>
              <a:gd name="connsiteY75" fmla="*/ 408829 h 609235"/>
              <a:gd name="connsiteX76" fmla="*/ 106871 w 607654"/>
              <a:gd name="connsiteY76" fmla="*/ 408829 h 609235"/>
              <a:gd name="connsiteX77" fmla="*/ 106871 w 607654"/>
              <a:gd name="connsiteY77" fmla="*/ 423434 h 609235"/>
              <a:gd name="connsiteX78" fmla="*/ 92691 w 607654"/>
              <a:gd name="connsiteY78" fmla="*/ 438039 h 609235"/>
              <a:gd name="connsiteX79" fmla="*/ 85601 w 607654"/>
              <a:gd name="connsiteY79" fmla="*/ 440960 h 609235"/>
              <a:gd name="connsiteX80" fmla="*/ 78512 w 607654"/>
              <a:gd name="connsiteY80" fmla="*/ 438039 h 609235"/>
              <a:gd name="connsiteX81" fmla="*/ 78512 w 607654"/>
              <a:gd name="connsiteY81" fmla="*/ 423434 h 609235"/>
              <a:gd name="connsiteX82" fmla="*/ 36270 w 607654"/>
              <a:gd name="connsiteY82" fmla="*/ 399883 h 609235"/>
              <a:gd name="connsiteX83" fmla="*/ 48984 w 607654"/>
              <a:gd name="connsiteY83" fmla="*/ 406630 h 609235"/>
              <a:gd name="connsiteX84" fmla="*/ 42082 w 607654"/>
              <a:gd name="connsiteY84" fmla="*/ 419058 h 609235"/>
              <a:gd name="connsiteX85" fmla="*/ 22103 w 607654"/>
              <a:gd name="connsiteY85" fmla="*/ 424740 h 609235"/>
              <a:gd name="connsiteX86" fmla="*/ 19561 w 607654"/>
              <a:gd name="connsiteY86" fmla="*/ 425095 h 609235"/>
              <a:gd name="connsiteX87" fmla="*/ 9390 w 607654"/>
              <a:gd name="connsiteY87" fmla="*/ 417638 h 609235"/>
              <a:gd name="connsiteX88" fmla="*/ 16655 w 607654"/>
              <a:gd name="connsiteY88" fmla="*/ 405209 h 609235"/>
              <a:gd name="connsiteX89" fmla="*/ 395725 w 607654"/>
              <a:gd name="connsiteY89" fmla="*/ 396875 h 609235"/>
              <a:gd name="connsiteX90" fmla="*/ 406044 w 607654"/>
              <a:gd name="connsiteY90" fmla="*/ 407108 h 609235"/>
              <a:gd name="connsiteX91" fmla="*/ 406044 w 607654"/>
              <a:gd name="connsiteY91" fmla="*/ 437077 h 609235"/>
              <a:gd name="connsiteX92" fmla="*/ 395725 w 607654"/>
              <a:gd name="connsiteY92" fmla="*/ 447310 h 609235"/>
              <a:gd name="connsiteX93" fmla="*/ 385762 w 607654"/>
              <a:gd name="connsiteY93" fmla="*/ 437077 h 609235"/>
              <a:gd name="connsiteX94" fmla="*/ 385762 w 607654"/>
              <a:gd name="connsiteY94" fmla="*/ 407108 h 609235"/>
              <a:gd name="connsiteX95" fmla="*/ 395725 w 607654"/>
              <a:gd name="connsiteY95" fmla="*/ 396875 h 609235"/>
              <a:gd name="connsiteX96" fmla="*/ 217232 w 607654"/>
              <a:gd name="connsiteY96" fmla="*/ 395881 h 609235"/>
              <a:gd name="connsiteX97" fmla="*/ 236120 w 607654"/>
              <a:gd name="connsiteY97" fmla="*/ 403512 h 609235"/>
              <a:gd name="connsiteX98" fmla="*/ 241932 w 607654"/>
              <a:gd name="connsiteY98" fmla="*/ 416958 h 609235"/>
              <a:gd name="connsiteX99" fmla="*/ 232488 w 607654"/>
              <a:gd name="connsiteY99" fmla="*/ 423499 h 609235"/>
              <a:gd name="connsiteX100" fmla="*/ 228856 w 607654"/>
              <a:gd name="connsiteY100" fmla="*/ 422772 h 609235"/>
              <a:gd name="connsiteX101" fmla="*/ 209604 w 607654"/>
              <a:gd name="connsiteY101" fmla="*/ 415141 h 609235"/>
              <a:gd name="connsiteX102" fmla="*/ 203792 w 607654"/>
              <a:gd name="connsiteY102" fmla="*/ 401695 h 609235"/>
              <a:gd name="connsiteX103" fmla="*/ 217232 w 607654"/>
              <a:gd name="connsiteY103" fmla="*/ 395881 h 609235"/>
              <a:gd name="connsiteX104" fmla="*/ 85725 w 607654"/>
              <a:gd name="connsiteY104" fmla="*/ 385595 h 609235"/>
              <a:gd name="connsiteX105" fmla="*/ 98180 w 607654"/>
              <a:gd name="connsiteY105" fmla="*/ 392697 h 609235"/>
              <a:gd name="connsiteX106" fmla="*/ 91220 w 607654"/>
              <a:gd name="connsiteY106" fmla="*/ 405126 h 609235"/>
              <a:gd name="connsiteX107" fmla="*/ 71437 w 607654"/>
              <a:gd name="connsiteY107" fmla="*/ 410452 h 609235"/>
              <a:gd name="connsiteX108" fmla="*/ 68506 w 607654"/>
              <a:gd name="connsiteY108" fmla="*/ 410807 h 609235"/>
              <a:gd name="connsiteX109" fmla="*/ 58615 w 607654"/>
              <a:gd name="connsiteY109" fmla="*/ 403705 h 609235"/>
              <a:gd name="connsiteX110" fmla="*/ 65576 w 607654"/>
              <a:gd name="connsiteY110" fmla="*/ 391277 h 609235"/>
              <a:gd name="connsiteX111" fmla="*/ 222953 w 607654"/>
              <a:gd name="connsiteY111" fmla="*/ 365125 h 609235"/>
              <a:gd name="connsiteX112" fmla="*/ 243407 w 607654"/>
              <a:gd name="connsiteY112" fmla="*/ 365125 h 609235"/>
              <a:gd name="connsiteX113" fmla="*/ 253635 w 607654"/>
              <a:gd name="connsiteY113" fmla="*/ 375263 h 609235"/>
              <a:gd name="connsiteX114" fmla="*/ 243407 w 607654"/>
              <a:gd name="connsiteY114" fmla="*/ 385400 h 609235"/>
              <a:gd name="connsiteX115" fmla="*/ 222953 w 607654"/>
              <a:gd name="connsiteY115" fmla="*/ 385400 h 609235"/>
              <a:gd name="connsiteX116" fmla="*/ 212725 w 607654"/>
              <a:gd name="connsiteY116" fmla="*/ 375263 h 609235"/>
              <a:gd name="connsiteX117" fmla="*/ 222953 w 607654"/>
              <a:gd name="connsiteY117" fmla="*/ 365125 h 609235"/>
              <a:gd name="connsiteX118" fmla="*/ 143960 w 607654"/>
              <a:gd name="connsiteY118" fmla="*/ 356801 h 609235"/>
              <a:gd name="connsiteX119" fmla="*/ 143960 w 607654"/>
              <a:gd name="connsiteY119" fmla="*/ 360407 h 609235"/>
              <a:gd name="connsiteX120" fmla="*/ 139668 w 607654"/>
              <a:gd name="connsiteY120" fmla="*/ 369059 h 609235"/>
              <a:gd name="connsiteX121" fmla="*/ 136807 w 607654"/>
              <a:gd name="connsiteY121" fmla="*/ 371222 h 609235"/>
              <a:gd name="connsiteX122" fmla="*/ 140384 w 607654"/>
              <a:gd name="connsiteY122" fmla="*/ 372303 h 609235"/>
              <a:gd name="connsiteX123" fmla="*/ 146822 w 607654"/>
              <a:gd name="connsiteY123" fmla="*/ 379153 h 609235"/>
              <a:gd name="connsiteX124" fmla="*/ 147895 w 607654"/>
              <a:gd name="connsiteY124" fmla="*/ 382398 h 609235"/>
              <a:gd name="connsiteX125" fmla="*/ 150041 w 607654"/>
              <a:gd name="connsiteY125" fmla="*/ 379514 h 609235"/>
              <a:gd name="connsiteX126" fmla="*/ 158624 w 607654"/>
              <a:gd name="connsiteY126" fmla="*/ 375188 h 609235"/>
              <a:gd name="connsiteX127" fmla="*/ 162201 w 607654"/>
              <a:gd name="connsiteY127" fmla="*/ 375188 h 609235"/>
              <a:gd name="connsiteX128" fmla="*/ 160055 w 607654"/>
              <a:gd name="connsiteY128" fmla="*/ 372303 h 609235"/>
              <a:gd name="connsiteX129" fmla="*/ 158624 w 607654"/>
              <a:gd name="connsiteY129" fmla="*/ 362930 h 609235"/>
              <a:gd name="connsiteX130" fmla="*/ 159697 w 607654"/>
              <a:gd name="connsiteY130" fmla="*/ 359325 h 609235"/>
              <a:gd name="connsiteX131" fmla="*/ 156121 w 607654"/>
              <a:gd name="connsiteY131" fmla="*/ 360407 h 609235"/>
              <a:gd name="connsiteX132" fmla="*/ 146822 w 607654"/>
              <a:gd name="connsiteY132" fmla="*/ 358965 h 609235"/>
              <a:gd name="connsiteX133" fmla="*/ 60938 w 607654"/>
              <a:gd name="connsiteY133" fmla="*/ 354012 h 609235"/>
              <a:gd name="connsiteX134" fmla="*/ 81575 w 607654"/>
              <a:gd name="connsiteY134" fmla="*/ 354012 h 609235"/>
              <a:gd name="connsiteX135" fmla="*/ 91713 w 607654"/>
              <a:gd name="connsiteY135" fmla="*/ 364150 h 609235"/>
              <a:gd name="connsiteX136" fmla="*/ 81575 w 607654"/>
              <a:gd name="connsiteY136" fmla="*/ 374288 h 609235"/>
              <a:gd name="connsiteX137" fmla="*/ 60938 w 607654"/>
              <a:gd name="connsiteY137" fmla="*/ 374288 h 609235"/>
              <a:gd name="connsiteX138" fmla="*/ 50800 w 607654"/>
              <a:gd name="connsiteY138" fmla="*/ 364150 h 609235"/>
              <a:gd name="connsiteX139" fmla="*/ 60938 w 607654"/>
              <a:gd name="connsiteY139" fmla="*/ 354012 h 609235"/>
              <a:gd name="connsiteX140" fmla="*/ 10138 w 607654"/>
              <a:gd name="connsiteY140" fmla="*/ 354012 h 609235"/>
              <a:gd name="connsiteX141" fmla="*/ 30775 w 607654"/>
              <a:gd name="connsiteY141" fmla="*/ 354012 h 609235"/>
              <a:gd name="connsiteX142" fmla="*/ 40913 w 607654"/>
              <a:gd name="connsiteY142" fmla="*/ 364150 h 609235"/>
              <a:gd name="connsiteX143" fmla="*/ 30775 w 607654"/>
              <a:gd name="connsiteY143" fmla="*/ 374288 h 609235"/>
              <a:gd name="connsiteX144" fmla="*/ 10138 w 607654"/>
              <a:gd name="connsiteY144" fmla="*/ 374288 h 609235"/>
              <a:gd name="connsiteX145" fmla="*/ 0 w 607654"/>
              <a:gd name="connsiteY145" fmla="*/ 364150 h 609235"/>
              <a:gd name="connsiteX146" fmla="*/ 10138 w 607654"/>
              <a:gd name="connsiteY146" fmla="*/ 354012 h 609235"/>
              <a:gd name="connsiteX147" fmla="*/ 395725 w 607654"/>
              <a:gd name="connsiteY147" fmla="*/ 338137 h 609235"/>
              <a:gd name="connsiteX148" fmla="*/ 406044 w 607654"/>
              <a:gd name="connsiteY148" fmla="*/ 348370 h 609235"/>
              <a:gd name="connsiteX149" fmla="*/ 406044 w 607654"/>
              <a:gd name="connsiteY149" fmla="*/ 378339 h 609235"/>
              <a:gd name="connsiteX150" fmla="*/ 395725 w 607654"/>
              <a:gd name="connsiteY150" fmla="*/ 388572 h 609235"/>
              <a:gd name="connsiteX151" fmla="*/ 385762 w 607654"/>
              <a:gd name="connsiteY151" fmla="*/ 378339 h 609235"/>
              <a:gd name="connsiteX152" fmla="*/ 385762 w 607654"/>
              <a:gd name="connsiteY152" fmla="*/ 348370 h 609235"/>
              <a:gd name="connsiteX153" fmla="*/ 395725 w 607654"/>
              <a:gd name="connsiteY153" fmla="*/ 338137 h 609235"/>
              <a:gd name="connsiteX154" fmla="*/ 128939 w 607654"/>
              <a:gd name="connsiteY154" fmla="*/ 327240 h 609235"/>
              <a:gd name="connsiteX155" fmla="*/ 139668 w 607654"/>
              <a:gd name="connsiteY155" fmla="*/ 328321 h 609235"/>
              <a:gd name="connsiteX156" fmla="*/ 154690 w 607654"/>
              <a:gd name="connsiteY156" fmla="*/ 339497 h 609235"/>
              <a:gd name="connsiteX157" fmla="*/ 172573 w 607654"/>
              <a:gd name="connsiteY157" fmla="*/ 333368 h 609235"/>
              <a:gd name="connsiteX158" fmla="*/ 182945 w 607654"/>
              <a:gd name="connsiteY158" fmla="*/ 335892 h 609235"/>
              <a:gd name="connsiteX159" fmla="*/ 185449 w 607654"/>
              <a:gd name="connsiteY159" fmla="*/ 346347 h 609235"/>
              <a:gd name="connsiteX160" fmla="*/ 179369 w 607654"/>
              <a:gd name="connsiteY160" fmla="*/ 364372 h 609235"/>
              <a:gd name="connsiteX161" fmla="*/ 190814 w 607654"/>
              <a:gd name="connsiteY161" fmla="*/ 379874 h 609235"/>
              <a:gd name="connsiteX162" fmla="*/ 191529 w 607654"/>
              <a:gd name="connsiteY162" fmla="*/ 390329 h 609235"/>
              <a:gd name="connsiteX163" fmla="*/ 182588 w 607654"/>
              <a:gd name="connsiteY163" fmla="*/ 395737 h 609235"/>
              <a:gd name="connsiteX164" fmla="*/ 163632 w 607654"/>
              <a:gd name="connsiteY164" fmla="*/ 395737 h 609235"/>
              <a:gd name="connsiteX165" fmla="*/ 152544 w 607654"/>
              <a:gd name="connsiteY165" fmla="*/ 411238 h 609235"/>
              <a:gd name="connsiteX166" fmla="*/ 144318 w 607654"/>
              <a:gd name="connsiteY166" fmla="*/ 415565 h 609235"/>
              <a:gd name="connsiteX167" fmla="*/ 142530 w 607654"/>
              <a:gd name="connsiteY167" fmla="*/ 415204 h 609235"/>
              <a:gd name="connsiteX168" fmla="*/ 134661 w 607654"/>
              <a:gd name="connsiteY168" fmla="*/ 408354 h 609235"/>
              <a:gd name="connsiteX169" fmla="*/ 128939 w 607654"/>
              <a:gd name="connsiteY169" fmla="*/ 389968 h 609235"/>
              <a:gd name="connsiteX170" fmla="*/ 111056 w 607654"/>
              <a:gd name="connsiteY170" fmla="*/ 384561 h 609235"/>
              <a:gd name="connsiteX171" fmla="*/ 103902 w 607654"/>
              <a:gd name="connsiteY171" fmla="*/ 376269 h 609235"/>
              <a:gd name="connsiteX172" fmla="*/ 108194 w 607654"/>
              <a:gd name="connsiteY172" fmla="*/ 366535 h 609235"/>
              <a:gd name="connsiteX173" fmla="*/ 123574 w 607654"/>
              <a:gd name="connsiteY173" fmla="*/ 355359 h 609235"/>
              <a:gd name="connsiteX174" fmla="*/ 123574 w 607654"/>
              <a:gd name="connsiteY174" fmla="*/ 336613 h 609235"/>
              <a:gd name="connsiteX175" fmla="*/ 128939 w 607654"/>
              <a:gd name="connsiteY175" fmla="*/ 327240 h 609235"/>
              <a:gd name="connsiteX176" fmla="*/ 71315 w 607654"/>
              <a:gd name="connsiteY176" fmla="*/ 324417 h 609235"/>
              <a:gd name="connsiteX177" fmla="*/ 90365 w 607654"/>
              <a:gd name="connsiteY177" fmla="*/ 332676 h 609235"/>
              <a:gd name="connsiteX178" fmla="*/ 95861 w 607654"/>
              <a:gd name="connsiteY178" fmla="*/ 345962 h 609235"/>
              <a:gd name="connsiteX179" fmla="*/ 86336 w 607654"/>
              <a:gd name="connsiteY179" fmla="*/ 352066 h 609235"/>
              <a:gd name="connsiteX180" fmla="*/ 82306 w 607654"/>
              <a:gd name="connsiteY180" fmla="*/ 351348 h 609235"/>
              <a:gd name="connsiteX181" fmla="*/ 63255 w 607654"/>
              <a:gd name="connsiteY181" fmla="*/ 343089 h 609235"/>
              <a:gd name="connsiteX182" fmla="*/ 57760 w 607654"/>
              <a:gd name="connsiteY182" fmla="*/ 329803 h 609235"/>
              <a:gd name="connsiteX183" fmla="*/ 71315 w 607654"/>
              <a:gd name="connsiteY183" fmla="*/ 324417 h 609235"/>
              <a:gd name="connsiteX184" fmla="*/ 212508 w 607654"/>
              <a:gd name="connsiteY184" fmla="*/ 314826 h 609235"/>
              <a:gd name="connsiteX185" fmla="*/ 226579 w 607654"/>
              <a:gd name="connsiteY185" fmla="*/ 316665 h 609235"/>
              <a:gd name="connsiteX186" fmla="*/ 224414 w 607654"/>
              <a:gd name="connsiteY186" fmla="*/ 331370 h 609235"/>
              <a:gd name="connsiteX187" fmla="*/ 208179 w 607654"/>
              <a:gd name="connsiteY187" fmla="*/ 343869 h 609235"/>
              <a:gd name="connsiteX188" fmla="*/ 202045 w 607654"/>
              <a:gd name="connsiteY188" fmla="*/ 345707 h 609235"/>
              <a:gd name="connsiteX189" fmla="*/ 194108 w 607654"/>
              <a:gd name="connsiteY189" fmla="*/ 341664 h 609235"/>
              <a:gd name="connsiteX190" fmla="*/ 195912 w 607654"/>
              <a:gd name="connsiteY190" fmla="*/ 327326 h 609235"/>
              <a:gd name="connsiteX191" fmla="*/ 23920 w 607654"/>
              <a:gd name="connsiteY191" fmla="*/ 305051 h 609235"/>
              <a:gd name="connsiteX192" fmla="*/ 42808 w 607654"/>
              <a:gd name="connsiteY192" fmla="*/ 313144 h 609235"/>
              <a:gd name="connsiteX193" fmla="*/ 47894 w 607654"/>
              <a:gd name="connsiteY193" fmla="*/ 326754 h 609235"/>
              <a:gd name="connsiteX194" fmla="*/ 38450 w 607654"/>
              <a:gd name="connsiteY194" fmla="*/ 333007 h 609235"/>
              <a:gd name="connsiteX195" fmla="*/ 34454 w 607654"/>
              <a:gd name="connsiteY195" fmla="*/ 332272 h 609235"/>
              <a:gd name="connsiteX196" fmla="*/ 15928 w 607654"/>
              <a:gd name="connsiteY196" fmla="*/ 324179 h 609235"/>
              <a:gd name="connsiteX197" fmla="*/ 10480 w 607654"/>
              <a:gd name="connsiteY197" fmla="*/ 310569 h 609235"/>
              <a:gd name="connsiteX198" fmla="*/ 23920 w 607654"/>
              <a:gd name="connsiteY198" fmla="*/ 305051 h 609235"/>
              <a:gd name="connsiteX199" fmla="*/ 76184 w 607654"/>
              <a:gd name="connsiteY199" fmla="*/ 294176 h 609235"/>
              <a:gd name="connsiteX200" fmla="*/ 90789 w 607654"/>
              <a:gd name="connsiteY200" fmla="*/ 295641 h 609235"/>
              <a:gd name="connsiteX201" fmla="*/ 103934 w 607654"/>
              <a:gd name="connsiteY201" fmla="*/ 311028 h 609235"/>
              <a:gd name="connsiteX202" fmla="*/ 102838 w 607654"/>
              <a:gd name="connsiteY202" fmla="*/ 325681 h 609235"/>
              <a:gd name="connsiteX203" fmla="*/ 96266 w 607654"/>
              <a:gd name="connsiteY203" fmla="*/ 328246 h 609235"/>
              <a:gd name="connsiteX204" fmla="*/ 88233 w 607654"/>
              <a:gd name="connsiteY204" fmla="*/ 324216 h 609235"/>
              <a:gd name="connsiteX205" fmla="*/ 75088 w 607654"/>
              <a:gd name="connsiteY205" fmla="*/ 308463 h 609235"/>
              <a:gd name="connsiteX206" fmla="*/ 76184 w 607654"/>
              <a:gd name="connsiteY206" fmla="*/ 294176 h 609235"/>
              <a:gd name="connsiteX207" fmla="*/ 395725 w 607654"/>
              <a:gd name="connsiteY207" fmla="*/ 293687 h 609235"/>
              <a:gd name="connsiteX208" fmla="*/ 406044 w 607654"/>
              <a:gd name="connsiteY208" fmla="*/ 303918 h 609235"/>
              <a:gd name="connsiteX209" fmla="*/ 406044 w 607654"/>
              <a:gd name="connsiteY209" fmla="*/ 318382 h 609235"/>
              <a:gd name="connsiteX210" fmla="*/ 395725 w 607654"/>
              <a:gd name="connsiteY210" fmla="*/ 328259 h 609235"/>
              <a:gd name="connsiteX211" fmla="*/ 385762 w 607654"/>
              <a:gd name="connsiteY211" fmla="*/ 318382 h 609235"/>
              <a:gd name="connsiteX212" fmla="*/ 385762 w 607654"/>
              <a:gd name="connsiteY212" fmla="*/ 303918 h 609235"/>
              <a:gd name="connsiteX213" fmla="*/ 395725 w 607654"/>
              <a:gd name="connsiteY213" fmla="*/ 293687 h 609235"/>
              <a:gd name="connsiteX214" fmla="*/ 243325 w 607654"/>
              <a:gd name="connsiteY214" fmla="*/ 293687 h 609235"/>
              <a:gd name="connsiteX215" fmla="*/ 243681 w 607654"/>
              <a:gd name="connsiteY215" fmla="*/ 293687 h 609235"/>
              <a:gd name="connsiteX216" fmla="*/ 253644 w 607654"/>
              <a:gd name="connsiteY216" fmla="*/ 304187 h 609235"/>
              <a:gd name="connsiteX217" fmla="*/ 243681 w 607654"/>
              <a:gd name="connsiteY217" fmla="*/ 313963 h 609235"/>
              <a:gd name="connsiteX218" fmla="*/ 233362 w 607654"/>
              <a:gd name="connsiteY218" fmla="*/ 304187 h 609235"/>
              <a:gd name="connsiteX219" fmla="*/ 243325 w 607654"/>
              <a:gd name="connsiteY219" fmla="*/ 293687 h 609235"/>
              <a:gd name="connsiteX220" fmla="*/ 422237 w 607654"/>
              <a:gd name="connsiteY220" fmla="*/ 287549 h 609235"/>
              <a:gd name="connsiteX221" fmla="*/ 435523 w 607654"/>
              <a:gd name="connsiteY221" fmla="*/ 294025 h 609235"/>
              <a:gd name="connsiteX222" fmla="*/ 472508 w 607654"/>
              <a:gd name="connsiteY222" fmla="*/ 398719 h 609235"/>
              <a:gd name="connsiteX223" fmla="*/ 466044 w 607654"/>
              <a:gd name="connsiteY223" fmla="*/ 411671 h 609235"/>
              <a:gd name="connsiteX224" fmla="*/ 462813 w 607654"/>
              <a:gd name="connsiteY224" fmla="*/ 412390 h 609235"/>
              <a:gd name="connsiteX225" fmla="*/ 453477 w 607654"/>
              <a:gd name="connsiteY225" fmla="*/ 405555 h 609235"/>
              <a:gd name="connsiteX226" fmla="*/ 416133 w 607654"/>
              <a:gd name="connsiteY226" fmla="*/ 300501 h 609235"/>
              <a:gd name="connsiteX227" fmla="*/ 422237 w 607654"/>
              <a:gd name="connsiteY227" fmla="*/ 287549 h 609235"/>
              <a:gd name="connsiteX228" fmla="*/ 362043 w 607654"/>
              <a:gd name="connsiteY228" fmla="*/ 286316 h 609235"/>
              <a:gd name="connsiteX229" fmla="*/ 367391 w 607654"/>
              <a:gd name="connsiteY229" fmla="*/ 299595 h 609235"/>
              <a:gd name="connsiteX230" fmla="*/ 323536 w 607654"/>
              <a:gd name="connsiteY230" fmla="*/ 401527 h 609235"/>
              <a:gd name="connsiteX231" fmla="*/ 314265 w 607654"/>
              <a:gd name="connsiteY231" fmla="*/ 407628 h 609235"/>
              <a:gd name="connsiteX232" fmla="*/ 310343 w 607654"/>
              <a:gd name="connsiteY232" fmla="*/ 406551 h 609235"/>
              <a:gd name="connsiteX233" fmla="*/ 304995 w 607654"/>
              <a:gd name="connsiteY233" fmla="*/ 393272 h 609235"/>
              <a:gd name="connsiteX234" fmla="*/ 348851 w 607654"/>
              <a:gd name="connsiteY234" fmla="*/ 291340 h 609235"/>
              <a:gd name="connsiteX235" fmla="*/ 362043 w 607654"/>
              <a:gd name="connsiteY235" fmla="*/ 286316 h 609235"/>
              <a:gd name="connsiteX236" fmla="*/ 196145 w 607654"/>
              <a:gd name="connsiteY236" fmla="*/ 277140 h 609235"/>
              <a:gd name="connsiteX237" fmla="*/ 200378 w 607654"/>
              <a:gd name="connsiteY237" fmla="*/ 290727 h 609235"/>
              <a:gd name="connsiteX238" fmla="*/ 191558 w 607654"/>
              <a:gd name="connsiteY238" fmla="*/ 308247 h 609235"/>
              <a:gd name="connsiteX239" fmla="*/ 182739 w 607654"/>
              <a:gd name="connsiteY239" fmla="*/ 313968 h 609235"/>
              <a:gd name="connsiteX240" fmla="*/ 178506 w 607654"/>
              <a:gd name="connsiteY240" fmla="*/ 312895 h 609235"/>
              <a:gd name="connsiteX241" fmla="*/ 173920 w 607654"/>
              <a:gd name="connsiteY241" fmla="*/ 299666 h 609235"/>
              <a:gd name="connsiteX242" fmla="*/ 182739 w 607654"/>
              <a:gd name="connsiteY242" fmla="*/ 281431 h 609235"/>
              <a:gd name="connsiteX243" fmla="*/ 196145 w 607654"/>
              <a:gd name="connsiteY243" fmla="*/ 277140 h 609235"/>
              <a:gd name="connsiteX244" fmla="*/ 111506 w 607654"/>
              <a:gd name="connsiteY244" fmla="*/ 271323 h 609235"/>
              <a:gd name="connsiteX245" fmla="*/ 124166 w 607654"/>
              <a:gd name="connsiteY245" fmla="*/ 278565 h 609235"/>
              <a:gd name="connsiteX246" fmla="*/ 129954 w 607654"/>
              <a:gd name="connsiteY246" fmla="*/ 298116 h 609235"/>
              <a:gd name="connsiteX247" fmla="*/ 122719 w 607654"/>
              <a:gd name="connsiteY247" fmla="*/ 310426 h 609235"/>
              <a:gd name="connsiteX248" fmla="*/ 119826 w 607654"/>
              <a:gd name="connsiteY248" fmla="*/ 310788 h 609235"/>
              <a:gd name="connsiteX249" fmla="*/ 110060 w 607654"/>
              <a:gd name="connsiteY249" fmla="*/ 303909 h 609235"/>
              <a:gd name="connsiteX250" fmla="*/ 104634 w 607654"/>
              <a:gd name="connsiteY250" fmla="*/ 283996 h 609235"/>
              <a:gd name="connsiteX251" fmla="*/ 111506 w 607654"/>
              <a:gd name="connsiteY251" fmla="*/ 271323 h 609235"/>
              <a:gd name="connsiteX252" fmla="*/ 322747 w 607654"/>
              <a:gd name="connsiteY252" fmla="*/ 270659 h 609235"/>
              <a:gd name="connsiteX253" fmla="*/ 337028 w 607654"/>
              <a:gd name="connsiteY253" fmla="*/ 270659 h 609235"/>
              <a:gd name="connsiteX254" fmla="*/ 337028 w 607654"/>
              <a:gd name="connsiteY254" fmla="*/ 285056 h 609235"/>
              <a:gd name="connsiteX255" fmla="*/ 270621 w 607654"/>
              <a:gd name="connsiteY255" fmla="*/ 352001 h 609235"/>
              <a:gd name="connsiteX256" fmla="*/ 263480 w 607654"/>
              <a:gd name="connsiteY256" fmla="*/ 355240 h 609235"/>
              <a:gd name="connsiteX257" fmla="*/ 256339 w 607654"/>
              <a:gd name="connsiteY257" fmla="*/ 352001 h 609235"/>
              <a:gd name="connsiteX258" fmla="*/ 256339 w 607654"/>
              <a:gd name="connsiteY258" fmla="*/ 337964 h 609235"/>
              <a:gd name="connsiteX259" fmla="*/ 453211 w 607654"/>
              <a:gd name="connsiteY259" fmla="*/ 270643 h 609235"/>
              <a:gd name="connsiteX260" fmla="*/ 467572 w 607654"/>
              <a:gd name="connsiteY260" fmla="*/ 270643 h 609235"/>
              <a:gd name="connsiteX261" fmla="*/ 546554 w 607654"/>
              <a:gd name="connsiteY261" fmla="*/ 349147 h 609235"/>
              <a:gd name="connsiteX262" fmla="*/ 546554 w 607654"/>
              <a:gd name="connsiteY262" fmla="*/ 363486 h 609235"/>
              <a:gd name="connsiteX263" fmla="*/ 539374 w 607654"/>
              <a:gd name="connsiteY263" fmla="*/ 366354 h 609235"/>
              <a:gd name="connsiteX264" fmla="*/ 532194 w 607654"/>
              <a:gd name="connsiteY264" fmla="*/ 363486 h 609235"/>
              <a:gd name="connsiteX265" fmla="*/ 453211 w 607654"/>
              <a:gd name="connsiteY265" fmla="*/ 284982 h 609235"/>
              <a:gd name="connsiteX266" fmla="*/ 453211 w 607654"/>
              <a:gd name="connsiteY266" fmla="*/ 270643 h 609235"/>
              <a:gd name="connsiteX267" fmla="*/ 151250 w 607654"/>
              <a:gd name="connsiteY267" fmla="*/ 263525 h 609235"/>
              <a:gd name="connsiteX268" fmla="*/ 161569 w 607654"/>
              <a:gd name="connsiteY268" fmla="*/ 273663 h 609235"/>
              <a:gd name="connsiteX269" fmla="*/ 161569 w 607654"/>
              <a:gd name="connsiteY269" fmla="*/ 293938 h 609235"/>
              <a:gd name="connsiteX270" fmla="*/ 151250 w 607654"/>
              <a:gd name="connsiteY270" fmla="*/ 304438 h 609235"/>
              <a:gd name="connsiteX271" fmla="*/ 141287 w 607654"/>
              <a:gd name="connsiteY271" fmla="*/ 293938 h 609235"/>
              <a:gd name="connsiteX272" fmla="*/ 141287 w 607654"/>
              <a:gd name="connsiteY272" fmla="*/ 273663 h 609235"/>
              <a:gd name="connsiteX273" fmla="*/ 151250 w 607654"/>
              <a:gd name="connsiteY273" fmla="*/ 263525 h 609235"/>
              <a:gd name="connsiteX274" fmla="*/ 44434 w 607654"/>
              <a:gd name="connsiteY274" fmla="*/ 256076 h 609235"/>
              <a:gd name="connsiteX275" fmla="*/ 59039 w 607654"/>
              <a:gd name="connsiteY275" fmla="*/ 257541 h 609235"/>
              <a:gd name="connsiteX276" fmla="*/ 72184 w 607654"/>
              <a:gd name="connsiteY276" fmla="*/ 273294 h 609235"/>
              <a:gd name="connsiteX277" fmla="*/ 70723 w 607654"/>
              <a:gd name="connsiteY277" fmla="*/ 287948 h 609235"/>
              <a:gd name="connsiteX278" fmla="*/ 64151 w 607654"/>
              <a:gd name="connsiteY278" fmla="*/ 290146 h 609235"/>
              <a:gd name="connsiteX279" fmla="*/ 56483 w 607654"/>
              <a:gd name="connsiteY279" fmla="*/ 286482 h 609235"/>
              <a:gd name="connsiteX280" fmla="*/ 42973 w 607654"/>
              <a:gd name="connsiteY280" fmla="*/ 270729 h 609235"/>
              <a:gd name="connsiteX281" fmla="*/ 44434 w 607654"/>
              <a:gd name="connsiteY281" fmla="*/ 256076 h 609235"/>
              <a:gd name="connsiteX282" fmla="*/ 483720 w 607654"/>
              <a:gd name="connsiteY282" fmla="*/ 238711 h 609235"/>
              <a:gd name="connsiteX283" fmla="*/ 585842 w 607654"/>
              <a:gd name="connsiteY283" fmla="*/ 283282 h 609235"/>
              <a:gd name="connsiteX284" fmla="*/ 591217 w 607654"/>
              <a:gd name="connsiteY284" fmla="*/ 296690 h 609235"/>
              <a:gd name="connsiteX285" fmla="*/ 581900 w 607654"/>
              <a:gd name="connsiteY285" fmla="*/ 302850 h 609235"/>
              <a:gd name="connsiteX286" fmla="*/ 577601 w 607654"/>
              <a:gd name="connsiteY286" fmla="*/ 302125 h 609235"/>
              <a:gd name="connsiteX287" fmla="*/ 475479 w 607654"/>
              <a:gd name="connsiteY287" fmla="*/ 257554 h 609235"/>
              <a:gd name="connsiteX288" fmla="*/ 470462 w 607654"/>
              <a:gd name="connsiteY288" fmla="*/ 244147 h 609235"/>
              <a:gd name="connsiteX289" fmla="*/ 483720 w 607654"/>
              <a:gd name="connsiteY289" fmla="*/ 238711 h 609235"/>
              <a:gd name="connsiteX290" fmla="*/ 217761 w 607654"/>
              <a:gd name="connsiteY290" fmla="*/ 234315 h 609235"/>
              <a:gd name="connsiteX291" fmla="*/ 222506 w 607654"/>
              <a:gd name="connsiteY291" fmla="*/ 248104 h 609235"/>
              <a:gd name="connsiteX292" fmla="*/ 214842 w 607654"/>
              <a:gd name="connsiteY292" fmla="*/ 263707 h 609235"/>
              <a:gd name="connsiteX293" fmla="*/ 205353 w 607654"/>
              <a:gd name="connsiteY293" fmla="*/ 269512 h 609235"/>
              <a:gd name="connsiteX294" fmla="*/ 200609 w 607654"/>
              <a:gd name="connsiteY294" fmla="*/ 268061 h 609235"/>
              <a:gd name="connsiteX295" fmla="*/ 196230 w 607654"/>
              <a:gd name="connsiteY295" fmla="*/ 254635 h 609235"/>
              <a:gd name="connsiteX296" fmla="*/ 203894 w 607654"/>
              <a:gd name="connsiteY296" fmla="*/ 239032 h 609235"/>
              <a:gd name="connsiteX297" fmla="*/ 217761 w 607654"/>
              <a:gd name="connsiteY297" fmla="*/ 234315 h 609235"/>
              <a:gd name="connsiteX298" fmla="*/ 305559 w 607654"/>
              <a:gd name="connsiteY298" fmla="*/ 231604 h 609235"/>
              <a:gd name="connsiteX299" fmla="*/ 318516 w 607654"/>
              <a:gd name="connsiteY299" fmla="*/ 238335 h 609235"/>
              <a:gd name="connsiteX300" fmla="*/ 312037 w 607654"/>
              <a:gd name="connsiteY300" fmla="*/ 250733 h 609235"/>
              <a:gd name="connsiteX301" fmla="*/ 246172 w 607654"/>
              <a:gd name="connsiteY301" fmla="*/ 271987 h 609235"/>
              <a:gd name="connsiteX302" fmla="*/ 242933 w 607654"/>
              <a:gd name="connsiteY302" fmla="*/ 272696 h 609235"/>
              <a:gd name="connsiteX303" fmla="*/ 233215 w 607654"/>
              <a:gd name="connsiteY303" fmla="*/ 265611 h 609235"/>
              <a:gd name="connsiteX304" fmla="*/ 239693 w 607654"/>
              <a:gd name="connsiteY304" fmla="*/ 253213 h 609235"/>
              <a:gd name="connsiteX305" fmla="*/ 99168 w 607654"/>
              <a:gd name="connsiteY305" fmla="*/ 223698 h 609235"/>
              <a:gd name="connsiteX306" fmla="*/ 111828 w 607654"/>
              <a:gd name="connsiteY306" fmla="*/ 230578 h 609235"/>
              <a:gd name="connsiteX307" fmla="*/ 117254 w 607654"/>
              <a:gd name="connsiteY307" fmla="*/ 250129 h 609235"/>
              <a:gd name="connsiteX308" fmla="*/ 110381 w 607654"/>
              <a:gd name="connsiteY308" fmla="*/ 262801 h 609235"/>
              <a:gd name="connsiteX309" fmla="*/ 107487 w 607654"/>
              <a:gd name="connsiteY309" fmla="*/ 263163 h 609235"/>
              <a:gd name="connsiteX310" fmla="*/ 97721 w 607654"/>
              <a:gd name="connsiteY310" fmla="*/ 255922 h 609235"/>
              <a:gd name="connsiteX311" fmla="*/ 91934 w 607654"/>
              <a:gd name="connsiteY311" fmla="*/ 236371 h 609235"/>
              <a:gd name="connsiteX312" fmla="*/ 99168 w 607654"/>
              <a:gd name="connsiteY312" fmla="*/ 223698 h 609235"/>
              <a:gd name="connsiteX313" fmla="*/ 151250 w 607654"/>
              <a:gd name="connsiteY313" fmla="*/ 212725 h 609235"/>
              <a:gd name="connsiteX314" fmla="*/ 161569 w 607654"/>
              <a:gd name="connsiteY314" fmla="*/ 222952 h 609235"/>
              <a:gd name="connsiteX315" fmla="*/ 161569 w 607654"/>
              <a:gd name="connsiteY315" fmla="*/ 243407 h 609235"/>
              <a:gd name="connsiteX316" fmla="*/ 151250 w 607654"/>
              <a:gd name="connsiteY316" fmla="*/ 253635 h 609235"/>
              <a:gd name="connsiteX317" fmla="*/ 141287 w 607654"/>
              <a:gd name="connsiteY317" fmla="*/ 243407 h 609235"/>
              <a:gd name="connsiteX318" fmla="*/ 141287 w 607654"/>
              <a:gd name="connsiteY318" fmla="*/ 222952 h 609235"/>
              <a:gd name="connsiteX319" fmla="*/ 151250 w 607654"/>
              <a:gd name="connsiteY319" fmla="*/ 212725 h 609235"/>
              <a:gd name="connsiteX320" fmla="*/ 486275 w 607654"/>
              <a:gd name="connsiteY320" fmla="*/ 203200 h 609235"/>
              <a:gd name="connsiteX321" fmla="*/ 597629 w 607654"/>
              <a:gd name="connsiteY321" fmla="*/ 203200 h 609235"/>
              <a:gd name="connsiteX322" fmla="*/ 607654 w 607654"/>
              <a:gd name="connsiteY322" fmla="*/ 213519 h 609235"/>
              <a:gd name="connsiteX323" fmla="*/ 597629 w 607654"/>
              <a:gd name="connsiteY323" fmla="*/ 223481 h 609235"/>
              <a:gd name="connsiteX324" fmla="*/ 486275 w 607654"/>
              <a:gd name="connsiteY324" fmla="*/ 223481 h 609235"/>
              <a:gd name="connsiteX325" fmla="*/ 476250 w 607654"/>
              <a:gd name="connsiteY325" fmla="*/ 213519 h 609235"/>
              <a:gd name="connsiteX326" fmla="*/ 486275 w 607654"/>
              <a:gd name="connsiteY326" fmla="*/ 203200 h 609235"/>
              <a:gd name="connsiteX327" fmla="*/ 192615 w 607654"/>
              <a:gd name="connsiteY327" fmla="*/ 203200 h 609235"/>
              <a:gd name="connsiteX328" fmla="*/ 304272 w 607654"/>
              <a:gd name="connsiteY328" fmla="*/ 203200 h 609235"/>
              <a:gd name="connsiteX329" fmla="*/ 313966 w 607654"/>
              <a:gd name="connsiteY329" fmla="*/ 213519 h 609235"/>
              <a:gd name="connsiteX330" fmla="*/ 304272 w 607654"/>
              <a:gd name="connsiteY330" fmla="*/ 223481 h 609235"/>
              <a:gd name="connsiteX331" fmla="*/ 192615 w 607654"/>
              <a:gd name="connsiteY331" fmla="*/ 223481 h 609235"/>
              <a:gd name="connsiteX332" fmla="*/ 182562 w 607654"/>
              <a:gd name="connsiteY332" fmla="*/ 213519 h 609235"/>
              <a:gd name="connsiteX333" fmla="*/ 192615 w 607654"/>
              <a:gd name="connsiteY333" fmla="*/ 203200 h 609235"/>
              <a:gd name="connsiteX334" fmla="*/ 395722 w 607654"/>
              <a:gd name="connsiteY334" fmla="*/ 172893 h 609235"/>
              <a:gd name="connsiteX335" fmla="*/ 355455 w 607654"/>
              <a:gd name="connsiteY335" fmla="*/ 213519 h 609235"/>
              <a:gd name="connsiteX336" fmla="*/ 395722 w 607654"/>
              <a:gd name="connsiteY336" fmla="*/ 253785 h 609235"/>
              <a:gd name="connsiteX337" fmla="*/ 436348 w 607654"/>
              <a:gd name="connsiteY337" fmla="*/ 213519 h 609235"/>
              <a:gd name="connsiteX338" fmla="*/ 395722 w 607654"/>
              <a:gd name="connsiteY338" fmla="*/ 172893 h 609235"/>
              <a:gd name="connsiteX339" fmla="*/ 86341 w 607654"/>
              <a:gd name="connsiteY339" fmla="*/ 161925 h 609235"/>
              <a:gd name="connsiteX340" fmla="*/ 93793 w 607654"/>
              <a:gd name="connsiteY340" fmla="*/ 163699 h 609235"/>
              <a:gd name="connsiteX341" fmla="*/ 99471 w 607654"/>
              <a:gd name="connsiteY341" fmla="*/ 169377 h 609235"/>
              <a:gd name="connsiteX342" fmla="*/ 101245 w 607654"/>
              <a:gd name="connsiteY342" fmla="*/ 176829 h 609235"/>
              <a:gd name="connsiteX343" fmla="*/ 99471 w 607654"/>
              <a:gd name="connsiteY343" fmla="*/ 184280 h 609235"/>
              <a:gd name="connsiteX344" fmla="*/ 93793 w 607654"/>
              <a:gd name="connsiteY344" fmla="*/ 189603 h 609235"/>
              <a:gd name="connsiteX345" fmla="*/ 86341 w 607654"/>
              <a:gd name="connsiteY345" fmla="*/ 191732 h 609235"/>
              <a:gd name="connsiteX346" fmla="*/ 78889 w 607654"/>
              <a:gd name="connsiteY346" fmla="*/ 189603 h 609235"/>
              <a:gd name="connsiteX347" fmla="*/ 73211 w 607654"/>
              <a:gd name="connsiteY347" fmla="*/ 184280 h 609235"/>
              <a:gd name="connsiteX348" fmla="*/ 71437 w 607654"/>
              <a:gd name="connsiteY348" fmla="*/ 176829 h 609235"/>
              <a:gd name="connsiteX349" fmla="*/ 73211 w 607654"/>
              <a:gd name="connsiteY349" fmla="*/ 169377 h 609235"/>
              <a:gd name="connsiteX350" fmla="*/ 78889 w 607654"/>
              <a:gd name="connsiteY350" fmla="*/ 163699 h 609235"/>
              <a:gd name="connsiteX351" fmla="*/ 86341 w 607654"/>
              <a:gd name="connsiteY351" fmla="*/ 161925 h 609235"/>
              <a:gd name="connsiteX352" fmla="*/ 395722 w 607654"/>
              <a:gd name="connsiteY352" fmla="*/ 152400 h 609235"/>
              <a:gd name="connsiteX353" fmla="*/ 456841 w 607654"/>
              <a:gd name="connsiteY353" fmla="*/ 213519 h 609235"/>
              <a:gd name="connsiteX354" fmla="*/ 395722 w 607654"/>
              <a:gd name="connsiteY354" fmla="*/ 274278 h 609235"/>
              <a:gd name="connsiteX355" fmla="*/ 334962 w 607654"/>
              <a:gd name="connsiteY355" fmla="*/ 213519 h 609235"/>
              <a:gd name="connsiteX356" fmla="*/ 395722 w 607654"/>
              <a:gd name="connsiteY356" fmla="*/ 152400 h 609235"/>
              <a:gd name="connsiteX357" fmla="*/ 583359 w 607654"/>
              <a:gd name="connsiteY357" fmla="*/ 133553 h 609235"/>
              <a:gd name="connsiteX358" fmla="*/ 596326 w 607654"/>
              <a:gd name="connsiteY358" fmla="*/ 139641 h 609235"/>
              <a:gd name="connsiteX359" fmla="*/ 590203 w 607654"/>
              <a:gd name="connsiteY359" fmla="*/ 152535 h 609235"/>
              <a:gd name="connsiteX360" fmla="*/ 484668 w 607654"/>
              <a:gd name="connsiteY360" fmla="*/ 189784 h 609235"/>
              <a:gd name="connsiteX361" fmla="*/ 481426 w 607654"/>
              <a:gd name="connsiteY361" fmla="*/ 190142 h 609235"/>
              <a:gd name="connsiteX362" fmla="*/ 471701 w 607654"/>
              <a:gd name="connsiteY362" fmla="*/ 183337 h 609235"/>
              <a:gd name="connsiteX363" fmla="*/ 477824 w 607654"/>
              <a:gd name="connsiteY363" fmla="*/ 170443 h 609235"/>
              <a:gd name="connsiteX364" fmla="*/ 212616 w 607654"/>
              <a:gd name="connsiteY364" fmla="*/ 121236 h 609235"/>
              <a:gd name="connsiteX365" fmla="*/ 314379 w 607654"/>
              <a:gd name="connsiteY365" fmla="*/ 165807 h 609235"/>
              <a:gd name="connsiteX366" fmla="*/ 319396 w 607654"/>
              <a:gd name="connsiteY366" fmla="*/ 179215 h 609235"/>
              <a:gd name="connsiteX367" fmla="*/ 310079 w 607654"/>
              <a:gd name="connsiteY367" fmla="*/ 185375 h 609235"/>
              <a:gd name="connsiteX368" fmla="*/ 306138 w 607654"/>
              <a:gd name="connsiteY368" fmla="*/ 184650 h 609235"/>
              <a:gd name="connsiteX369" fmla="*/ 204375 w 607654"/>
              <a:gd name="connsiteY369" fmla="*/ 140079 h 609235"/>
              <a:gd name="connsiteX370" fmla="*/ 199358 w 607654"/>
              <a:gd name="connsiteY370" fmla="*/ 126672 h 609235"/>
              <a:gd name="connsiteX371" fmla="*/ 212616 w 607654"/>
              <a:gd name="connsiteY371" fmla="*/ 121236 h 609235"/>
              <a:gd name="connsiteX372" fmla="*/ 137141 w 607654"/>
              <a:gd name="connsiteY372" fmla="*/ 111125 h 609235"/>
              <a:gd name="connsiteX373" fmla="*/ 144593 w 607654"/>
              <a:gd name="connsiteY373" fmla="*/ 113340 h 609235"/>
              <a:gd name="connsiteX374" fmla="*/ 150271 w 607654"/>
              <a:gd name="connsiteY374" fmla="*/ 119247 h 609235"/>
              <a:gd name="connsiteX375" fmla="*/ 152045 w 607654"/>
              <a:gd name="connsiteY375" fmla="*/ 127000 h 609235"/>
              <a:gd name="connsiteX376" fmla="*/ 150271 w 607654"/>
              <a:gd name="connsiteY376" fmla="*/ 134753 h 609235"/>
              <a:gd name="connsiteX377" fmla="*/ 144593 w 607654"/>
              <a:gd name="connsiteY377" fmla="*/ 140291 h 609235"/>
              <a:gd name="connsiteX378" fmla="*/ 137141 w 607654"/>
              <a:gd name="connsiteY378" fmla="*/ 142506 h 609235"/>
              <a:gd name="connsiteX379" fmla="*/ 129689 w 607654"/>
              <a:gd name="connsiteY379" fmla="*/ 140291 h 609235"/>
              <a:gd name="connsiteX380" fmla="*/ 124011 w 607654"/>
              <a:gd name="connsiteY380" fmla="*/ 134753 h 609235"/>
              <a:gd name="connsiteX381" fmla="*/ 122237 w 607654"/>
              <a:gd name="connsiteY381" fmla="*/ 127000 h 609235"/>
              <a:gd name="connsiteX382" fmla="*/ 124011 w 607654"/>
              <a:gd name="connsiteY382" fmla="*/ 119247 h 609235"/>
              <a:gd name="connsiteX383" fmla="*/ 129689 w 607654"/>
              <a:gd name="connsiteY383" fmla="*/ 113340 h 609235"/>
              <a:gd name="connsiteX384" fmla="*/ 137141 w 607654"/>
              <a:gd name="connsiteY384" fmla="*/ 111125 h 609235"/>
              <a:gd name="connsiteX385" fmla="*/ 55995 w 607654"/>
              <a:gd name="connsiteY385" fmla="*/ 101167 h 609235"/>
              <a:gd name="connsiteX386" fmla="*/ 40842 w 607654"/>
              <a:gd name="connsiteY386" fmla="*/ 116681 h 609235"/>
              <a:gd name="connsiteX387" fmla="*/ 55995 w 607654"/>
              <a:gd name="connsiteY387" fmla="*/ 131834 h 609235"/>
              <a:gd name="connsiteX388" fmla="*/ 71510 w 607654"/>
              <a:gd name="connsiteY388" fmla="*/ 116681 h 609235"/>
              <a:gd name="connsiteX389" fmla="*/ 55995 w 607654"/>
              <a:gd name="connsiteY389" fmla="*/ 101167 h 609235"/>
              <a:gd name="connsiteX390" fmla="*/ 55995 w 607654"/>
              <a:gd name="connsiteY390" fmla="*/ 80962 h 609235"/>
              <a:gd name="connsiteX391" fmla="*/ 91714 w 607654"/>
              <a:gd name="connsiteY391" fmla="*/ 116681 h 609235"/>
              <a:gd name="connsiteX392" fmla="*/ 55995 w 607654"/>
              <a:gd name="connsiteY392" fmla="*/ 152039 h 609235"/>
              <a:gd name="connsiteX393" fmla="*/ 20637 w 607654"/>
              <a:gd name="connsiteY393" fmla="*/ 116681 h 609235"/>
              <a:gd name="connsiteX394" fmla="*/ 55995 w 607654"/>
              <a:gd name="connsiteY394" fmla="*/ 80962 h 609235"/>
              <a:gd name="connsiteX395" fmla="*/ 532194 w 607654"/>
              <a:gd name="connsiteY395" fmla="*/ 62680 h 609235"/>
              <a:gd name="connsiteX396" fmla="*/ 546554 w 607654"/>
              <a:gd name="connsiteY396" fmla="*/ 62680 h 609235"/>
              <a:gd name="connsiteX397" fmla="*/ 546554 w 607654"/>
              <a:gd name="connsiteY397" fmla="*/ 76660 h 609235"/>
              <a:gd name="connsiteX398" fmla="*/ 467572 w 607654"/>
              <a:gd name="connsiteY398" fmla="*/ 155524 h 609235"/>
              <a:gd name="connsiteX399" fmla="*/ 460391 w 607654"/>
              <a:gd name="connsiteY399" fmla="*/ 158391 h 609235"/>
              <a:gd name="connsiteX400" fmla="*/ 453211 w 607654"/>
              <a:gd name="connsiteY400" fmla="*/ 155524 h 609235"/>
              <a:gd name="connsiteX401" fmla="*/ 453211 w 607654"/>
              <a:gd name="connsiteY401" fmla="*/ 141185 h 609235"/>
              <a:gd name="connsiteX402" fmla="*/ 245277 w 607654"/>
              <a:gd name="connsiteY402" fmla="*/ 62680 h 609235"/>
              <a:gd name="connsiteX403" fmla="*/ 259740 w 607654"/>
              <a:gd name="connsiteY403" fmla="*/ 62680 h 609235"/>
              <a:gd name="connsiteX404" fmla="*/ 338561 w 607654"/>
              <a:gd name="connsiteY404" fmla="*/ 141185 h 609235"/>
              <a:gd name="connsiteX405" fmla="*/ 338561 w 607654"/>
              <a:gd name="connsiteY405" fmla="*/ 155524 h 609235"/>
              <a:gd name="connsiteX406" fmla="*/ 331330 w 607654"/>
              <a:gd name="connsiteY406" fmla="*/ 158391 h 609235"/>
              <a:gd name="connsiteX407" fmla="*/ 324099 w 607654"/>
              <a:gd name="connsiteY407" fmla="*/ 155524 h 609235"/>
              <a:gd name="connsiteX408" fmla="*/ 245277 w 607654"/>
              <a:gd name="connsiteY408" fmla="*/ 76660 h 609235"/>
              <a:gd name="connsiteX409" fmla="*/ 245277 w 607654"/>
              <a:gd name="connsiteY409" fmla="*/ 62680 h 609235"/>
              <a:gd name="connsiteX410" fmla="*/ 146664 w 607654"/>
              <a:gd name="connsiteY410" fmla="*/ 40842 h 609235"/>
              <a:gd name="connsiteX411" fmla="*/ 131587 w 607654"/>
              <a:gd name="connsiteY411" fmla="*/ 55995 h 609235"/>
              <a:gd name="connsiteX412" fmla="*/ 146664 w 607654"/>
              <a:gd name="connsiteY412" fmla="*/ 71509 h 609235"/>
              <a:gd name="connsiteX413" fmla="*/ 162100 w 607654"/>
              <a:gd name="connsiteY413" fmla="*/ 55995 h 609235"/>
              <a:gd name="connsiteX414" fmla="*/ 146664 w 607654"/>
              <a:gd name="connsiteY414" fmla="*/ 40842 h 609235"/>
              <a:gd name="connsiteX415" fmla="*/ 146664 w 607654"/>
              <a:gd name="connsiteY415" fmla="*/ 20637 h 609235"/>
              <a:gd name="connsiteX416" fmla="*/ 182203 w 607654"/>
              <a:gd name="connsiteY416" fmla="*/ 55995 h 609235"/>
              <a:gd name="connsiteX417" fmla="*/ 146664 w 607654"/>
              <a:gd name="connsiteY417" fmla="*/ 91714 h 609235"/>
              <a:gd name="connsiteX418" fmla="*/ 111125 w 607654"/>
              <a:gd name="connsiteY418" fmla="*/ 55995 h 609235"/>
              <a:gd name="connsiteX419" fmla="*/ 146664 w 607654"/>
              <a:gd name="connsiteY419" fmla="*/ 20637 h 609235"/>
              <a:gd name="connsiteX420" fmla="*/ 473155 w 607654"/>
              <a:gd name="connsiteY420" fmla="*/ 14914 h 609235"/>
              <a:gd name="connsiteX421" fmla="*/ 480962 w 607654"/>
              <a:gd name="connsiteY421" fmla="*/ 15230 h 609235"/>
              <a:gd name="connsiteX422" fmla="*/ 486408 w 607654"/>
              <a:gd name="connsiteY422" fmla="*/ 28602 h 609235"/>
              <a:gd name="connsiteX423" fmla="*/ 441747 w 607654"/>
              <a:gd name="connsiteY423" fmla="*/ 131606 h 609235"/>
              <a:gd name="connsiteX424" fmla="*/ 432306 w 607654"/>
              <a:gd name="connsiteY424" fmla="*/ 137751 h 609235"/>
              <a:gd name="connsiteX425" fmla="*/ 428312 w 607654"/>
              <a:gd name="connsiteY425" fmla="*/ 136666 h 609235"/>
              <a:gd name="connsiteX426" fmla="*/ 422866 w 607654"/>
              <a:gd name="connsiteY426" fmla="*/ 123294 h 609235"/>
              <a:gd name="connsiteX427" fmla="*/ 467527 w 607654"/>
              <a:gd name="connsiteY427" fmla="*/ 20290 h 609235"/>
              <a:gd name="connsiteX428" fmla="*/ 473155 w 607654"/>
              <a:gd name="connsiteY428" fmla="*/ 14914 h 609235"/>
              <a:gd name="connsiteX429" fmla="*/ 323859 w 607654"/>
              <a:gd name="connsiteY429" fmla="*/ 9731 h 609235"/>
              <a:gd name="connsiteX430" fmla="*/ 336863 w 607654"/>
              <a:gd name="connsiteY430" fmla="*/ 15830 h 609235"/>
              <a:gd name="connsiteX431" fmla="*/ 374070 w 607654"/>
              <a:gd name="connsiteY431" fmla="*/ 120945 h 609235"/>
              <a:gd name="connsiteX432" fmla="*/ 367929 w 607654"/>
              <a:gd name="connsiteY432" fmla="*/ 133861 h 609235"/>
              <a:gd name="connsiteX433" fmla="*/ 364678 w 607654"/>
              <a:gd name="connsiteY433" fmla="*/ 134578 h 609235"/>
              <a:gd name="connsiteX434" fmla="*/ 354925 w 607654"/>
              <a:gd name="connsiteY434" fmla="*/ 127762 h 609235"/>
              <a:gd name="connsiteX435" fmla="*/ 317718 w 607654"/>
              <a:gd name="connsiteY435" fmla="*/ 22646 h 609235"/>
              <a:gd name="connsiteX436" fmla="*/ 323859 w 607654"/>
              <a:gd name="connsiteY436" fmla="*/ 9731 h 609235"/>
              <a:gd name="connsiteX437" fmla="*/ 395725 w 607654"/>
              <a:gd name="connsiteY437" fmla="*/ 0 h 609235"/>
              <a:gd name="connsiteX438" fmla="*/ 406044 w 607654"/>
              <a:gd name="connsiteY438" fmla="*/ 10025 h 609235"/>
              <a:gd name="connsiteX439" fmla="*/ 406044 w 607654"/>
              <a:gd name="connsiteY439" fmla="*/ 121379 h 609235"/>
              <a:gd name="connsiteX440" fmla="*/ 395725 w 607654"/>
              <a:gd name="connsiteY440" fmla="*/ 131404 h 609235"/>
              <a:gd name="connsiteX441" fmla="*/ 385762 w 607654"/>
              <a:gd name="connsiteY441" fmla="*/ 121379 h 609235"/>
              <a:gd name="connsiteX442" fmla="*/ 385762 w 607654"/>
              <a:gd name="connsiteY442" fmla="*/ 10025 h 609235"/>
              <a:gd name="connsiteX443" fmla="*/ 395725 w 607654"/>
              <a:gd name="connsiteY443" fmla="*/ 0 h 60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</a:cxnLst>
            <a:rect l="l" t="t" r="r" b="b"/>
            <a:pathLst>
              <a:path w="607654" h="609235">
                <a:moveTo>
                  <a:pt x="395725" y="573087"/>
                </a:moveTo>
                <a:cubicBezTo>
                  <a:pt x="401419" y="573087"/>
                  <a:pt x="406044" y="577834"/>
                  <a:pt x="406044" y="583311"/>
                </a:cubicBezTo>
                <a:lnTo>
                  <a:pt x="406044" y="599011"/>
                </a:lnTo>
                <a:cubicBezTo>
                  <a:pt x="406044" y="604488"/>
                  <a:pt x="401419" y="609235"/>
                  <a:pt x="395725" y="609235"/>
                </a:cubicBezTo>
                <a:cubicBezTo>
                  <a:pt x="390388" y="609235"/>
                  <a:pt x="385762" y="604488"/>
                  <a:pt x="385762" y="599011"/>
                </a:cubicBezTo>
                <a:lnTo>
                  <a:pt x="385762" y="583311"/>
                </a:lnTo>
                <a:cubicBezTo>
                  <a:pt x="385762" y="577834"/>
                  <a:pt x="390388" y="573087"/>
                  <a:pt x="395725" y="573087"/>
                </a:cubicBezTo>
                <a:close/>
                <a:moveTo>
                  <a:pt x="395725" y="514350"/>
                </a:moveTo>
                <a:cubicBezTo>
                  <a:pt x="401419" y="514350"/>
                  <a:pt x="406044" y="519101"/>
                  <a:pt x="406044" y="524583"/>
                </a:cubicBezTo>
                <a:lnTo>
                  <a:pt x="406044" y="554552"/>
                </a:lnTo>
                <a:cubicBezTo>
                  <a:pt x="406044" y="560034"/>
                  <a:pt x="401419" y="564785"/>
                  <a:pt x="395725" y="564785"/>
                </a:cubicBezTo>
                <a:cubicBezTo>
                  <a:pt x="390388" y="564785"/>
                  <a:pt x="385762" y="560034"/>
                  <a:pt x="385762" y="554552"/>
                </a:cubicBezTo>
                <a:lnTo>
                  <a:pt x="385762" y="524583"/>
                </a:lnTo>
                <a:cubicBezTo>
                  <a:pt x="385762" y="519101"/>
                  <a:pt x="390388" y="514350"/>
                  <a:pt x="395725" y="514350"/>
                </a:cubicBezTo>
                <a:close/>
                <a:moveTo>
                  <a:pt x="105019" y="469206"/>
                </a:moveTo>
                <a:cubicBezTo>
                  <a:pt x="110148" y="471686"/>
                  <a:pt x="112346" y="477710"/>
                  <a:pt x="109781" y="482671"/>
                </a:cubicBezTo>
                <a:lnTo>
                  <a:pt x="100257" y="500388"/>
                </a:lnTo>
                <a:cubicBezTo>
                  <a:pt x="98425" y="503932"/>
                  <a:pt x="94761" y="506058"/>
                  <a:pt x="91098" y="506058"/>
                </a:cubicBezTo>
                <a:cubicBezTo>
                  <a:pt x="89633" y="506058"/>
                  <a:pt x="88167" y="505703"/>
                  <a:pt x="86702" y="504995"/>
                </a:cubicBezTo>
                <a:cubicBezTo>
                  <a:pt x="81573" y="502514"/>
                  <a:pt x="79375" y="496490"/>
                  <a:pt x="81940" y="491530"/>
                </a:cubicBezTo>
                <a:lnTo>
                  <a:pt x="91098" y="473458"/>
                </a:lnTo>
                <a:cubicBezTo>
                  <a:pt x="93662" y="468851"/>
                  <a:pt x="99890" y="466725"/>
                  <a:pt x="105019" y="469206"/>
                </a:cubicBezTo>
                <a:close/>
                <a:moveTo>
                  <a:pt x="204622" y="460022"/>
                </a:moveTo>
                <a:cubicBezTo>
                  <a:pt x="209351" y="457200"/>
                  <a:pt x="215536" y="458258"/>
                  <a:pt x="218810" y="462845"/>
                </a:cubicBezTo>
                <a:lnTo>
                  <a:pt x="230088" y="479425"/>
                </a:lnTo>
                <a:cubicBezTo>
                  <a:pt x="232998" y="484011"/>
                  <a:pt x="231907" y="490008"/>
                  <a:pt x="227177" y="493183"/>
                </a:cubicBezTo>
                <a:cubicBezTo>
                  <a:pt x="225358" y="494242"/>
                  <a:pt x="223539" y="494947"/>
                  <a:pt x="221357" y="494947"/>
                </a:cubicBezTo>
                <a:cubicBezTo>
                  <a:pt x="218082" y="494947"/>
                  <a:pt x="214808" y="493183"/>
                  <a:pt x="212989" y="490361"/>
                </a:cubicBezTo>
                <a:lnTo>
                  <a:pt x="201711" y="473781"/>
                </a:lnTo>
                <a:cubicBezTo>
                  <a:pt x="198437" y="469195"/>
                  <a:pt x="199892" y="462845"/>
                  <a:pt x="204622" y="460022"/>
                </a:cubicBezTo>
                <a:close/>
                <a:moveTo>
                  <a:pt x="395725" y="455612"/>
                </a:moveTo>
                <a:cubicBezTo>
                  <a:pt x="401419" y="455612"/>
                  <a:pt x="406044" y="460363"/>
                  <a:pt x="406044" y="465845"/>
                </a:cubicBezTo>
                <a:lnTo>
                  <a:pt x="406044" y="495814"/>
                </a:lnTo>
                <a:cubicBezTo>
                  <a:pt x="406044" y="501296"/>
                  <a:pt x="401419" y="506047"/>
                  <a:pt x="395725" y="506047"/>
                </a:cubicBezTo>
                <a:cubicBezTo>
                  <a:pt x="390388" y="506047"/>
                  <a:pt x="385762" y="501296"/>
                  <a:pt x="385762" y="495814"/>
                </a:cubicBezTo>
                <a:lnTo>
                  <a:pt x="385762" y="465845"/>
                </a:lnTo>
                <a:cubicBezTo>
                  <a:pt x="385762" y="460363"/>
                  <a:pt x="390388" y="455612"/>
                  <a:pt x="395725" y="455612"/>
                </a:cubicBezTo>
                <a:close/>
                <a:moveTo>
                  <a:pt x="57766" y="445341"/>
                </a:moveTo>
                <a:cubicBezTo>
                  <a:pt x="61666" y="441325"/>
                  <a:pt x="68046" y="441325"/>
                  <a:pt x="71946" y="445341"/>
                </a:cubicBezTo>
                <a:cubicBezTo>
                  <a:pt x="75846" y="449358"/>
                  <a:pt x="75846" y="455930"/>
                  <a:pt x="71946" y="459946"/>
                </a:cubicBezTo>
                <a:lnTo>
                  <a:pt x="57766" y="474551"/>
                </a:lnTo>
                <a:cubicBezTo>
                  <a:pt x="55994" y="476377"/>
                  <a:pt x="53158" y="477472"/>
                  <a:pt x="50676" y="477472"/>
                </a:cubicBezTo>
                <a:cubicBezTo>
                  <a:pt x="47840" y="477472"/>
                  <a:pt x="45713" y="476377"/>
                  <a:pt x="43586" y="474551"/>
                </a:cubicBezTo>
                <a:cubicBezTo>
                  <a:pt x="39687" y="470535"/>
                  <a:pt x="39687" y="463963"/>
                  <a:pt x="43586" y="459946"/>
                </a:cubicBezTo>
                <a:close/>
                <a:moveTo>
                  <a:pt x="125686" y="426402"/>
                </a:moveTo>
                <a:cubicBezTo>
                  <a:pt x="130796" y="428942"/>
                  <a:pt x="132985" y="435111"/>
                  <a:pt x="130431" y="440191"/>
                </a:cubicBezTo>
                <a:lnTo>
                  <a:pt x="122767" y="455794"/>
                </a:lnTo>
                <a:cubicBezTo>
                  <a:pt x="120942" y="459422"/>
                  <a:pt x="117293" y="461599"/>
                  <a:pt x="113643" y="461599"/>
                </a:cubicBezTo>
                <a:cubicBezTo>
                  <a:pt x="111819" y="461599"/>
                  <a:pt x="110359" y="461236"/>
                  <a:pt x="108899" y="460511"/>
                </a:cubicBezTo>
                <a:cubicBezTo>
                  <a:pt x="103790" y="457971"/>
                  <a:pt x="101600" y="451802"/>
                  <a:pt x="104155" y="446722"/>
                </a:cubicBezTo>
                <a:lnTo>
                  <a:pt x="112183" y="431119"/>
                </a:lnTo>
                <a:cubicBezTo>
                  <a:pt x="114738" y="426039"/>
                  <a:pt x="120942" y="423862"/>
                  <a:pt x="125686" y="426402"/>
                </a:cubicBezTo>
                <a:close/>
                <a:moveTo>
                  <a:pt x="151250" y="425450"/>
                </a:moveTo>
                <a:cubicBezTo>
                  <a:pt x="156944" y="425450"/>
                  <a:pt x="161569" y="430122"/>
                  <a:pt x="161569" y="435872"/>
                </a:cubicBezTo>
                <a:lnTo>
                  <a:pt x="161569" y="597590"/>
                </a:lnTo>
                <a:cubicBezTo>
                  <a:pt x="161569" y="602981"/>
                  <a:pt x="156588" y="607653"/>
                  <a:pt x="151250" y="607653"/>
                </a:cubicBezTo>
                <a:cubicBezTo>
                  <a:pt x="145557" y="607653"/>
                  <a:pt x="141287" y="602981"/>
                  <a:pt x="141287" y="597590"/>
                </a:cubicBezTo>
                <a:lnTo>
                  <a:pt x="141287" y="435872"/>
                </a:lnTo>
                <a:cubicBezTo>
                  <a:pt x="141287" y="430122"/>
                  <a:pt x="145913" y="425450"/>
                  <a:pt x="151250" y="425450"/>
                </a:cubicBezTo>
                <a:close/>
                <a:moveTo>
                  <a:pt x="177271" y="417512"/>
                </a:moveTo>
                <a:cubicBezTo>
                  <a:pt x="182000" y="414337"/>
                  <a:pt x="188549" y="415748"/>
                  <a:pt x="191459" y="420334"/>
                </a:cubicBezTo>
                <a:lnTo>
                  <a:pt x="203101" y="436562"/>
                </a:lnTo>
                <a:cubicBezTo>
                  <a:pt x="206011" y="441148"/>
                  <a:pt x="204920" y="447498"/>
                  <a:pt x="199827" y="450673"/>
                </a:cubicBezTo>
                <a:cubicBezTo>
                  <a:pt x="198371" y="451732"/>
                  <a:pt x="196189" y="452084"/>
                  <a:pt x="194370" y="452084"/>
                </a:cubicBezTo>
                <a:cubicBezTo>
                  <a:pt x="191095" y="452084"/>
                  <a:pt x="187821" y="450673"/>
                  <a:pt x="186002" y="447851"/>
                </a:cubicBezTo>
                <a:lnTo>
                  <a:pt x="174361" y="431270"/>
                </a:lnTo>
                <a:cubicBezTo>
                  <a:pt x="171450" y="426684"/>
                  <a:pt x="172542" y="420334"/>
                  <a:pt x="177271" y="417512"/>
                </a:cubicBezTo>
                <a:close/>
                <a:moveTo>
                  <a:pt x="264350" y="414948"/>
                </a:moveTo>
                <a:lnTo>
                  <a:pt x="267949" y="416414"/>
                </a:lnTo>
                <a:cubicBezTo>
                  <a:pt x="272987" y="418612"/>
                  <a:pt x="275865" y="424473"/>
                  <a:pt x="273706" y="429602"/>
                </a:cubicBezTo>
                <a:cubicBezTo>
                  <a:pt x="271907" y="433631"/>
                  <a:pt x="268309" y="436196"/>
                  <a:pt x="264350" y="436196"/>
                </a:cubicBezTo>
                <a:cubicBezTo>
                  <a:pt x="262911" y="436196"/>
                  <a:pt x="261832" y="436196"/>
                  <a:pt x="260392" y="435463"/>
                </a:cubicBezTo>
                <a:lnTo>
                  <a:pt x="256794" y="433998"/>
                </a:lnTo>
                <a:cubicBezTo>
                  <a:pt x="251756" y="431800"/>
                  <a:pt x="249237" y="425938"/>
                  <a:pt x="251036" y="420810"/>
                </a:cubicBezTo>
                <a:cubicBezTo>
                  <a:pt x="253195" y="415314"/>
                  <a:pt x="258953" y="412750"/>
                  <a:pt x="264350" y="414948"/>
                </a:cubicBezTo>
                <a:close/>
                <a:moveTo>
                  <a:pt x="92691" y="408829"/>
                </a:moveTo>
                <a:cubicBezTo>
                  <a:pt x="96591" y="404812"/>
                  <a:pt x="102972" y="404812"/>
                  <a:pt x="106871" y="408829"/>
                </a:cubicBezTo>
                <a:cubicBezTo>
                  <a:pt x="110771" y="412845"/>
                  <a:pt x="110771" y="419417"/>
                  <a:pt x="106871" y="423434"/>
                </a:cubicBezTo>
                <a:lnTo>
                  <a:pt x="92691" y="438039"/>
                </a:lnTo>
                <a:cubicBezTo>
                  <a:pt x="90564" y="440230"/>
                  <a:pt x="88083" y="440960"/>
                  <a:pt x="85601" y="440960"/>
                </a:cubicBezTo>
                <a:cubicBezTo>
                  <a:pt x="83120" y="440960"/>
                  <a:pt x="80639" y="440230"/>
                  <a:pt x="78512" y="438039"/>
                </a:cubicBezTo>
                <a:cubicBezTo>
                  <a:pt x="74612" y="434023"/>
                  <a:pt x="74612" y="427450"/>
                  <a:pt x="78512" y="423434"/>
                </a:cubicBezTo>
                <a:close/>
                <a:moveTo>
                  <a:pt x="36270" y="399883"/>
                </a:moveTo>
                <a:cubicBezTo>
                  <a:pt x="41719" y="398462"/>
                  <a:pt x="47531" y="401303"/>
                  <a:pt x="48984" y="406630"/>
                </a:cubicBezTo>
                <a:cubicBezTo>
                  <a:pt x="50437" y="412311"/>
                  <a:pt x="47531" y="417638"/>
                  <a:pt x="42082" y="419058"/>
                </a:cubicBezTo>
                <a:lnTo>
                  <a:pt x="22103" y="424740"/>
                </a:lnTo>
                <a:cubicBezTo>
                  <a:pt x="21377" y="425095"/>
                  <a:pt x="20287" y="425095"/>
                  <a:pt x="19561" y="425095"/>
                </a:cubicBezTo>
                <a:cubicBezTo>
                  <a:pt x="14839" y="425095"/>
                  <a:pt x="10843" y="422254"/>
                  <a:pt x="9390" y="417638"/>
                </a:cubicBezTo>
                <a:cubicBezTo>
                  <a:pt x="7937" y="412666"/>
                  <a:pt x="11206" y="406985"/>
                  <a:pt x="16655" y="405209"/>
                </a:cubicBezTo>
                <a:close/>
                <a:moveTo>
                  <a:pt x="395725" y="396875"/>
                </a:moveTo>
                <a:cubicBezTo>
                  <a:pt x="401419" y="396875"/>
                  <a:pt x="406044" y="401626"/>
                  <a:pt x="406044" y="407108"/>
                </a:cubicBezTo>
                <a:lnTo>
                  <a:pt x="406044" y="437077"/>
                </a:lnTo>
                <a:cubicBezTo>
                  <a:pt x="406044" y="442559"/>
                  <a:pt x="401419" y="447310"/>
                  <a:pt x="395725" y="447310"/>
                </a:cubicBezTo>
                <a:cubicBezTo>
                  <a:pt x="390388" y="447310"/>
                  <a:pt x="385762" y="442559"/>
                  <a:pt x="385762" y="437077"/>
                </a:cubicBezTo>
                <a:lnTo>
                  <a:pt x="385762" y="407108"/>
                </a:lnTo>
                <a:cubicBezTo>
                  <a:pt x="385762" y="401626"/>
                  <a:pt x="390388" y="396875"/>
                  <a:pt x="395725" y="396875"/>
                </a:cubicBezTo>
                <a:close/>
                <a:moveTo>
                  <a:pt x="217232" y="395881"/>
                </a:moveTo>
                <a:lnTo>
                  <a:pt x="236120" y="403512"/>
                </a:lnTo>
                <a:cubicBezTo>
                  <a:pt x="241569" y="405692"/>
                  <a:pt x="244112" y="411870"/>
                  <a:pt x="241932" y="416958"/>
                </a:cubicBezTo>
                <a:cubicBezTo>
                  <a:pt x="240479" y="420955"/>
                  <a:pt x="236484" y="423499"/>
                  <a:pt x="232488" y="423499"/>
                </a:cubicBezTo>
                <a:cubicBezTo>
                  <a:pt x="231398" y="423499"/>
                  <a:pt x="229945" y="423135"/>
                  <a:pt x="228856" y="422772"/>
                </a:cubicBezTo>
                <a:lnTo>
                  <a:pt x="209604" y="415141"/>
                </a:lnTo>
                <a:cubicBezTo>
                  <a:pt x="204155" y="412960"/>
                  <a:pt x="201612" y="407146"/>
                  <a:pt x="203792" y="401695"/>
                </a:cubicBezTo>
                <a:cubicBezTo>
                  <a:pt x="205971" y="396607"/>
                  <a:pt x="211783" y="393700"/>
                  <a:pt x="217232" y="395881"/>
                </a:cubicBezTo>
                <a:close/>
                <a:moveTo>
                  <a:pt x="85725" y="385595"/>
                </a:moveTo>
                <a:cubicBezTo>
                  <a:pt x="90854" y="384175"/>
                  <a:pt x="96349" y="387371"/>
                  <a:pt x="98180" y="392697"/>
                </a:cubicBezTo>
                <a:cubicBezTo>
                  <a:pt x="99646" y="398024"/>
                  <a:pt x="96715" y="403705"/>
                  <a:pt x="91220" y="405126"/>
                </a:cubicBezTo>
                <a:lnTo>
                  <a:pt x="71437" y="410452"/>
                </a:lnTo>
                <a:cubicBezTo>
                  <a:pt x="70338" y="410807"/>
                  <a:pt x="69605" y="410807"/>
                  <a:pt x="68506" y="410807"/>
                </a:cubicBezTo>
                <a:cubicBezTo>
                  <a:pt x="64110" y="410807"/>
                  <a:pt x="60081" y="407966"/>
                  <a:pt x="58615" y="403705"/>
                </a:cubicBezTo>
                <a:cubicBezTo>
                  <a:pt x="57150" y="398379"/>
                  <a:pt x="60081" y="392697"/>
                  <a:pt x="65576" y="391277"/>
                </a:cubicBezTo>
                <a:close/>
                <a:moveTo>
                  <a:pt x="222953" y="365125"/>
                </a:moveTo>
                <a:lnTo>
                  <a:pt x="243407" y="365125"/>
                </a:lnTo>
                <a:cubicBezTo>
                  <a:pt x="249252" y="365125"/>
                  <a:pt x="253635" y="369470"/>
                  <a:pt x="253635" y="375263"/>
                </a:cubicBezTo>
                <a:cubicBezTo>
                  <a:pt x="253635" y="381055"/>
                  <a:pt x="249252" y="385400"/>
                  <a:pt x="243407" y="385400"/>
                </a:cubicBezTo>
                <a:lnTo>
                  <a:pt x="222953" y="385400"/>
                </a:lnTo>
                <a:cubicBezTo>
                  <a:pt x="217108" y="385400"/>
                  <a:pt x="212725" y="381055"/>
                  <a:pt x="212725" y="375263"/>
                </a:cubicBezTo>
                <a:cubicBezTo>
                  <a:pt x="212725" y="369470"/>
                  <a:pt x="217108" y="365125"/>
                  <a:pt x="222953" y="365125"/>
                </a:cubicBezTo>
                <a:close/>
                <a:moveTo>
                  <a:pt x="143960" y="356801"/>
                </a:moveTo>
                <a:lnTo>
                  <a:pt x="143960" y="360407"/>
                </a:lnTo>
                <a:cubicBezTo>
                  <a:pt x="143960" y="364012"/>
                  <a:pt x="142530" y="367256"/>
                  <a:pt x="139668" y="369059"/>
                </a:cubicBezTo>
                <a:lnTo>
                  <a:pt x="136807" y="371222"/>
                </a:lnTo>
                <a:lnTo>
                  <a:pt x="140384" y="372303"/>
                </a:lnTo>
                <a:cubicBezTo>
                  <a:pt x="143603" y="373385"/>
                  <a:pt x="146106" y="375909"/>
                  <a:pt x="146822" y="379153"/>
                </a:cubicBezTo>
                <a:lnTo>
                  <a:pt x="147895" y="382398"/>
                </a:lnTo>
                <a:lnTo>
                  <a:pt x="150041" y="379514"/>
                </a:lnTo>
                <a:cubicBezTo>
                  <a:pt x="152187" y="376630"/>
                  <a:pt x="155405" y="375548"/>
                  <a:pt x="158624" y="375188"/>
                </a:cubicBezTo>
                <a:lnTo>
                  <a:pt x="162201" y="375188"/>
                </a:lnTo>
                <a:lnTo>
                  <a:pt x="160055" y="372303"/>
                </a:lnTo>
                <a:cubicBezTo>
                  <a:pt x="157909" y="369780"/>
                  <a:pt x="157551" y="366175"/>
                  <a:pt x="158624" y="362930"/>
                </a:cubicBezTo>
                <a:lnTo>
                  <a:pt x="159697" y="359325"/>
                </a:lnTo>
                <a:lnTo>
                  <a:pt x="156121" y="360407"/>
                </a:lnTo>
                <a:cubicBezTo>
                  <a:pt x="153260" y="361488"/>
                  <a:pt x="149683" y="361128"/>
                  <a:pt x="146822" y="358965"/>
                </a:cubicBezTo>
                <a:close/>
                <a:moveTo>
                  <a:pt x="60938" y="354012"/>
                </a:moveTo>
                <a:lnTo>
                  <a:pt x="81575" y="354012"/>
                </a:lnTo>
                <a:cubicBezTo>
                  <a:pt x="87006" y="354012"/>
                  <a:pt x="91713" y="358719"/>
                  <a:pt x="91713" y="364150"/>
                </a:cubicBezTo>
                <a:cubicBezTo>
                  <a:pt x="91713" y="369943"/>
                  <a:pt x="87006" y="374288"/>
                  <a:pt x="81575" y="374288"/>
                </a:cubicBezTo>
                <a:lnTo>
                  <a:pt x="60938" y="374288"/>
                </a:lnTo>
                <a:cubicBezTo>
                  <a:pt x="55507" y="374288"/>
                  <a:pt x="50800" y="369943"/>
                  <a:pt x="50800" y="364150"/>
                </a:cubicBezTo>
                <a:cubicBezTo>
                  <a:pt x="50800" y="358719"/>
                  <a:pt x="55507" y="354012"/>
                  <a:pt x="60938" y="354012"/>
                </a:cubicBezTo>
                <a:close/>
                <a:moveTo>
                  <a:pt x="10138" y="354012"/>
                </a:moveTo>
                <a:lnTo>
                  <a:pt x="30775" y="354012"/>
                </a:lnTo>
                <a:cubicBezTo>
                  <a:pt x="36206" y="354012"/>
                  <a:pt x="40913" y="358357"/>
                  <a:pt x="40913" y="364150"/>
                </a:cubicBezTo>
                <a:cubicBezTo>
                  <a:pt x="40913" y="369581"/>
                  <a:pt x="36206" y="374288"/>
                  <a:pt x="30775" y="374288"/>
                </a:cubicBezTo>
                <a:lnTo>
                  <a:pt x="10138" y="374288"/>
                </a:lnTo>
                <a:cubicBezTo>
                  <a:pt x="4707" y="374288"/>
                  <a:pt x="0" y="369943"/>
                  <a:pt x="0" y="364150"/>
                </a:cubicBezTo>
                <a:cubicBezTo>
                  <a:pt x="0" y="358719"/>
                  <a:pt x="4707" y="354012"/>
                  <a:pt x="10138" y="354012"/>
                </a:cubicBezTo>
                <a:close/>
                <a:moveTo>
                  <a:pt x="395725" y="338137"/>
                </a:moveTo>
                <a:cubicBezTo>
                  <a:pt x="401419" y="338137"/>
                  <a:pt x="406044" y="342888"/>
                  <a:pt x="406044" y="348370"/>
                </a:cubicBezTo>
                <a:lnTo>
                  <a:pt x="406044" y="378339"/>
                </a:lnTo>
                <a:cubicBezTo>
                  <a:pt x="406044" y="383821"/>
                  <a:pt x="401419" y="388572"/>
                  <a:pt x="395725" y="388572"/>
                </a:cubicBezTo>
                <a:cubicBezTo>
                  <a:pt x="390388" y="388572"/>
                  <a:pt x="385762" y="383821"/>
                  <a:pt x="385762" y="378339"/>
                </a:cubicBezTo>
                <a:lnTo>
                  <a:pt x="385762" y="348370"/>
                </a:lnTo>
                <a:cubicBezTo>
                  <a:pt x="385762" y="342888"/>
                  <a:pt x="390388" y="338137"/>
                  <a:pt x="395725" y="338137"/>
                </a:cubicBezTo>
                <a:close/>
                <a:moveTo>
                  <a:pt x="128939" y="327240"/>
                </a:moveTo>
                <a:cubicBezTo>
                  <a:pt x="132515" y="325437"/>
                  <a:pt x="136450" y="325798"/>
                  <a:pt x="139668" y="328321"/>
                </a:cubicBezTo>
                <a:lnTo>
                  <a:pt x="154690" y="339497"/>
                </a:lnTo>
                <a:lnTo>
                  <a:pt x="172573" y="333368"/>
                </a:lnTo>
                <a:cubicBezTo>
                  <a:pt x="176150" y="332287"/>
                  <a:pt x="180084" y="333368"/>
                  <a:pt x="182945" y="335892"/>
                </a:cubicBezTo>
                <a:cubicBezTo>
                  <a:pt x="185807" y="338776"/>
                  <a:pt x="186522" y="342742"/>
                  <a:pt x="185449" y="346347"/>
                </a:cubicBezTo>
                <a:lnTo>
                  <a:pt x="179369" y="364372"/>
                </a:lnTo>
                <a:lnTo>
                  <a:pt x="190814" y="379874"/>
                </a:lnTo>
                <a:cubicBezTo>
                  <a:pt x="192960" y="382758"/>
                  <a:pt x="193317" y="387084"/>
                  <a:pt x="191529" y="390329"/>
                </a:cubicBezTo>
                <a:cubicBezTo>
                  <a:pt x="189741" y="393934"/>
                  <a:pt x="186522" y="395737"/>
                  <a:pt x="182588" y="395737"/>
                </a:cubicBezTo>
                <a:lnTo>
                  <a:pt x="163632" y="395737"/>
                </a:lnTo>
                <a:lnTo>
                  <a:pt x="152544" y="411238"/>
                </a:lnTo>
                <a:cubicBezTo>
                  <a:pt x="150756" y="413762"/>
                  <a:pt x="147537" y="415565"/>
                  <a:pt x="144318" y="415565"/>
                </a:cubicBezTo>
                <a:cubicBezTo>
                  <a:pt x="143960" y="415565"/>
                  <a:pt x="143245" y="415565"/>
                  <a:pt x="142530" y="415204"/>
                </a:cubicBezTo>
                <a:cubicBezTo>
                  <a:pt x="138595" y="414483"/>
                  <a:pt x="135734" y="411960"/>
                  <a:pt x="134661" y="408354"/>
                </a:cubicBezTo>
                <a:lnTo>
                  <a:pt x="128939" y="389968"/>
                </a:lnTo>
                <a:lnTo>
                  <a:pt x="111056" y="384561"/>
                </a:lnTo>
                <a:cubicBezTo>
                  <a:pt x="107479" y="383479"/>
                  <a:pt x="104260" y="380235"/>
                  <a:pt x="103902" y="376269"/>
                </a:cubicBezTo>
                <a:cubicBezTo>
                  <a:pt x="103187" y="372664"/>
                  <a:pt x="104975" y="368698"/>
                  <a:pt x="108194" y="366535"/>
                </a:cubicBezTo>
                <a:lnTo>
                  <a:pt x="123574" y="355359"/>
                </a:lnTo>
                <a:lnTo>
                  <a:pt x="123574" y="336613"/>
                </a:lnTo>
                <a:cubicBezTo>
                  <a:pt x="123574" y="332647"/>
                  <a:pt x="125720" y="329042"/>
                  <a:pt x="128939" y="327240"/>
                </a:cubicBezTo>
                <a:close/>
                <a:moveTo>
                  <a:pt x="71315" y="324417"/>
                </a:moveTo>
                <a:lnTo>
                  <a:pt x="90365" y="332676"/>
                </a:lnTo>
                <a:cubicBezTo>
                  <a:pt x="95494" y="334830"/>
                  <a:pt x="98059" y="340575"/>
                  <a:pt x="95861" y="345962"/>
                </a:cubicBezTo>
                <a:cubicBezTo>
                  <a:pt x="94029" y="349552"/>
                  <a:pt x="90365" y="352066"/>
                  <a:pt x="86336" y="352066"/>
                </a:cubicBezTo>
                <a:cubicBezTo>
                  <a:pt x="84870" y="352066"/>
                  <a:pt x="83771" y="351707"/>
                  <a:pt x="82306" y="351348"/>
                </a:cubicBezTo>
                <a:lnTo>
                  <a:pt x="63255" y="343089"/>
                </a:lnTo>
                <a:cubicBezTo>
                  <a:pt x="58126" y="340934"/>
                  <a:pt x="55562" y="335189"/>
                  <a:pt x="57760" y="329803"/>
                </a:cubicBezTo>
                <a:cubicBezTo>
                  <a:pt x="59958" y="324776"/>
                  <a:pt x="66186" y="322262"/>
                  <a:pt x="71315" y="324417"/>
                </a:cubicBezTo>
                <a:close/>
                <a:moveTo>
                  <a:pt x="212508" y="314826"/>
                </a:moveTo>
                <a:cubicBezTo>
                  <a:pt x="216838" y="311150"/>
                  <a:pt x="223332" y="312253"/>
                  <a:pt x="226579" y="316665"/>
                </a:cubicBezTo>
                <a:cubicBezTo>
                  <a:pt x="229826" y="321444"/>
                  <a:pt x="229105" y="328061"/>
                  <a:pt x="224414" y="331370"/>
                </a:cubicBezTo>
                <a:lnTo>
                  <a:pt x="208179" y="343869"/>
                </a:lnTo>
                <a:cubicBezTo>
                  <a:pt x="206375" y="344972"/>
                  <a:pt x="204210" y="345707"/>
                  <a:pt x="202045" y="345707"/>
                </a:cubicBezTo>
                <a:cubicBezTo>
                  <a:pt x="199159" y="345707"/>
                  <a:pt x="195912" y="344237"/>
                  <a:pt x="194108" y="341664"/>
                </a:cubicBezTo>
                <a:cubicBezTo>
                  <a:pt x="190500" y="337252"/>
                  <a:pt x="191582" y="330635"/>
                  <a:pt x="195912" y="327326"/>
                </a:cubicBezTo>
                <a:close/>
                <a:moveTo>
                  <a:pt x="23920" y="305051"/>
                </a:moveTo>
                <a:lnTo>
                  <a:pt x="42808" y="313144"/>
                </a:lnTo>
                <a:cubicBezTo>
                  <a:pt x="47894" y="315351"/>
                  <a:pt x="50437" y="321604"/>
                  <a:pt x="47894" y="326754"/>
                </a:cubicBezTo>
                <a:cubicBezTo>
                  <a:pt x="46441" y="330800"/>
                  <a:pt x="42445" y="333007"/>
                  <a:pt x="38450" y="333007"/>
                </a:cubicBezTo>
                <a:cubicBezTo>
                  <a:pt x="37360" y="333007"/>
                  <a:pt x="35907" y="333007"/>
                  <a:pt x="34454" y="332272"/>
                </a:cubicBezTo>
                <a:lnTo>
                  <a:pt x="15928" y="324179"/>
                </a:lnTo>
                <a:cubicBezTo>
                  <a:pt x="10480" y="321604"/>
                  <a:pt x="7937" y="315719"/>
                  <a:pt x="10480" y="310569"/>
                </a:cubicBezTo>
                <a:cubicBezTo>
                  <a:pt x="12659" y="305051"/>
                  <a:pt x="18471" y="303212"/>
                  <a:pt x="23920" y="305051"/>
                </a:cubicBezTo>
                <a:close/>
                <a:moveTo>
                  <a:pt x="76184" y="294176"/>
                </a:moveTo>
                <a:cubicBezTo>
                  <a:pt x="80931" y="290512"/>
                  <a:pt x="87138" y="291245"/>
                  <a:pt x="90789" y="295641"/>
                </a:cubicBezTo>
                <a:lnTo>
                  <a:pt x="103934" y="311028"/>
                </a:lnTo>
                <a:cubicBezTo>
                  <a:pt x="107585" y="315424"/>
                  <a:pt x="107220" y="322018"/>
                  <a:pt x="102838" y="325681"/>
                </a:cubicBezTo>
                <a:cubicBezTo>
                  <a:pt x="100648" y="327147"/>
                  <a:pt x="98457" y="328246"/>
                  <a:pt x="96266" y="328246"/>
                </a:cubicBezTo>
                <a:cubicBezTo>
                  <a:pt x="92980" y="328246"/>
                  <a:pt x="90059" y="326780"/>
                  <a:pt x="88233" y="324216"/>
                </a:cubicBezTo>
                <a:lnTo>
                  <a:pt x="75088" y="308463"/>
                </a:lnTo>
                <a:cubicBezTo>
                  <a:pt x="71437" y="304067"/>
                  <a:pt x="72167" y="297839"/>
                  <a:pt x="76184" y="294176"/>
                </a:cubicBezTo>
                <a:close/>
                <a:moveTo>
                  <a:pt x="395725" y="293687"/>
                </a:moveTo>
                <a:cubicBezTo>
                  <a:pt x="401419" y="293687"/>
                  <a:pt x="406044" y="298273"/>
                  <a:pt x="406044" y="303918"/>
                </a:cubicBezTo>
                <a:lnTo>
                  <a:pt x="406044" y="318382"/>
                </a:lnTo>
                <a:cubicBezTo>
                  <a:pt x="406044" y="323673"/>
                  <a:pt x="401419" y="328259"/>
                  <a:pt x="395725" y="328259"/>
                </a:cubicBezTo>
                <a:cubicBezTo>
                  <a:pt x="390388" y="328259"/>
                  <a:pt x="385762" y="323673"/>
                  <a:pt x="385762" y="318382"/>
                </a:cubicBezTo>
                <a:lnTo>
                  <a:pt x="385762" y="303918"/>
                </a:lnTo>
                <a:cubicBezTo>
                  <a:pt x="385762" y="298273"/>
                  <a:pt x="390388" y="293687"/>
                  <a:pt x="395725" y="293687"/>
                </a:cubicBezTo>
                <a:close/>
                <a:moveTo>
                  <a:pt x="243325" y="293687"/>
                </a:moveTo>
                <a:lnTo>
                  <a:pt x="243681" y="293687"/>
                </a:lnTo>
                <a:cubicBezTo>
                  <a:pt x="249019" y="293687"/>
                  <a:pt x="253644" y="298394"/>
                  <a:pt x="253644" y="304187"/>
                </a:cubicBezTo>
                <a:cubicBezTo>
                  <a:pt x="253644" y="309618"/>
                  <a:pt x="249019" y="313963"/>
                  <a:pt x="243681" y="313963"/>
                </a:cubicBezTo>
                <a:cubicBezTo>
                  <a:pt x="237988" y="313963"/>
                  <a:pt x="233362" y="309618"/>
                  <a:pt x="233362" y="304187"/>
                </a:cubicBezTo>
                <a:cubicBezTo>
                  <a:pt x="233362" y="298394"/>
                  <a:pt x="237988" y="293687"/>
                  <a:pt x="243325" y="293687"/>
                </a:cubicBezTo>
                <a:close/>
                <a:moveTo>
                  <a:pt x="422237" y="287549"/>
                </a:moveTo>
                <a:cubicBezTo>
                  <a:pt x="427623" y="285750"/>
                  <a:pt x="433368" y="288628"/>
                  <a:pt x="435523" y="294025"/>
                </a:cubicBezTo>
                <a:lnTo>
                  <a:pt x="472508" y="398719"/>
                </a:lnTo>
                <a:cubicBezTo>
                  <a:pt x="474303" y="404116"/>
                  <a:pt x="471430" y="409872"/>
                  <a:pt x="466044" y="411671"/>
                </a:cubicBezTo>
                <a:cubicBezTo>
                  <a:pt x="464967" y="412031"/>
                  <a:pt x="463890" y="412390"/>
                  <a:pt x="462813" y="412390"/>
                </a:cubicBezTo>
                <a:cubicBezTo>
                  <a:pt x="458504" y="412390"/>
                  <a:pt x="454913" y="409872"/>
                  <a:pt x="453477" y="405555"/>
                </a:cubicBezTo>
                <a:lnTo>
                  <a:pt x="416133" y="300501"/>
                </a:lnTo>
                <a:cubicBezTo>
                  <a:pt x="414337" y="295464"/>
                  <a:pt x="417210" y="289348"/>
                  <a:pt x="422237" y="287549"/>
                </a:cubicBezTo>
                <a:close/>
                <a:moveTo>
                  <a:pt x="362043" y="286316"/>
                </a:moveTo>
                <a:cubicBezTo>
                  <a:pt x="367035" y="288469"/>
                  <a:pt x="369531" y="294571"/>
                  <a:pt x="367391" y="299595"/>
                </a:cubicBezTo>
                <a:lnTo>
                  <a:pt x="323536" y="401527"/>
                </a:lnTo>
                <a:cubicBezTo>
                  <a:pt x="321753" y="405116"/>
                  <a:pt x="318187" y="407628"/>
                  <a:pt x="314265" y="407628"/>
                </a:cubicBezTo>
                <a:cubicBezTo>
                  <a:pt x="312839" y="407628"/>
                  <a:pt x="311413" y="407269"/>
                  <a:pt x="310343" y="406551"/>
                </a:cubicBezTo>
                <a:cubicBezTo>
                  <a:pt x="304995" y="404398"/>
                  <a:pt x="303212" y="398655"/>
                  <a:pt x="304995" y="393272"/>
                </a:cubicBezTo>
                <a:lnTo>
                  <a:pt x="348851" y="291340"/>
                </a:lnTo>
                <a:cubicBezTo>
                  <a:pt x="350990" y="286316"/>
                  <a:pt x="357051" y="284162"/>
                  <a:pt x="362043" y="286316"/>
                </a:cubicBezTo>
                <a:close/>
                <a:moveTo>
                  <a:pt x="196145" y="277140"/>
                </a:moveTo>
                <a:cubicBezTo>
                  <a:pt x="201083" y="279643"/>
                  <a:pt x="202847" y="285721"/>
                  <a:pt x="200378" y="290727"/>
                </a:cubicBezTo>
                <a:lnTo>
                  <a:pt x="191558" y="308247"/>
                </a:lnTo>
                <a:cubicBezTo>
                  <a:pt x="189795" y="311822"/>
                  <a:pt x="186267" y="313968"/>
                  <a:pt x="182739" y="313968"/>
                </a:cubicBezTo>
                <a:cubicBezTo>
                  <a:pt x="181328" y="313968"/>
                  <a:pt x="179564" y="313610"/>
                  <a:pt x="178506" y="312895"/>
                </a:cubicBezTo>
                <a:cubicBezTo>
                  <a:pt x="173214" y="310392"/>
                  <a:pt x="171450" y="304314"/>
                  <a:pt x="173920" y="299666"/>
                </a:cubicBezTo>
                <a:lnTo>
                  <a:pt x="182739" y="281431"/>
                </a:lnTo>
                <a:cubicBezTo>
                  <a:pt x="185208" y="276425"/>
                  <a:pt x="191206" y="274637"/>
                  <a:pt x="196145" y="277140"/>
                </a:cubicBezTo>
                <a:close/>
                <a:moveTo>
                  <a:pt x="111506" y="271323"/>
                </a:moveTo>
                <a:cubicBezTo>
                  <a:pt x="117294" y="269875"/>
                  <a:pt x="122719" y="273134"/>
                  <a:pt x="124166" y="278565"/>
                </a:cubicBezTo>
                <a:lnTo>
                  <a:pt x="129954" y="298116"/>
                </a:lnTo>
                <a:cubicBezTo>
                  <a:pt x="131400" y="303547"/>
                  <a:pt x="128145" y="308978"/>
                  <a:pt x="122719" y="310426"/>
                </a:cubicBezTo>
                <a:cubicBezTo>
                  <a:pt x="121634" y="310788"/>
                  <a:pt x="120911" y="310788"/>
                  <a:pt x="119826" y="310788"/>
                </a:cubicBezTo>
                <a:cubicBezTo>
                  <a:pt x="115485" y="310788"/>
                  <a:pt x="111506" y="307892"/>
                  <a:pt x="110060" y="303909"/>
                </a:cubicBezTo>
                <a:lnTo>
                  <a:pt x="104634" y="283996"/>
                </a:lnTo>
                <a:cubicBezTo>
                  <a:pt x="103187" y="278565"/>
                  <a:pt x="106081" y="273134"/>
                  <a:pt x="111506" y="271323"/>
                </a:cubicBezTo>
                <a:close/>
                <a:moveTo>
                  <a:pt x="322747" y="270659"/>
                </a:moveTo>
                <a:cubicBezTo>
                  <a:pt x="326674" y="266700"/>
                  <a:pt x="333100" y="266700"/>
                  <a:pt x="337028" y="270659"/>
                </a:cubicBezTo>
                <a:cubicBezTo>
                  <a:pt x="340955" y="274618"/>
                  <a:pt x="340955" y="281097"/>
                  <a:pt x="337028" y="285056"/>
                </a:cubicBezTo>
                <a:lnTo>
                  <a:pt x="270621" y="352001"/>
                </a:lnTo>
                <a:cubicBezTo>
                  <a:pt x="268478" y="354160"/>
                  <a:pt x="265979" y="355240"/>
                  <a:pt x="263480" y="355240"/>
                </a:cubicBezTo>
                <a:cubicBezTo>
                  <a:pt x="260624" y="355240"/>
                  <a:pt x="258125" y="354160"/>
                  <a:pt x="256339" y="352001"/>
                </a:cubicBezTo>
                <a:cubicBezTo>
                  <a:pt x="252412" y="348042"/>
                  <a:pt x="252412" y="341923"/>
                  <a:pt x="256339" y="337964"/>
                </a:cubicBezTo>
                <a:close/>
                <a:moveTo>
                  <a:pt x="453211" y="270643"/>
                </a:moveTo>
                <a:cubicBezTo>
                  <a:pt x="457160" y="266700"/>
                  <a:pt x="463623" y="266700"/>
                  <a:pt x="467572" y="270643"/>
                </a:cubicBezTo>
                <a:lnTo>
                  <a:pt x="546554" y="349147"/>
                </a:lnTo>
                <a:cubicBezTo>
                  <a:pt x="550503" y="353090"/>
                  <a:pt x="550503" y="359543"/>
                  <a:pt x="546554" y="363486"/>
                </a:cubicBezTo>
                <a:cubicBezTo>
                  <a:pt x="544400" y="365278"/>
                  <a:pt x="542246" y="366354"/>
                  <a:pt x="539374" y="366354"/>
                </a:cubicBezTo>
                <a:cubicBezTo>
                  <a:pt x="536861" y="366354"/>
                  <a:pt x="533989" y="365278"/>
                  <a:pt x="532194" y="363486"/>
                </a:cubicBezTo>
                <a:lnTo>
                  <a:pt x="453211" y="284982"/>
                </a:lnTo>
                <a:cubicBezTo>
                  <a:pt x="449262" y="281039"/>
                  <a:pt x="449262" y="274586"/>
                  <a:pt x="453211" y="270643"/>
                </a:cubicBezTo>
                <a:close/>
                <a:moveTo>
                  <a:pt x="151250" y="263525"/>
                </a:moveTo>
                <a:cubicBezTo>
                  <a:pt x="156588" y="263525"/>
                  <a:pt x="161569" y="267870"/>
                  <a:pt x="161569" y="273663"/>
                </a:cubicBezTo>
                <a:lnTo>
                  <a:pt x="161569" y="293938"/>
                </a:lnTo>
                <a:cubicBezTo>
                  <a:pt x="161569" y="299731"/>
                  <a:pt x="156944" y="304438"/>
                  <a:pt x="151250" y="304438"/>
                </a:cubicBezTo>
                <a:cubicBezTo>
                  <a:pt x="145913" y="304438"/>
                  <a:pt x="141287" y="299731"/>
                  <a:pt x="141287" y="293938"/>
                </a:cubicBezTo>
                <a:lnTo>
                  <a:pt x="141287" y="273663"/>
                </a:lnTo>
                <a:cubicBezTo>
                  <a:pt x="141287" y="267870"/>
                  <a:pt x="145557" y="263525"/>
                  <a:pt x="151250" y="263525"/>
                </a:cubicBezTo>
                <a:close/>
                <a:moveTo>
                  <a:pt x="44434" y="256076"/>
                </a:moveTo>
                <a:cubicBezTo>
                  <a:pt x="48815" y="252412"/>
                  <a:pt x="55387" y="253145"/>
                  <a:pt x="59039" y="257541"/>
                </a:cubicBezTo>
                <a:lnTo>
                  <a:pt x="72184" y="273294"/>
                </a:lnTo>
                <a:cubicBezTo>
                  <a:pt x="75835" y="277690"/>
                  <a:pt x="75105" y="284284"/>
                  <a:pt x="70723" y="287948"/>
                </a:cubicBezTo>
                <a:cubicBezTo>
                  <a:pt x="68897" y="289413"/>
                  <a:pt x="66706" y="290146"/>
                  <a:pt x="64151" y="290146"/>
                </a:cubicBezTo>
                <a:cubicBezTo>
                  <a:pt x="61230" y="290146"/>
                  <a:pt x="58309" y="289047"/>
                  <a:pt x="56483" y="286482"/>
                </a:cubicBezTo>
                <a:lnTo>
                  <a:pt x="42973" y="270729"/>
                </a:lnTo>
                <a:cubicBezTo>
                  <a:pt x="39687" y="266333"/>
                  <a:pt x="40052" y="259739"/>
                  <a:pt x="44434" y="256076"/>
                </a:cubicBezTo>
                <a:close/>
                <a:moveTo>
                  <a:pt x="483720" y="238711"/>
                </a:moveTo>
                <a:lnTo>
                  <a:pt x="585842" y="283282"/>
                </a:lnTo>
                <a:cubicBezTo>
                  <a:pt x="590859" y="285819"/>
                  <a:pt x="593367" y="291616"/>
                  <a:pt x="591217" y="296690"/>
                </a:cubicBezTo>
                <a:cubicBezTo>
                  <a:pt x="589425" y="300676"/>
                  <a:pt x="585842" y="302850"/>
                  <a:pt x="581900" y="302850"/>
                </a:cubicBezTo>
                <a:cubicBezTo>
                  <a:pt x="580467" y="302850"/>
                  <a:pt x="579034" y="302850"/>
                  <a:pt x="577601" y="302125"/>
                </a:cubicBezTo>
                <a:lnTo>
                  <a:pt x="475479" y="257554"/>
                </a:lnTo>
                <a:cubicBezTo>
                  <a:pt x="470462" y="255380"/>
                  <a:pt x="468312" y="249220"/>
                  <a:pt x="470462" y="244147"/>
                </a:cubicBezTo>
                <a:cubicBezTo>
                  <a:pt x="472612" y="239074"/>
                  <a:pt x="478345" y="236537"/>
                  <a:pt x="483720" y="238711"/>
                </a:cubicBezTo>
                <a:close/>
                <a:moveTo>
                  <a:pt x="217761" y="234315"/>
                </a:moveTo>
                <a:cubicBezTo>
                  <a:pt x="222871" y="236855"/>
                  <a:pt x="225060" y="243024"/>
                  <a:pt x="222506" y="248104"/>
                </a:cubicBezTo>
                <a:lnTo>
                  <a:pt x="214842" y="263707"/>
                </a:lnTo>
                <a:cubicBezTo>
                  <a:pt x="212652" y="267335"/>
                  <a:pt x="209368" y="269512"/>
                  <a:pt x="205353" y="269512"/>
                </a:cubicBezTo>
                <a:cubicBezTo>
                  <a:pt x="203894" y="269512"/>
                  <a:pt x="202069" y="268787"/>
                  <a:pt x="200609" y="268061"/>
                </a:cubicBezTo>
                <a:cubicBezTo>
                  <a:pt x="195500" y="265884"/>
                  <a:pt x="193675" y="259715"/>
                  <a:pt x="196230" y="254635"/>
                </a:cubicBezTo>
                <a:lnTo>
                  <a:pt x="203894" y="239032"/>
                </a:lnTo>
                <a:cubicBezTo>
                  <a:pt x="206448" y="233952"/>
                  <a:pt x="212652" y="231775"/>
                  <a:pt x="217761" y="234315"/>
                </a:cubicBezTo>
                <a:close/>
                <a:moveTo>
                  <a:pt x="305559" y="231604"/>
                </a:moveTo>
                <a:cubicBezTo>
                  <a:pt x="310957" y="230187"/>
                  <a:pt x="317076" y="233021"/>
                  <a:pt x="318516" y="238335"/>
                </a:cubicBezTo>
                <a:cubicBezTo>
                  <a:pt x="320315" y="243294"/>
                  <a:pt x="317076" y="248962"/>
                  <a:pt x="312037" y="250733"/>
                </a:cubicBezTo>
                <a:lnTo>
                  <a:pt x="246172" y="271987"/>
                </a:lnTo>
                <a:cubicBezTo>
                  <a:pt x="245092" y="272342"/>
                  <a:pt x="244012" y="272696"/>
                  <a:pt x="242933" y="272696"/>
                </a:cubicBezTo>
                <a:cubicBezTo>
                  <a:pt x="238614" y="272696"/>
                  <a:pt x="234654" y="269862"/>
                  <a:pt x="233215" y="265611"/>
                </a:cubicBezTo>
                <a:cubicBezTo>
                  <a:pt x="231775" y="260652"/>
                  <a:pt x="234654" y="254984"/>
                  <a:pt x="239693" y="253213"/>
                </a:cubicBezTo>
                <a:close/>
                <a:moveTo>
                  <a:pt x="99168" y="223698"/>
                </a:moveTo>
                <a:cubicBezTo>
                  <a:pt x="104594" y="222250"/>
                  <a:pt x="110019" y="225147"/>
                  <a:pt x="111828" y="230578"/>
                </a:cubicBezTo>
                <a:lnTo>
                  <a:pt x="117254" y="250129"/>
                </a:lnTo>
                <a:cubicBezTo>
                  <a:pt x="118700" y="255560"/>
                  <a:pt x="115807" y="261353"/>
                  <a:pt x="110381" y="262801"/>
                </a:cubicBezTo>
                <a:cubicBezTo>
                  <a:pt x="109296" y="263163"/>
                  <a:pt x="108211" y="263163"/>
                  <a:pt x="107487" y="263163"/>
                </a:cubicBezTo>
                <a:cubicBezTo>
                  <a:pt x="103147" y="263163"/>
                  <a:pt x="98806" y="260267"/>
                  <a:pt x="97721" y="255922"/>
                </a:cubicBezTo>
                <a:lnTo>
                  <a:pt x="91934" y="236371"/>
                </a:lnTo>
                <a:cubicBezTo>
                  <a:pt x="90487" y="230940"/>
                  <a:pt x="93381" y="225147"/>
                  <a:pt x="99168" y="223698"/>
                </a:cubicBezTo>
                <a:close/>
                <a:moveTo>
                  <a:pt x="151250" y="212725"/>
                </a:moveTo>
                <a:cubicBezTo>
                  <a:pt x="156588" y="212725"/>
                  <a:pt x="161569" y="217108"/>
                  <a:pt x="161569" y="222952"/>
                </a:cubicBezTo>
                <a:lnTo>
                  <a:pt x="161569" y="243407"/>
                </a:lnTo>
                <a:cubicBezTo>
                  <a:pt x="161569" y="249252"/>
                  <a:pt x="156588" y="253635"/>
                  <a:pt x="151250" y="253635"/>
                </a:cubicBezTo>
                <a:cubicBezTo>
                  <a:pt x="145557" y="253635"/>
                  <a:pt x="141287" y="249252"/>
                  <a:pt x="141287" y="243407"/>
                </a:cubicBezTo>
                <a:lnTo>
                  <a:pt x="141287" y="222952"/>
                </a:lnTo>
                <a:cubicBezTo>
                  <a:pt x="141287" y="217108"/>
                  <a:pt x="145557" y="212725"/>
                  <a:pt x="151250" y="212725"/>
                </a:cubicBezTo>
                <a:close/>
                <a:moveTo>
                  <a:pt x="486275" y="203200"/>
                </a:moveTo>
                <a:lnTo>
                  <a:pt x="597629" y="203200"/>
                </a:lnTo>
                <a:cubicBezTo>
                  <a:pt x="602999" y="203200"/>
                  <a:pt x="607654" y="207826"/>
                  <a:pt x="607654" y="213519"/>
                </a:cubicBezTo>
                <a:cubicBezTo>
                  <a:pt x="607654" y="218856"/>
                  <a:pt x="602999" y="223481"/>
                  <a:pt x="597629" y="223481"/>
                </a:cubicBezTo>
                <a:lnTo>
                  <a:pt x="486275" y="223481"/>
                </a:lnTo>
                <a:cubicBezTo>
                  <a:pt x="480905" y="223481"/>
                  <a:pt x="476250" y="218856"/>
                  <a:pt x="476250" y="213519"/>
                </a:cubicBezTo>
                <a:cubicBezTo>
                  <a:pt x="476250" y="207826"/>
                  <a:pt x="480905" y="203200"/>
                  <a:pt x="486275" y="203200"/>
                </a:cubicBezTo>
                <a:close/>
                <a:moveTo>
                  <a:pt x="192615" y="203200"/>
                </a:moveTo>
                <a:lnTo>
                  <a:pt x="304272" y="203200"/>
                </a:lnTo>
                <a:cubicBezTo>
                  <a:pt x="309299" y="203200"/>
                  <a:pt x="313966" y="207826"/>
                  <a:pt x="313966" y="213519"/>
                </a:cubicBezTo>
                <a:cubicBezTo>
                  <a:pt x="313966" y="218856"/>
                  <a:pt x="309299" y="223481"/>
                  <a:pt x="304272" y="223481"/>
                </a:cubicBezTo>
                <a:lnTo>
                  <a:pt x="192615" y="223481"/>
                </a:lnTo>
                <a:cubicBezTo>
                  <a:pt x="187229" y="223481"/>
                  <a:pt x="182562" y="218856"/>
                  <a:pt x="182562" y="213519"/>
                </a:cubicBezTo>
                <a:cubicBezTo>
                  <a:pt x="182562" y="207826"/>
                  <a:pt x="187229" y="203200"/>
                  <a:pt x="192615" y="203200"/>
                </a:cubicBezTo>
                <a:close/>
                <a:moveTo>
                  <a:pt x="395722" y="172893"/>
                </a:moveTo>
                <a:cubicBezTo>
                  <a:pt x="373431" y="172893"/>
                  <a:pt x="355455" y="190869"/>
                  <a:pt x="355455" y="213519"/>
                </a:cubicBezTo>
                <a:cubicBezTo>
                  <a:pt x="355455" y="235809"/>
                  <a:pt x="373431" y="253785"/>
                  <a:pt x="395722" y="253785"/>
                </a:cubicBezTo>
                <a:cubicBezTo>
                  <a:pt x="418372" y="253785"/>
                  <a:pt x="436348" y="235809"/>
                  <a:pt x="436348" y="213519"/>
                </a:cubicBezTo>
                <a:cubicBezTo>
                  <a:pt x="436348" y="190869"/>
                  <a:pt x="418372" y="172893"/>
                  <a:pt x="395722" y="172893"/>
                </a:cubicBezTo>
                <a:close/>
                <a:moveTo>
                  <a:pt x="86341" y="161925"/>
                </a:moveTo>
                <a:cubicBezTo>
                  <a:pt x="89180" y="161925"/>
                  <a:pt x="91309" y="162280"/>
                  <a:pt x="93793" y="163699"/>
                </a:cubicBezTo>
                <a:cubicBezTo>
                  <a:pt x="96277" y="165119"/>
                  <a:pt x="98052" y="166893"/>
                  <a:pt x="99471" y="169377"/>
                </a:cubicBezTo>
                <a:cubicBezTo>
                  <a:pt x="100536" y="171506"/>
                  <a:pt x="101245" y="173990"/>
                  <a:pt x="101245" y="176829"/>
                </a:cubicBezTo>
                <a:cubicBezTo>
                  <a:pt x="101245" y="179667"/>
                  <a:pt x="100536" y="181796"/>
                  <a:pt x="99471" y="184280"/>
                </a:cubicBezTo>
                <a:cubicBezTo>
                  <a:pt x="98052" y="186764"/>
                  <a:pt x="96277" y="188184"/>
                  <a:pt x="93793" y="189603"/>
                </a:cubicBezTo>
                <a:cubicBezTo>
                  <a:pt x="91309" y="190668"/>
                  <a:pt x="89180" y="191732"/>
                  <a:pt x="86341" y="191732"/>
                </a:cubicBezTo>
                <a:cubicBezTo>
                  <a:pt x="83502" y="191732"/>
                  <a:pt x="81373" y="190668"/>
                  <a:pt x="78889" y="189603"/>
                </a:cubicBezTo>
                <a:cubicBezTo>
                  <a:pt x="76405" y="188184"/>
                  <a:pt x="74631" y="186764"/>
                  <a:pt x="73211" y="184280"/>
                </a:cubicBezTo>
                <a:cubicBezTo>
                  <a:pt x="71792" y="181796"/>
                  <a:pt x="71437" y="179667"/>
                  <a:pt x="71437" y="176829"/>
                </a:cubicBezTo>
                <a:cubicBezTo>
                  <a:pt x="71437" y="173990"/>
                  <a:pt x="71792" y="171506"/>
                  <a:pt x="73211" y="169377"/>
                </a:cubicBezTo>
                <a:cubicBezTo>
                  <a:pt x="74631" y="166893"/>
                  <a:pt x="76405" y="165119"/>
                  <a:pt x="78889" y="163699"/>
                </a:cubicBezTo>
                <a:cubicBezTo>
                  <a:pt x="81373" y="162280"/>
                  <a:pt x="83502" y="161925"/>
                  <a:pt x="86341" y="161925"/>
                </a:cubicBezTo>
                <a:close/>
                <a:moveTo>
                  <a:pt x="395722" y="152400"/>
                </a:moveTo>
                <a:cubicBezTo>
                  <a:pt x="429517" y="152400"/>
                  <a:pt x="456841" y="179724"/>
                  <a:pt x="456841" y="213519"/>
                </a:cubicBezTo>
                <a:cubicBezTo>
                  <a:pt x="456841" y="246954"/>
                  <a:pt x="429517" y="274278"/>
                  <a:pt x="395722" y="274278"/>
                </a:cubicBezTo>
                <a:cubicBezTo>
                  <a:pt x="362286" y="274278"/>
                  <a:pt x="334962" y="246954"/>
                  <a:pt x="334962" y="213519"/>
                </a:cubicBezTo>
                <a:cubicBezTo>
                  <a:pt x="334962" y="179724"/>
                  <a:pt x="362286" y="152400"/>
                  <a:pt x="395722" y="152400"/>
                </a:cubicBezTo>
                <a:close/>
                <a:moveTo>
                  <a:pt x="583359" y="133553"/>
                </a:moveTo>
                <a:cubicBezTo>
                  <a:pt x="588762" y="131762"/>
                  <a:pt x="594525" y="134269"/>
                  <a:pt x="596326" y="139641"/>
                </a:cubicBezTo>
                <a:cubicBezTo>
                  <a:pt x="598127" y="145014"/>
                  <a:pt x="595245" y="150744"/>
                  <a:pt x="590203" y="152535"/>
                </a:cubicBezTo>
                <a:lnTo>
                  <a:pt x="484668" y="189784"/>
                </a:lnTo>
                <a:cubicBezTo>
                  <a:pt x="483587" y="190142"/>
                  <a:pt x="482507" y="190142"/>
                  <a:pt x="481426" y="190142"/>
                </a:cubicBezTo>
                <a:cubicBezTo>
                  <a:pt x="477104" y="190142"/>
                  <a:pt x="473142" y="187635"/>
                  <a:pt x="471701" y="183337"/>
                </a:cubicBezTo>
                <a:cubicBezTo>
                  <a:pt x="469900" y="178323"/>
                  <a:pt x="472782" y="172592"/>
                  <a:pt x="477824" y="170443"/>
                </a:cubicBezTo>
                <a:close/>
                <a:moveTo>
                  <a:pt x="212616" y="121236"/>
                </a:moveTo>
                <a:lnTo>
                  <a:pt x="314379" y="165807"/>
                </a:lnTo>
                <a:cubicBezTo>
                  <a:pt x="319396" y="167981"/>
                  <a:pt x="321904" y="174141"/>
                  <a:pt x="319396" y="179215"/>
                </a:cubicBezTo>
                <a:cubicBezTo>
                  <a:pt x="317962" y="183201"/>
                  <a:pt x="314021" y="185375"/>
                  <a:pt x="310079" y="185375"/>
                </a:cubicBezTo>
                <a:cubicBezTo>
                  <a:pt x="308646" y="185375"/>
                  <a:pt x="307571" y="185375"/>
                  <a:pt x="306138" y="184650"/>
                </a:cubicBezTo>
                <a:lnTo>
                  <a:pt x="204375" y="140079"/>
                </a:lnTo>
                <a:cubicBezTo>
                  <a:pt x="199358" y="137905"/>
                  <a:pt x="196850" y="131745"/>
                  <a:pt x="199358" y="126672"/>
                </a:cubicBezTo>
                <a:cubicBezTo>
                  <a:pt x="201508" y="121598"/>
                  <a:pt x="207241" y="119062"/>
                  <a:pt x="212616" y="121236"/>
                </a:cubicBezTo>
                <a:close/>
                <a:moveTo>
                  <a:pt x="137141" y="111125"/>
                </a:moveTo>
                <a:cubicBezTo>
                  <a:pt x="139980" y="111125"/>
                  <a:pt x="142109" y="111863"/>
                  <a:pt x="144593" y="113340"/>
                </a:cubicBezTo>
                <a:cubicBezTo>
                  <a:pt x="147077" y="114817"/>
                  <a:pt x="148852" y="116663"/>
                  <a:pt x="150271" y="119247"/>
                </a:cubicBezTo>
                <a:cubicBezTo>
                  <a:pt x="151690" y="121462"/>
                  <a:pt x="152045" y="124046"/>
                  <a:pt x="152045" y="127000"/>
                </a:cubicBezTo>
                <a:cubicBezTo>
                  <a:pt x="152045" y="129953"/>
                  <a:pt x="151690" y="132169"/>
                  <a:pt x="150271" y="134753"/>
                </a:cubicBezTo>
                <a:cubicBezTo>
                  <a:pt x="148852" y="137337"/>
                  <a:pt x="147077" y="138814"/>
                  <a:pt x="144593" y="140291"/>
                </a:cubicBezTo>
                <a:cubicBezTo>
                  <a:pt x="142109" y="141398"/>
                  <a:pt x="139980" y="142506"/>
                  <a:pt x="137141" y="142506"/>
                </a:cubicBezTo>
                <a:cubicBezTo>
                  <a:pt x="134302" y="142506"/>
                  <a:pt x="132173" y="141398"/>
                  <a:pt x="129689" y="140291"/>
                </a:cubicBezTo>
                <a:cubicBezTo>
                  <a:pt x="127205" y="138814"/>
                  <a:pt x="125431" y="137337"/>
                  <a:pt x="124011" y="134753"/>
                </a:cubicBezTo>
                <a:cubicBezTo>
                  <a:pt x="122592" y="132169"/>
                  <a:pt x="122237" y="129953"/>
                  <a:pt x="122237" y="127000"/>
                </a:cubicBezTo>
                <a:cubicBezTo>
                  <a:pt x="122237" y="124046"/>
                  <a:pt x="122592" y="121462"/>
                  <a:pt x="124011" y="119247"/>
                </a:cubicBezTo>
                <a:cubicBezTo>
                  <a:pt x="125431" y="116663"/>
                  <a:pt x="127205" y="114817"/>
                  <a:pt x="129689" y="113340"/>
                </a:cubicBezTo>
                <a:cubicBezTo>
                  <a:pt x="132173" y="111863"/>
                  <a:pt x="134302" y="111125"/>
                  <a:pt x="137141" y="111125"/>
                </a:cubicBezTo>
                <a:close/>
                <a:moveTo>
                  <a:pt x="55995" y="101167"/>
                </a:moveTo>
                <a:cubicBezTo>
                  <a:pt x="47697" y="101167"/>
                  <a:pt x="40842" y="108022"/>
                  <a:pt x="40842" y="116681"/>
                </a:cubicBezTo>
                <a:cubicBezTo>
                  <a:pt x="40842" y="124979"/>
                  <a:pt x="47336" y="131834"/>
                  <a:pt x="55995" y="131834"/>
                </a:cubicBezTo>
                <a:cubicBezTo>
                  <a:pt x="64293" y="131834"/>
                  <a:pt x="71510" y="124979"/>
                  <a:pt x="71510" y="116681"/>
                </a:cubicBezTo>
                <a:cubicBezTo>
                  <a:pt x="71510" y="108022"/>
                  <a:pt x="64654" y="101167"/>
                  <a:pt x="55995" y="101167"/>
                </a:cubicBezTo>
                <a:close/>
                <a:moveTo>
                  <a:pt x="55995" y="80962"/>
                </a:moveTo>
                <a:cubicBezTo>
                  <a:pt x="75478" y="80962"/>
                  <a:pt x="91714" y="96837"/>
                  <a:pt x="91714" y="116681"/>
                </a:cubicBezTo>
                <a:cubicBezTo>
                  <a:pt x="91714" y="136164"/>
                  <a:pt x="75839" y="152039"/>
                  <a:pt x="55995" y="152039"/>
                </a:cubicBezTo>
                <a:cubicBezTo>
                  <a:pt x="36512" y="152039"/>
                  <a:pt x="20637" y="136164"/>
                  <a:pt x="20637" y="116681"/>
                </a:cubicBezTo>
                <a:cubicBezTo>
                  <a:pt x="20637" y="96837"/>
                  <a:pt x="36151" y="80962"/>
                  <a:pt x="55995" y="80962"/>
                </a:cubicBezTo>
                <a:close/>
                <a:moveTo>
                  <a:pt x="532194" y="62680"/>
                </a:moveTo>
                <a:cubicBezTo>
                  <a:pt x="536143" y="58737"/>
                  <a:pt x="542605" y="58737"/>
                  <a:pt x="546554" y="62680"/>
                </a:cubicBezTo>
                <a:cubicBezTo>
                  <a:pt x="550503" y="66623"/>
                  <a:pt x="550503" y="72717"/>
                  <a:pt x="546554" y="76660"/>
                </a:cubicBezTo>
                <a:lnTo>
                  <a:pt x="467572" y="155524"/>
                </a:lnTo>
                <a:cubicBezTo>
                  <a:pt x="465777" y="157316"/>
                  <a:pt x="462905" y="158391"/>
                  <a:pt x="460391" y="158391"/>
                </a:cubicBezTo>
                <a:cubicBezTo>
                  <a:pt x="457878" y="158391"/>
                  <a:pt x="455365" y="157675"/>
                  <a:pt x="453211" y="155524"/>
                </a:cubicBezTo>
                <a:cubicBezTo>
                  <a:pt x="449262" y="151581"/>
                  <a:pt x="449262" y="145128"/>
                  <a:pt x="453211" y="141185"/>
                </a:cubicBezTo>
                <a:close/>
                <a:moveTo>
                  <a:pt x="245277" y="62680"/>
                </a:moveTo>
                <a:cubicBezTo>
                  <a:pt x="249255" y="58737"/>
                  <a:pt x="255763" y="58737"/>
                  <a:pt x="259740" y="62680"/>
                </a:cubicBezTo>
                <a:lnTo>
                  <a:pt x="338561" y="141185"/>
                </a:lnTo>
                <a:cubicBezTo>
                  <a:pt x="342539" y="145128"/>
                  <a:pt x="342539" y="151581"/>
                  <a:pt x="338561" y="155524"/>
                </a:cubicBezTo>
                <a:cubicBezTo>
                  <a:pt x="336392" y="157316"/>
                  <a:pt x="333861" y="158391"/>
                  <a:pt x="331330" y="158391"/>
                </a:cubicBezTo>
                <a:cubicBezTo>
                  <a:pt x="328799" y="158391"/>
                  <a:pt x="326268" y="157675"/>
                  <a:pt x="324099" y="155524"/>
                </a:cubicBezTo>
                <a:lnTo>
                  <a:pt x="245277" y="76660"/>
                </a:lnTo>
                <a:cubicBezTo>
                  <a:pt x="241300" y="72717"/>
                  <a:pt x="241300" y="66623"/>
                  <a:pt x="245277" y="62680"/>
                </a:cubicBezTo>
                <a:close/>
                <a:moveTo>
                  <a:pt x="146664" y="40842"/>
                </a:moveTo>
                <a:cubicBezTo>
                  <a:pt x="138408" y="40842"/>
                  <a:pt x="131587" y="47336"/>
                  <a:pt x="131587" y="55995"/>
                </a:cubicBezTo>
                <a:cubicBezTo>
                  <a:pt x="131587" y="64293"/>
                  <a:pt x="138049" y="71509"/>
                  <a:pt x="146664" y="71509"/>
                </a:cubicBezTo>
                <a:cubicBezTo>
                  <a:pt x="154921" y="71509"/>
                  <a:pt x="162100" y="64293"/>
                  <a:pt x="162100" y="55995"/>
                </a:cubicBezTo>
                <a:cubicBezTo>
                  <a:pt x="162100" y="47336"/>
                  <a:pt x="155280" y="40842"/>
                  <a:pt x="146664" y="40842"/>
                </a:cubicBezTo>
                <a:close/>
                <a:moveTo>
                  <a:pt x="146664" y="20637"/>
                </a:moveTo>
                <a:cubicBezTo>
                  <a:pt x="166049" y="20637"/>
                  <a:pt x="182203" y="36151"/>
                  <a:pt x="182203" y="55995"/>
                </a:cubicBezTo>
                <a:cubicBezTo>
                  <a:pt x="182203" y="75478"/>
                  <a:pt x="166408" y="91714"/>
                  <a:pt x="146664" y="91714"/>
                </a:cubicBezTo>
                <a:cubicBezTo>
                  <a:pt x="127279" y="91714"/>
                  <a:pt x="111125" y="75478"/>
                  <a:pt x="111125" y="55995"/>
                </a:cubicBezTo>
                <a:cubicBezTo>
                  <a:pt x="111125" y="36151"/>
                  <a:pt x="126920" y="20637"/>
                  <a:pt x="146664" y="20637"/>
                </a:cubicBezTo>
                <a:close/>
                <a:moveTo>
                  <a:pt x="473155" y="14914"/>
                </a:moveTo>
                <a:cubicBezTo>
                  <a:pt x="475606" y="13965"/>
                  <a:pt x="478420" y="13965"/>
                  <a:pt x="480962" y="15230"/>
                </a:cubicBezTo>
                <a:cubicBezTo>
                  <a:pt x="486408" y="17398"/>
                  <a:pt x="488587" y="23181"/>
                  <a:pt x="486408" y="28602"/>
                </a:cubicBezTo>
                <a:lnTo>
                  <a:pt x="441747" y="131606"/>
                </a:lnTo>
                <a:cubicBezTo>
                  <a:pt x="440295" y="135221"/>
                  <a:pt x="436300" y="137751"/>
                  <a:pt x="432306" y="137751"/>
                </a:cubicBezTo>
                <a:cubicBezTo>
                  <a:pt x="430854" y="137751"/>
                  <a:pt x="429765" y="137389"/>
                  <a:pt x="428312" y="136666"/>
                </a:cubicBezTo>
                <a:cubicBezTo>
                  <a:pt x="422866" y="134498"/>
                  <a:pt x="420687" y="128715"/>
                  <a:pt x="422866" y="123294"/>
                </a:cubicBezTo>
                <a:lnTo>
                  <a:pt x="467527" y="20290"/>
                </a:lnTo>
                <a:cubicBezTo>
                  <a:pt x="468616" y="17760"/>
                  <a:pt x="470704" y="15862"/>
                  <a:pt x="473155" y="14914"/>
                </a:cubicBezTo>
                <a:close/>
                <a:moveTo>
                  <a:pt x="323859" y="9731"/>
                </a:moveTo>
                <a:cubicBezTo>
                  <a:pt x="329278" y="7937"/>
                  <a:pt x="335057" y="10807"/>
                  <a:pt x="336863" y="15830"/>
                </a:cubicBezTo>
                <a:lnTo>
                  <a:pt x="374070" y="120945"/>
                </a:lnTo>
                <a:cubicBezTo>
                  <a:pt x="375876" y="125968"/>
                  <a:pt x="373347" y="132067"/>
                  <a:pt x="367929" y="133861"/>
                </a:cubicBezTo>
                <a:cubicBezTo>
                  <a:pt x="366845" y="134219"/>
                  <a:pt x="365762" y="134578"/>
                  <a:pt x="364678" y="134578"/>
                </a:cubicBezTo>
                <a:cubicBezTo>
                  <a:pt x="360343" y="134578"/>
                  <a:pt x="356370" y="131708"/>
                  <a:pt x="354925" y="127762"/>
                </a:cubicBezTo>
                <a:lnTo>
                  <a:pt x="317718" y="22646"/>
                </a:lnTo>
                <a:cubicBezTo>
                  <a:pt x="315912" y="17265"/>
                  <a:pt x="318441" y="11525"/>
                  <a:pt x="323859" y="9731"/>
                </a:cubicBezTo>
                <a:close/>
                <a:moveTo>
                  <a:pt x="395725" y="0"/>
                </a:moveTo>
                <a:cubicBezTo>
                  <a:pt x="401419" y="0"/>
                  <a:pt x="406044" y="4655"/>
                  <a:pt x="406044" y="10025"/>
                </a:cubicBezTo>
                <a:lnTo>
                  <a:pt x="406044" y="121379"/>
                </a:lnTo>
                <a:cubicBezTo>
                  <a:pt x="406044" y="126749"/>
                  <a:pt x="401419" y="131404"/>
                  <a:pt x="395725" y="131404"/>
                </a:cubicBezTo>
                <a:cubicBezTo>
                  <a:pt x="390388" y="131404"/>
                  <a:pt x="385762" y="126749"/>
                  <a:pt x="385762" y="121379"/>
                </a:cubicBezTo>
                <a:lnTo>
                  <a:pt x="385762" y="10025"/>
                </a:lnTo>
                <a:cubicBezTo>
                  <a:pt x="385762" y="4655"/>
                  <a:pt x="390388" y="0"/>
                  <a:pt x="395725" y="0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17" name="Freeform 69">
            <a:extLst>
              <a:ext uri="{FF2B5EF4-FFF2-40B4-BE49-F238E27FC236}">
                <a16:creationId xmlns:a16="http://schemas.microsoft.com/office/drawing/2014/main" id="{B6AAF0DD-3BD6-2B0C-9F35-26B4287126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3583" y="2964024"/>
            <a:ext cx="378888" cy="363106"/>
          </a:xfrm>
          <a:custGeom>
            <a:avLst/>
            <a:gdLst>
              <a:gd name="T0" fmla="*/ 1723 w 1724"/>
              <a:gd name="T1" fmla="*/ 837 h 1500"/>
              <a:gd name="T2" fmla="*/ 1604 w 1724"/>
              <a:gd name="T3" fmla="*/ 795 h 1500"/>
              <a:gd name="T4" fmla="*/ 1295 w 1724"/>
              <a:gd name="T5" fmla="*/ 639 h 1500"/>
              <a:gd name="T6" fmla="*/ 1403 w 1724"/>
              <a:gd name="T7" fmla="*/ 434 h 1500"/>
              <a:gd name="T8" fmla="*/ 1454 w 1724"/>
              <a:gd name="T9" fmla="*/ 356 h 1500"/>
              <a:gd name="T10" fmla="*/ 1365 w 1724"/>
              <a:gd name="T11" fmla="*/ 386 h 1500"/>
              <a:gd name="T12" fmla="*/ 1191 w 1724"/>
              <a:gd name="T13" fmla="*/ 431 h 1500"/>
              <a:gd name="T14" fmla="*/ 1231 w 1724"/>
              <a:gd name="T15" fmla="*/ 132 h 1500"/>
              <a:gd name="T16" fmla="*/ 1262 w 1724"/>
              <a:gd name="T17" fmla="*/ 0 h 1500"/>
              <a:gd name="T18" fmla="*/ 1175 w 1724"/>
              <a:gd name="T19" fmla="*/ 104 h 1500"/>
              <a:gd name="T20" fmla="*/ 901 w 1724"/>
              <a:gd name="T21" fmla="*/ 382 h 1500"/>
              <a:gd name="T22" fmla="*/ 613 w 1724"/>
              <a:gd name="T23" fmla="*/ 160 h 1500"/>
              <a:gd name="T24" fmla="*/ 526 w 1724"/>
              <a:gd name="T25" fmla="*/ 83 h 1500"/>
              <a:gd name="T26" fmla="*/ 561 w 1724"/>
              <a:gd name="T27" fmla="*/ 193 h 1500"/>
              <a:gd name="T28" fmla="*/ 628 w 1724"/>
              <a:gd name="T29" fmla="*/ 567 h 1500"/>
              <a:gd name="T30" fmla="*/ 119 w 1724"/>
              <a:gd name="T31" fmla="*/ 774 h 1500"/>
              <a:gd name="T32" fmla="*/ 0 w 1724"/>
              <a:gd name="T33" fmla="*/ 812 h 1500"/>
              <a:gd name="T34" fmla="*/ 123 w 1724"/>
              <a:gd name="T35" fmla="*/ 836 h 1500"/>
              <a:gd name="T36" fmla="*/ 540 w 1724"/>
              <a:gd name="T37" fmla="*/ 951 h 1500"/>
              <a:gd name="T38" fmla="*/ 392 w 1724"/>
              <a:gd name="T39" fmla="*/ 1228 h 1500"/>
              <a:gd name="T40" fmla="*/ 328 w 1724"/>
              <a:gd name="T41" fmla="*/ 1333 h 1500"/>
              <a:gd name="T42" fmla="*/ 436 w 1724"/>
              <a:gd name="T43" fmla="*/ 1272 h 1500"/>
              <a:gd name="T44" fmla="*/ 792 w 1724"/>
              <a:gd name="T45" fmla="*/ 1115 h 1500"/>
              <a:gd name="T46" fmla="*/ 1007 w 1724"/>
              <a:gd name="T47" fmla="*/ 1400 h 1500"/>
              <a:gd name="T48" fmla="*/ 1064 w 1724"/>
              <a:gd name="T49" fmla="*/ 1499 h 1500"/>
              <a:gd name="T50" fmla="*/ 1067 w 1724"/>
              <a:gd name="T51" fmla="*/ 1384 h 1500"/>
              <a:gd name="T52" fmla="*/ 1105 w 1724"/>
              <a:gd name="T53" fmla="*/ 1113 h 1500"/>
              <a:gd name="T54" fmla="*/ 1399 w 1724"/>
              <a:gd name="T55" fmla="*/ 1234 h 1500"/>
              <a:gd name="T56" fmla="*/ 1499 w 1724"/>
              <a:gd name="T57" fmla="*/ 1288 h 1500"/>
              <a:gd name="T58" fmla="*/ 1442 w 1724"/>
              <a:gd name="T59" fmla="*/ 1190 h 1500"/>
              <a:gd name="T60" fmla="*/ 1310 w 1724"/>
              <a:gd name="T61" fmla="*/ 924 h 1500"/>
              <a:gd name="T62" fmla="*/ 1599 w 1724"/>
              <a:gd name="T63" fmla="*/ 856 h 1500"/>
              <a:gd name="T64" fmla="*/ 1723 w 1724"/>
              <a:gd name="T65" fmla="*/ 837 h 1500"/>
              <a:gd name="T66" fmla="*/ 1303 w 1724"/>
              <a:gd name="T67" fmla="*/ 473 h 1500"/>
              <a:gd name="T68" fmla="*/ 1245 w 1724"/>
              <a:gd name="T69" fmla="*/ 588 h 1500"/>
              <a:gd name="T70" fmla="*/ 1201 w 1724"/>
              <a:gd name="T71" fmla="*/ 495 h 1500"/>
              <a:gd name="T72" fmla="*/ 1303 w 1724"/>
              <a:gd name="T73" fmla="*/ 473 h 1500"/>
              <a:gd name="T74" fmla="*/ 652 w 1724"/>
              <a:gd name="T75" fmla="*/ 280 h 1500"/>
              <a:gd name="T76" fmla="*/ 847 w 1724"/>
              <a:gd name="T77" fmla="*/ 425 h 1500"/>
              <a:gd name="T78" fmla="*/ 691 w 1724"/>
              <a:gd name="T79" fmla="*/ 531 h 1500"/>
              <a:gd name="T80" fmla="*/ 652 w 1724"/>
              <a:gd name="T81" fmla="*/ 280 h 1500"/>
              <a:gd name="T82" fmla="*/ 506 w 1724"/>
              <a:gd name="T83" fmla="*/ 1161 h 1500"/>
              <a:gd name="T84" fmla="*/ 599 w 1724"/>
              <a:gd name="T85" fmla="*/ 978 h 1500"/>
              <a:gd name="T86" fmla="*/ 734 w 1724"/>
              <a:gd name="T87" fmla="*/ 1064 h 1500"/>
              <a:gd name="T88" fmla="*/ 506 w 1724"/>
              <a:gd name="T89" fmla="*/ 1161 h 1500"/>
              <a:gd name="T90" fmla="*/ 1335 w 1724"/>
              <a:gd name="T91" fmla="*/ 1129 h 1500"/>
              <a:gd name="T92" fmla="*/ 1134 w 1724"/>
              <a:gd name="T93" fmla="*/ 1054 h 1500"/>
              <a:gd name="T94" fmla="*/ 1170 w 1724"/>
              <a:gd name="T95" fmla="*/ 1008 h 1500"/>
              <a:gd name="T96" fmla="*/ 1251 w 1724"/>
              <a:gd name="T97" fmla="*/ 950 h 1500"/>
              <a:gd name="T98" fmla="*/ 1335 w 1724"/>
              <a:gd name="T99" fmla="*/ 1129 h 1500"/>
              <a:gd name="T100" fmla="*/ 1124 w 1724"/>
              <a:gd name="T101" fmla="*/ 962 h 1500"/>
              <a:gd name="T102" fmla="*/ 1008 w 1724"/>
              <a:gd name="T103" fmla="*/ 1279 h 1500"/>
              <a:gd name="T104" fmla="*/ 685 w 1724"/>
              <a:gd name="T105" fmla="*/ 952 h 1500"/>
              <a:gd name="T106" fmla="*/ 253 w 1724"/>
              <a:gd name="T107" fmla="*/ 797 h 1500"/>
              <a:gd name="T108" fmla="*/ 729 w 1724"/>
              <a:gd name="T109" fmla="*/ 583 h 1500"/>
              <a:gd name="T110" fmla="*/ 1142 w 1724"/>
              <a:gd name="T111" fmla="*/ 239 h 1500"/>
              <a:gd name="T112" fmla="*/ 1162 w 1724"/>
              <a:gd name="T113" fmla="*/ 575 h 1500"/>
              <a:gd name="T114" fmla="*/ 1475 w 1724"/>
              <a:gd name="T115" fmla="*/ 814 h 1500"/>
              <a:gd name="T116" fmla="*/ 1124 w 1724"/>
              <a:gd name="T117" fmla="*/ 962 h 1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724" h="1500">
                <a:moveTo>
                  <a:pt x="1723" y="837"/>
                </a:moveTo>
                <a:lnTo>
                  <a:pt x="1604" y="795"/>
                </a:lnTo>
                <a:cubicBezTo>
                  <a:pt x="1460" y="744"/>
                  <a:pt x="1361" y="696"/>
                  <a:pt x="1295" y="639"/>
                </a:cubicBezTo>
                <a:cubicBezTo>
                  <a:pt x="1315" y="577"/>
                  <a:pt x="1351" y="512"/>
                  <a:pt x="1403" y="434"/>
                </a:cubicBezTo>
                <a:lnTo>
                  <a:pt x="1454" y="356"/>
                </a:lnTo>
                <a:lnTo>
                  <a:pt x="1365" y="386"/>
                </a:lnTo>
                <a:cubicBezTo>
                  <a:pt x="1300" y="408"/>
                  <a:pt x="1243" y="423"/>
                  <a:pt x="1191" y="431"/>
                </a:cubicBezTo>
                <a:cubicBezTo>
                  <a:pt x="1186" y="351"/>
                  <a:pt x="1202" y="255"/>
                  <a:pt x="1231" y="132"/>
                </a:cubicBezTo>
                <a:lnTo>
                  <a:pt x="1262" y="0"/>
                </a:lnTo>
                <a:lnTo>
                  <a:pt x="1175" y="104"/>
                </a:lnTo>
                <a:cubicBezTo>
                  <a:pt x="1082" y="216"/>
                  <a:pt x="992" y="306"/>
                  <a:pt x="901" y="382"/>
                </a:cubicBezTo>
                <a:cubicBezTo>
                  <a:pt x="814" y="335"/>
                  <a:pt x="726" y="260"/>
                  <a:pt x="613" y="160"/>
                </a:cubicBezTo>
                <a:lnTo>
                  <a:pt x="526" y="83"/>
                </a:lnTo>
                <a:lnTo>
                  <a:pt x="561" y="193"/>
                </a:lnTo>
                <a:cubicBezTo>
                  <a:pt x="606" y="336"/>
                  <a:pt x="627" y="456"/>
                  <a:pt x="628" y="567"/>
                </a:cubicBezTo>
                <a:cubicBezTo>
                  <a:pt x="480" y="647"/>
                  <a:pt x="317" y="709"/>
                  <a:pt x="119" y="774"/>
                </a:cubicBezTo>
                <a:lnTo>
                  <a:pt x="0" y="812"/>
                </a:lnTo>
                <a:lnTo>
                  <a:pt x="123" y="836"/>
                </a:lnTo>
                <a:cubicBezTo>
                  <a:pt x="290" y="867"/>
                  <a:pt x="425" y="901"/>
                  <a:pt x="540" y="951"/>
                </a:cubicBezTo>
                <a:cubicBezTo>
                  <a:pt x="503" y="1037"/>
                  <a:pt x="453" y="1127"/>
                  <a:pt x="392" y="1228"/>
                </a:cubicBezTo>
                <a:lnTo>
                  <a:pt x="328" y="1333"/>
                </a:lnTo>
                <a:lnTo>
                  <a:pt x="436" y="1272"/>
                </a:lnTo>
                <a:cubicBezTo>
                  <a:pt x="578" y="1191"/>
                  <a:pt x="691" y="1141"/>
                  <a:pt x="792" y="1115"/>
                </a:cubicBezTo>
                <a:cubicBezTo>
                  <a:pt x="869" y="1187"/>
                  <a:pt x="938" y="1279"/>
                  <a:pt x="1007" y="1400"/>
                </a:cubicBezTo>
                <a:lnTo>
                  <a:pt x="1064" y="1499"/>
                </a:lnTo>
                <a:lnTo>
                  <a:pt x="1067" y="1384"/>
                </a:lnTo>
                <a:cubicBezTo>
                  <a:pt x="1070" y="1264"/>
                  <a:pt x="1082" y="1177"/>
                  <a:pt x="1105" y="1113"/>
                </a:cubicBezTo>
                <a:cubicBezTo>
                  <a:pt x="1192" y="1134"/>
                  <a:pt x="1286" y="1173"/>
                  <a:pt x="1399" y="1234"/>
                </a:cubicBezTo>
                <a:lnTo>
                  <a:pt x="1499" y="1288"/>
                </a:lnTo>
                <a:lnTo>
                  <a:pt x="1442" y="1190"/>
                </a:lnTo>
                <a:cubicBezTo>
                  <a:pt x="1381" y="1084"/>
                  <a:pt x="1337" y="999"/>
                  <a:pt x="1310" y="924"/>
                </a:cubicBezTo>
                <a:cubicBezTo>
                  <a:pt x="1380" y="898"/>
                  <a:pt x="1473" y="877"/>
                  <a:pt x="1599" y="856"/>
                </a:cubicBezTo>
                <a:lnTo>
                  <a:pt x="1723" y="837"/>
                </a:lnTo>
                <a:close/>
                <a:moveTo>
                  <a:pt x="1303" y="473"/>
                </a:moveTo>
                <a:cubicBezTo>
                  <a:pt x="1279" y="513"/>
                  <a:pt x="1260" y="551"/>
                  <a:pt x="1245" y="588"/>
                </a:cubicBezTo>
                <a:cubicBezTo>
                  <a:pt x="1224" y="559"/>
                  <a:pt x="1210" y="529"/>
                  <a:pt x="1201" y="495"/>
                </a:cubicBezTo>
                <a:cubicBezTo>
                  <a:pt x="1233" y="490"/>
                  <a:pt x="1266" y="482"/>
                  <a:pt x="1303" y="473"/>
                </a:cubicBezTo>
                <a:close/>
                <a:moveTo>
                  <a:pt x="652" y="280"/>
                </a:moveTo>
                <a:cubicBezTo>
                  <a:pt x="722" y="339"/>
                  <a:pt x="784" y="388"/>
                  <a:pt x="847" y="425"/>
                </a:cubicBezTo>
                <a:cubicBezTo>
                  <a:pt x="796" y="464"/>
                  <a:pt x="744" y="499"/>
                  <a:pt x="691" y="531"/>
                </a:cubicBezTo>
                <a:cubicBezTo>
                  <a:pt x="687" y="453"/>
                  <a:pt x="675" y="370"/>
                  <a:pt x="652" y="280"/>
                </a:cubicBezTo>
                <a:close/>
                <a:moveTo>
                  <a:pt x="506" y="1161"/>
                </a:moveTo>
                <a:cubicBezTo>
                  <a:pt x="541" y="1097"/>
                  <a:pt x="572" y="1037"/>
                  <a:pt x="599" y="978"/>
                </a:cubicBezTo>
                <a:cubicBezTo>
                  <a:pt x="647" y="1002"/>
                  <a:pt x="691" y="1031"/>
                  <a:pt x="734" y="1064"/>
                </a:cubicBezTo>
                <a:cubicBezTo>
                  <a:pt x="664" y="1086"/>
                  <a:pt x="590" y="1118"/>
                  <a:pt x="506" y="1161"/>
                </a:cubicBezTo>
                <a:close/>
                <a:moveTo>
                  <a:pt x="1335" y="1129"/>
                </a:moveTo>
                <a:cubicBezTo>
                  <a:pt x="1262" y="1095"/>
                  <a:pt x="1196" y="1070"/>
                  <a:pt x="1134" y="1054"/>
                </a:cubicBezTo>
                <a:cubicBezTo>
                  <a:pt x="1144" y="1037"/>
                  <a:pt x="1156" y="1021"/>
                  <a:pt x="1170" y="1008"/>
                </a:cubicBezTo>
                <a:cubicBezTo>
                  <a:pt x="1192" y="986"/>
                  <a:pt x="1218" y="967"/>
                  <a:pt x="1251" y="950"/>
                </a:cubicBezTo>
                <a:cubicBezTo>
                  <a:pt x="1272" y="1004"/>
                  <a:pt x="1299" y="1063"/>
                  <a:pt x="1335" y="1129"/>
                </a:cubicBezTo>
                <a:close/>
                <a:moveTo>
                  <a:pt x="1124" y="962"/>
                </a:moveTo>
                <a:cubicBezTo>
                  <a:pt x="1066" y="1021"/>
                  <a:pt x="1023" y="1100"/>
                  <a:pt x="1008" y="1279"/>
                </a:cubicBezTo>
                <a:cubicBezTo>
                  <a:pt x="911" y="1129"/>
                  <a:pt x="808" y="1027"/>
                  <a:pt x="685" y="952"/>
                </a:cubicBezTo>
                <a:cubicBezTo>
                  <a:pt x="561" y="877"/>
                  <a:pt x="420" y="833"/>
                  <a:pt x="253" y="797"/>
                </a:cubicBezTo>
                <a:cubicBezTo>
                  <a:pt x="413" y="741"/>
                  <a:pt x="576" y="675"/>
                  <a:pt x="729" y="583"/>
                </a:cubicBezTo>
                <a:cubicBezTo>
                  <a:pt x="877" y="494"/>
                  <a:pt x="1010" y="383"/>
                  <a:pt x="1142" y="239"/>
                </a:cubicBezTo>
                <a:cubicBezTo>
                  <a:pt x="1118" y="376"/>
                  <a:pt x="1117" y="484"/>
                  <a:pt x="1162" y="575"/>
                </a:cubicBezTo>
                <a:cubicBezTo>
                  <a:pt x="1210" y="670"/>
                  <a:pt x="1304" y="742"/>
                  <a:pt x="1475" y="814"/>
                </a:cubicBezTo>
                <a:cubicBezTo>
                  <a:pt x="1320" y="845"/>
                  <a:pt x="1200" y="887"/>
                  <a:pt x="1124" y="962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pic>
        <p:nvPicPr>
          <p:cNvPr id="18" name="Graphic 17" descr="Lightning bolt outline">
            <a:extLst>
              <a:ext uri="{FF2B5EF4-FFF2-40B4-BE49-F238E27FC236}">
                <a16:creationId xmlns:a16="http://schemas.microsoft.com/office/drawing/2014/main" id="{0A572BAD-629F-D31C-1638-7A28DE9B96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01794" y="2889474"/>
            <a:ext cx="496983" cy="518266"/>
          </a:xfrm>
          <a:prstGeom prst="rect">
            <a:avLst/>
          </a:prstGeom>
        </p:spPr>
      </p:pic>
      <p:sp>
        <p:nvSpPr>
          <p:cNvPr id="21" name="Rounded Rectangle 39">
            <a:extLst>
              <a:ext uri="{FF2B5EF4-FFF2-40B4-BE49-F238E27FC236}">
                <a16:creationId xmlns:a16="http://schemas.microsoft.com/office/drawing/2014/main" id="{C697F06F-BD03-7B74-64F2-FFB8894D6EB5}"/>
              </a:ext>
            </a:extLst>
          </p:cNvPr>
          <p:cNvSpPr/>
          <p:nvPr/>
        </p:nvSpPr>
        <p:spPr>
          <a:xfrm>
            <a:off x="2117673" y="969321"/>
            <a:ext cx="9357581" cy="40633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gradFill flip="none" rotWithShape="1">
              <a:gsLst>
                <a:gs pos="0">
                  <a:schemeClr val="accent2"/>
                </a:gs>
                <a:gs pos="99000">
                  <a:schemeClr val="accent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XXX</a:t>
            </a:r>
          </a:p>
        </p:txBody>
      </p:sp>
      <p:sp>
        <p:nvSpPr>
          <p:cNvPr id="22" name="Shape 2927">
            <a:extLst>
              <a:ext uri="{FF2B5EF4-FFF2-40B4-BE49-F238E27FC236}">
                <a16:creationId xmlns:a16="http://schemas.microsoft.com/office/drawing/2014/main" id="{EC3FEEED-16EB-B94B-CD7C-4ABB9718CA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037" y="2912642"/>
            <a:ext cx="1191638" cy="50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659" tIns="45659" rIns="45659" bIns="45659" anchor="ctr"/>
          <a:lstStyle>
            <a:lvl1pPr>
              <a:defRPr>
                <a:solidFill>
                  <a:schemeClr val="tx1"/>
                </a:solidFill>
                <a:latin typeface="Franklin Gothic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Book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x-none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ETAPA DEL FUNNEL</a:t>
            </a:r>
          </a:p>
        </p:txBody>
      </p:sp>
      <p:sp>
        <p:nvSpPr>
          <p:cNvPr id="23" name="Shape 2927">
            <a:extLst>
              <a:ext uri="{FF2B5EF4-FFF2-40B4-BE49-F238E27FC236}">
                <a16:creationId xmlns:a16="http://schemas.microsoft.com/office/drawing/2014/main" id="{78493E40-4FF1-6E6C-2A6B-810437A6E8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037" y="925958"/>
            <a:ext cx="1191638" cy="50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659" tIns="45659" rIns="45659" bIns="45659" anchor="ctr"/>
          <a:lstStyle>
            <a:lvl1pPr>
              <a:defRPr>
                <a:solidFill>
                  <a:schemeClr val="tx1"/>
                </a:solidFill>
                <a:latin typeface="Franklin Gothic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Book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x-none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JTBD</a:t>
            </a:r>
          </a:p>
        </p:txBody>
      </p:sp>
      <p:sp>
        <p:nvSpPr>
          <p:cNvPr id="33" name="Shape 2927">
            <a:extLst>
              <a:ext uri="{FF2B5EF4-FFF2-40B4-BE49-F238E27FC236}">
                <a16:creationId xmlns:a16="http://schemas.microsoft.com/office/drawing/2014/main" id="{DF9BA741-5ACA-D8CE-69E3-99CEBC0F74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565" y="3569734"/>
            <a:ext cx="1363110" cy="343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659" tIns="45659" rIns="45659" bIns="45659" anchor="ctr"/>
          <a:lstStyle>
            <a:lvl1pPr>
              <a:defRPr>
                <a:solidFill>
                  <a:schemeClr val="tx1"/>
                </a:solidFill>
                <a:latin typeface="Franklin Gothic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Book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x-none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Budget (%)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11820ECF-7E14-1718-62F4-0D35B9ADDD56}"/>
              </a:ext>
            </a:extLst>
          </p:cNvPr>
          <p:cNvSpPr txBox="1">
            <a:spLocks/>
          </p:cNvSpPr>
          <p:nvPr/>
        </p:nvSpPr>
        <p:spPr>
          <a:xfrm>
            <a:off x="2117674" y="3552213"/>
            <a:ext cx="2828215" cy="37861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///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4F2C5D56-C7FA-0E82-A61C-1FF5CBE08B89}"/>
              </a:ext>
            </a:extLst>
          </p:cNvPr>
          <p:cNvSpPr txBox="1">
            <a:spLocks/>
          </p:cNvSpPr>
          <p:nvPr/>
        </p:nvSpPr>
        <p:spPr>
          <a:xfrm>
            <a:off x="5034495" y="3552213"/>
            <a:ext cx="3558824" cy="37861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///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5543F4D-303C-437E-219F-F722457B2C88}"/>
              </a:ext>
            </a:extLst>
          </p:cNvPr>
          <p:cNvSpPr txBox="1">
            <a:spLocks/>
          </p:cNvSpPr>
          <p:nvPr/>
        </p:nvSpPr>
        <p:spPr>
          <a:xfrm>
            <a:off x="8680340" y="3552213"/>
            <a:ext cx="2798351" cy="37861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///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39" name="Shape 2927">
            <a:extLst>
              <a:ext uri="{FF2B5EF4-FFF2-40B4-BE49-F238E27FC236}">
                <a16:creationId xmlns:a16="http://schemas.microsoft.com/office/drawing/2014/main" id="{CFCA2F7D-5B00-34B3-7E31-9F8B994E74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638" y="3999904"/>
            <a:ext cx="1468037" cy="343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659" tIns="45659" rIns="45659" bIns="45659" anchor="ctr"/>
          <a:lstStyle>
            <a:lvl1pPr>
              <a:defRPr>
                <a:solidFill>
                  <a:schemeClr val="tx1"/>
                </a:solidFill>
                <a:latin typeface="Franklin Gothic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Book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x-none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Rol Com.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7DA10728-FC58-1DAF-195E-A26A37CCBC3B}"/>
              </a:ext>
            </a:extLst>
          </p:cNvPr>
          <p:cNvSpPr txBox="1">
            <a:spLocks/>
          </p:cNvSpPr>
          <p:nvPr/>
        </p:nvSpPr>
        <p:spPr>
          <a:xfrm>
            <a:off x="2117674" y="3982384"/>
            <a:ext cx="2828215" cy="37861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Reach CHBs when health &amp; wellness is top of mind; align with trusted sources</a:t>
            </a:r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91D51CCD-8BAA-C5DF-1B69-58A88C10A1E4}"/>
              </a:ext>
            </a:extLst>
          </p:cNvPr>
          <p:cNvSpPr txBox="1">
            <a:spLocks/>
          </p:cNvSpPr>
          <p:nvPr/>
        </p:nvSpPr>
        <p:spPr>
          <a:xfrm>
            <a:off x="5034495" y="3982384"/>
            <a:ext cx="3558824" cy="37861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Intercept need states &amp; relevant moments; embed OAD in CHB’s trusted communities; partner with influencers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3F9C0D1B-25C1-B2F4-04F4-6F98D066AABE}"/>
              </a:ext>
            </a:extLst>
          </p:cNvPr>
          <p:cNvSpPr txBox="1">
            <a:spLocks/>
          </p:cNvSpPr>
          <p:nvPr/>
        </p:nvSpPr>
        <p:spPr>
          <a:xfrm>
            <a:off x="8680340" y="3982384"/>
            <a:ext cx="2798351" cy="37861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Anticipate and intercept leading up to the POP; capture hand-raisers with Search</a:t>
            </a:r>
          </a:p>
        </p:txBody>
      </p:sp>
      <p:sp>
        <p:nvSpPr>
          <p:cNvPr id="38" name="Shape 2927">
            <a:extLst>
              <a:ext uri="{FF2B5EF4-FFF2-40B4-BE49-F238E27FC236}">
                <a16:creationId xmlns:a16="http://schemas.microsoft.com/office/drawing/2014/main" id="{5D855CEC-5B5E-FCB0-2FF4-35D5AD43A1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638" y="4412313"/>
            <a:ext cx="1468037" cy="343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659" tIns="45659" rIns="45659" bIns="45659" anchor="ctr"/>
          <a:lstStyle>
            <a:lvl1pPr>
              <a:defRPr>
                <a:solidFill>
                  <a:schemeClr val="tx1"/>
                </a:solidFill>
                <a:latin typeface="Franklin Gothic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Book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x-none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Rol </a:t>
            </a:r>
            <a:r>
              <a:rPr lang="en-US" altLang="x-none" sz="1000" b="1" kern="0">
                <a:solidFill>
                  <a:srgbClr val="000000"/>
                </a:solidFill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m</a:t>
            </a:r>
            <a:r>
              <a:rPr kumimoji="0" lang="en-US" altLang="x-none" sz="10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edios</a:t>
            </a:r>
            <a:endParaRPr kumimoji="0" lang="en-US" altLang="x-none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Century Gothic" charset="0"/>
              <a:cs typeface="Poppins" pitchFamily="2" charset="77"/>
              <a:sym typeface="Franklin Gothic" charset="0"/>
            </a:endParaRP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B7847C41-9417-BF2E-485A-7EE587E75FBD}"/>
              </a:ext>
            </a:extLst>
          </p:cNvPr>
          <p:cNvSpPr txBox="1">
            <a:spLocks/>
          </p:cNvSpPr>
          <p:nvPr/>
        </p:nvSpPr>
        <p:spPr>
          <a:xfrm>
            <a:off x="2117674" y="4394792"/>
            <a:ext cx="2828215" cy="37861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Mass reach video, display, audio,</a:t>
            </a:r>
            <a:b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</a:b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and partnerships</a:t>
            </a: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4F045F59-98AC-AE4D-CC8C-1A8AF3D431B7}"/>
              </a:ext>
            </a:extLst>
          </p:cNvPr>
          <p:cNvSpPr txBox="1">
            <a:spLocks/>
          </p:cNvSpPr>
          <p:nvPr/>
        </p:nvSpPr>
        <p:spPr>
          <a:xfrm>
            <a:off x="5034495" y="4394792"/>
            <a:ext cx="3558824" cy="37861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Moments-based targeting; Social Communities (Reddit, TikTok, Instagram); Influencers; Audio</a:t>
            </a:r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B4153DDC-E0FC-4F89-A419-FA3CF3E8876A}"/>
              </a:ext>
            </a:extLst>
          </p:cNvPr>
          <p:cNvSpPr txBox="1">
            <a:spLocks/>
          </p:cNvSpPr>
          <p:nvPr/>
        </p:nvSpPr>
        <p:spPr>
          <a:xfrm>
            <a:off x="8680340" y="4394792"/>
            <a:ext cx="2798351" cy="37861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Search; Retail Media, Geolocated OOH,</a:t>
            </a:r>
            <a:b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</a:b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In-store media</a:t>
            </a:r>
          </a:p>
        </p:txBody>
      </p:sp>
      <p:sp>
        <p:nvSpPr>
          <p:cNvPr id="44" name="Shape 2927">
            <a:extLst>
              <a:ext uri="{FF2B5EF4-FFF2-40B4-BE49-F238E27FC236}">
                <a16:creationId xmlns:a16="http://schemas.microsoft.com/office/drawing/2014/main" id="{8D2BD829-A048-CF5B-5535-F07985439F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638" y="4824721"/>
            <a:ext cx="1468037" cy="343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659" tIns="45659" rIns="45659" bIns="45659" anchor="ctr"/>
          <a:lstStyle>
            <a:lvl1pPr>
              <a:defRPr>
                <a:solidFill>
                  <a:schemeClr val="tx1"/>
                </a:solidFill>
                <a:latin typeface="Franklin Gothic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Book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x-none" sz="10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Aporte</a:t>
            </a:r>
            <a:r>
              <a:rPr kumimoji="0" lang="en-US" altLang="x-none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 </a:t>
            </a:r>
            <a:r>
              <a:rPr kumimoji="0" lang="en-US" altLang="x-none" sz="10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medios</a:t>
            </a:r>
            <a:endParaRPr kumimoji="0" lang="en-US" altLang="x-none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Century Gothic" charset="0"/>
              <a:cs typeface="Poppins" pitchFamily="2" charset="77"/>
              <a:sym typeface="Franklin Gothic" charset="0"/>
            </a:endParaRPr>
          </a:p>
        </p:txBody>
      </p:sp>
      <p:sp>
        <p:nvSpPr>
          <p:cNvPr id="45" name="Text Placeholder 9">
            <a:extLst>
              <a:ext uri="{FF2B5EF4-FFF2-40B4-BE49-F238E27FC236}">
                <a16:creationId xmlns:a16="http://schemas.microsoft.com/office/drawing/2014/main" id="{BBCB6CAD-8C8C-D5CD-4F58-BA74D52C6E41}"/>
              </a:ext>
            </a:extLst>
          </p:cNvPr>
          <p:cNvSpPr txBox="1">
            <a:spLocks/>
          </p:cNvSpPr>
          <p:nvPr/>
        </p:nvSpPr>
        <p:spPr>
          <a:xfrm>
            <a:off x="2117674" y="4807201"/>
            <a:ext cx="2828215" cy="37861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Growth / maintenance of brand salie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Improved association w/science</a:t>
            </a:r>
          </a:p>
        </p:txBody>
      </p:sp>
      <p:sp>
        <p:nvSpPr>
          <p:cNvPr id="46" name="Text Placeholder 9">
            <a:extLst>
              <a:ext uri="{FF2B5EF4-FFF2-40B4-BE49-F238E27FC236}">
                <a16:creationId xmlns:a16="http://schemas.microsoft.com/office/drawing/2014/main" id="{245BEAF6-C6D4-7231-D96A-C13A47575BED}"/>
              </a:ext>
            </a:extLst>
          </p:cNvPr>
          <p:cNvSpPr txBox="1">
            <a:spLocks/>
          </p:cNvSpPr>
          <p:nvPr/>
        </p:nvSpPr>
        <p:spPr>
          <a:xfrm>
            <a:off x="5034495" y="4807201"/>
            <a:ext cx="3558824" cy="37861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New Demand space awareness and penetration</a:t>
            </a:r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id="{DA6F8143-2EDB-8F6E-E323-68ACED85AE0E}"/>
              </a:ext>
            </a:extLst>
          </p:cNvPr>
          <p:cNvSpPr txBox="1">
            <a:spLocks/>
          </p:cNvSpPr>
          <p:nvPr/>
        </p:nvSpPr>
        <p:spPr>
          <a:xfrm>
            <a:off x="8680340" y="4807201"/>
            <a:ext cx="2798351" cy="37861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Efficient sales growt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Audience data-capture for future optimization</a:t>
            </a:r>
          </a:p>
        </p:txBody>
      </p:sp>
      <p:sp>
        <p:nvSpPr>
          <p:cNvPr id="50" name="Shape 2927">
            <a:extLst>
              <a:ext uri="{FF2B5EF4-FFF2-40B4-BE49-F238E27FC236}">
                <a16:creationId xmlns:a16="http://schemas.microsoft.com/office/drawing/2014/main" id="{70ACB0A9-462F-66D2-E51A-DDECFDD669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638" y="5223607"/>
            <a:ext cx="1468037" cy="343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659" tIns="45659" rIns="45659" bIns="45659" anchor="ctr"/>
          <a:lstStyle>
            <a:lvl1pPr>
              <a:defRPr>
                <a:solidFill>
                  <a:schemeClr val="tx1"/>
                </a:solidFill>
                <a:latin typeface="Franklin Gothic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Book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x-none" sz="10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Medios</a:t>
            </a:r>
            <a:r>
              <a:rPr kumimoji="0" lang="en-US" altLang="x-none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 clave</a:t>
            </a:r>
          </a:p>
        </p:txBody>
      </p:sp>
      <p:sp>
        <p:nvSpPr>
          <p:cNvPr id="51" name="Text Placeholder 9">
            <a:extLst>
              <a:ext uri="{FF2B5EF4-FFF2-40B4-BE49-F238E27FC236}">
                <a16:creationId xmlns:a16="http://schemas.microsoft.com/office/drawing/2014/main" id="{83E9B37B-71CF-49BA-E4A7-730A8796718E}"/>
              </a:ext>
            </a:extLst>
          </p:cNvPr>
          <p:cNvSpPr txBox="1">
            <a:spLocks/>
          </p:cNvSpPr>
          <p:nvPr/>
        </p:nvSpPr>
        <p:spPr>
          <a:xfrm>
            <a:off x="2117674" y="5206087"/>
            <a:ext cx="2828215" cy="37861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///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52" name="Text Placeholder 9">
            <a:extLst>
              <a:ext uri="{FF2B5EF4-FFF2-40B4-BE49-F238E27FC236}">
                <a16:creationId xmlns:a16="http://schemas.microsoft.com/office/drawing/2014/main" id="{F56C2922-0E18-EE65-016A-5C64ED07FA27}"/>
              </a:ext>
            </a:extLst>
          </p:cNvPr>
          <p:cNvSpPr txBox="1">
            <a:spLocks/>
          </p:cNvSpPr>
          <p:nvPr/>
        </p:nvSpPr>
        <p:spPr>
          <a:xfrm>
            <a:off x="5034495" y="5206087"/>
            <a:ext cx="3558824" cy="37861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///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35AE9399-859C-9EE8-E77E-DD33C5442C32}"/>
              </a:ext>
            </a:extLst>
          </p:cNvPr>
          <p:cNvSpPr txBox="1">
            <a:spLocks/>
          </p:cNvSpPr>
          <p:nvPr/>
        </p:nvSpPr>
        <p:spPr>
          <a:xfrm>
            <a:off x="8680340" y="5206087"/>
            <a:ext cx="2798351" cy="37861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///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54" name="Shape 2927">
            <a:extLst>
              <a:ext uri="{FF2B5EF4-FFF2-40B4-BE49-F238E27FC236}">
                <a16:creationId xmlns:a16="http://schemas.microsoft.com/office/drawing/2014/main" id="{C0E38927-ADB5-1C98-86B8-D3C67AC8C4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638" y="5636016"/>
            <a:ext cx="1468037" cy="343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659" tIns="45659" rIns="45659" bIns="45659" anchor="ctr"/>
          <a:lstStyle>
            <a:lvl1pPr>
              <a:defRPr>
                <a:solidFill>
                  <a:schemeClr val="tx1"/>
                </a:solidFill>
                <a:latin typeface="Franklin Gothic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Book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x-none" sz="10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Kpi´s</a:t>
            </a:r>
            <a:endParaRPr kumimoji="0" lang="en-US" altLang="x-none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Century Gothic" charset="0"/>
              <a:cs typeface="Poppins" pitchFamily="2" charset="77"/>
              <a:sym typeface="Franklin Gothic" charset="0"/>
            </a:endParaRPr>
          </a:p>
        </p:txBody>
      </p:sp>
      <p:sp>
        <p:nvSpPr>
          <p:cNvPr id="55" name="Text Placeholder 9">
            <a:extLst>
              <a:ext uri="{FF2B5EF4-FFF2-40B4-BE49-F238E27FC236}">
                <a16:creationId xmlns:a16="http://schemas.microsoft.com/office/drawing/2014/main" id="{A24D8234-E5DF-0DDE-BE8D-98A7F0C1B3BC}"/>
              </a:ext>
            </a:extLst>
          </p:cNvPr>
          <p:cNvSpPr txBox="1">
            <a:spLocks/>
          </p:cNvSpPr>
          <p:nvPr/>
        </p:nvSpPr>
        <p:spPr>
          <a:xfrm>
            <a:off x="2117674" y="5618495"/>
            <a:ext cx="2828215" cy="37861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///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C0038661-2D8F-D56B-CE4E-E8BF347C205F}"/>
              </a:ext>
            </a:extLst>
          </p:cNvPr>
          <p:cNvSpPr txBox="1">
            <a:spLocks/>
          </p:cNvSpPr>
          <p:nvPr/>
        </p:nvSpPr>
        <p:spPr>
          <a:xfrm>
            <a:off x="5034495" y="5618495"/>
            <a:ext cx="3558824" cy="37861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///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63DFF8AE-9F99-28DE-207C-BB78DBF2C752}"/>
              </a:ext>
            </a:extLst>
          </p:cNvPr>
          <p:cNvSpPr txBox="1">
            <a:spLocks/>
          </p:cNvSpPr>
          <p:nvPr/>
        </p:nvSpPr>
        <p:spPr>
          <a:xfrm>
            <a:off x="8680340" y="5618495"/>
            <a:ext cx="2798351" cy="37861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///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grpSp>
        <p:nvGrpSpPr>
          <p:cNvPr id="5" name="Group 16">
            <a:extLst>
              <a:ext uri="{FF2B5EF4-FFF2-40B4-BE49-F238E27FC236}">
                <a16:creationId xmlns:a16="http://schemas.microsoft.com/office/drawing/2014/main" id="{6BF39387-3CFE-8414-22A7-188546B73D1A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5">
              <a:extLst>
                <a:ext uri="{FF2B5EF4-FFF2-40B4-BE49-F238E27FC236}">
                  <a16:creationId xmlns:a16="http://schemas.microsoft.com/office/drawing/2014/main" id="{E2833179-73E8-6917-13D9-98DC515CCC62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4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9" name="Oval 18">
              <a:extLst>
                <a:ext uri="{FF2B5EF4-FFF2-40B4-BE49-F238E27FC236}">
                  <a16:creationId xmlns:a16="http://schemas.microsoft.com/office/drawing/2014/main" id="{E3763E02-B942-346C-933F-1E3BF08AEA32}"/>
                </a:ext>
              </a:extLst>
            </p:cNvPr>
            <p:cNvSpPr/>
            <p:nvPr/>
          </p:nvSpPr>
          <p:spPr>
            <a:xfrm>
              <a:off x="10366304" y="136553"/>
              <a:ext cx="283585" cy="28358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10" name="TextBox 19">
              <a:extLst>
                <a:ext uri="{FF2B5EF4-FFF2-40B4-BE49-F238E27FC236}">
                  <a16:creationId xmlns:a16="http://schemas.microsoft.com/office/drawing/2014/main" id="{7AF3DB02-4DDD-546E-0DCB-7CBEB94183E3}"/>
                </a:ext>
              </a:extLst>
            </p:cNvPr>
            <p:cNvSpPr txBox="1"/>
            <p:nvPr/>
          </p:nvSpPr>
          <p:spPr>
            <a:xfrm>
              <a:off x="10640364" y="124456"/>
              <a:ext cx="1132041" cy="30777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61E1E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Estrategia</a:t>
              </a:r>
              <a:endPara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61E1E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endParaRPr>
            </a:p>
          </p:txBody>
        </p:sp>
        <p:sp>
          <p:nvSpPr>
            <p:cNvPr id="11" name="Google Shape;1124;p39">
              <a:extLst>
                <a:ext uri="{FF2B5EF4-FFF2-40B4-BE49-F238E27FC236}">
                  <a16:creationId xmlns:a16="http://schemas.microsoft.com/office/drawing/2014/main" id="{E0C55997-7916-AF83-BCE1-411EE5337F8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17368" y="177814"/>
              <a:ext cx="184632" cy="2077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35" h="21600" extrusionOk="0">
                  <a:moveTo>
                    <a:pt x="10517" y="0"/>
                  </a:moveTo>
                  <a:cubicBezTo>
                    <a:pt x="9403" y="6"/>
                    <a:pt x="8505" y="835"/>
                    <a:pt x="8508" y="1851"/>
                  </a:cubicBezTo>
                  <a:cubicBezTo>
                    <a:pt x="8512" y="2757"/>
                    <a:pt x="9235" y="3523"/>
                    <a:pt x="10215" y="3661"/>
                  </a:cubicBezTo>
                  <a:cubicBezTo>
                    <a:pt x="10215" y="3661"/>
                    <a:pt x="10195" y="3661"/>
                    <a:pt x="10195" y="3661"/>
                  </a:cubicBezTo>
                  <a:lnTo>
                    <a:pt x="10195" y="4122"/>
                  </a:lnTo>
                  <a:cubicBezTo>
                    <a:pt x="10195" y="4282"/>
                    <a:pt x="10342" y="4410"/>
                    <a:pt x="10517" y="4410"/>
                  </a:cubicBezTo>
                  <a:cubicBezTo>
                    <a:pt x="10692" y="4410"/>
                    <a:pt x="10832" y="4282"/>
                    <a:pt x="10832" y="4122"/>
                  </a:cubicBezTo>
                  <a:lnTo>
                    <a:pt x="10832" y="3661"/>
                  </a:lnTo>
                  <a:cubicBezTo>
                    <a:pt x="11932" y="3500"/>
                    <a:pt x="12683" y="2556"/>
                    <a:pt x="12506" y="1552"/>
                  </a:cubicBezTo>
                  <a:cubicBezTo>
                    <a:pt x="12350" y="660"/>
                    <a:pt x="11507" y="1"/>
                    <a:pt x="10517" y="0"/>
                  </a:cubicBezTo>
                  <a:close/>
                  <a:moveTo>
                    <a:pt x="10510" y="581"/>
                  </a:moveTo>
                  <a:cubicBezTo>
                    <a:pt x="11274" y="582"/>
                    <a:pt x="11890" y="1148"/>
                    <a:pt x="11889" y="1845"/>
                  </a:cubicBezTo>
                  <a:cubicBezTo>
                    <a:pt x="11888" y="2541"/>
                    <a:pt x="11273" y="3109"/>
                    <a:pt x="10510" y="3110"/>
                  </a:cubicBezTo>
                  <a:cubicBezTo>
                    <a:pt x="9746" y="3109"/>
                    <a:pt x="9124" y="2543"/>
                    <a:pt x="9125" y="1845"/>
                  </a:cubicBezTo>
                  <a:cubicBezTo>
                    <a:pt x="9126" y="1150"/>
                    <a:pt x="9748" y="582"/>
                    <a:pt x="10510" y="581"/>
                  </a:cubicBezTo>
                  <a:close/>
                  <a:moveTo>
                    <a:pt x="2028" y="4482"/>
                  </a:moveTo>
                  <a:cubicBezTo>
                    <a:pt x="1321" y="4478"/>
                    <a:pt x="641" y="4818"/>
                    <a:pt x="269" y="5404"/>
                  </a:cubicBezTo>
                  <a:cubicBezTo>
                    <a:pt x="-283" y="6288"/>
                    <a:pt x="51" y="7415"/>
                    <a:pt x="1017" y="7921"/>
                  </a:cubicBezTo>
                  <a:cubicBezTo>
                    <a:pt x="1878" y="8371"/>
                    <a:pt x="2969" y="8177"/>
                    <a:pt x="3591" y="7472"/>
                  </a:cubicBezTo>
                  <a:cubicBezTo>
                    <a:pt x="3591" y="7472"/>
                    <a:pt x="3584" y="7484"/>
                    <a:pt x="3584" y="7484"/>
                  </a:cubicBezTo>
                  <a:lnTo>
                    <a:pt x="4017" y="7717"/>
                  </a:lnTo>
                  <a:cubicBezTo>
                    <a:pt x="4169" y="7797"/>
                    <a:pt x="4363" y="7748"/>
                    <a:pt x="4451" y="7609"/>
                  </a:cubicBezTo>
                  <a:cubicBezTo>
                    <a:pt x="4538" y="7471"/>
                    <a:pt x="4491" y="7294"/>
                    <a:pt x="4339" y="7214"/>
                  </a:cubicBezTo>
                  <a:lnTo>
                    <a:pt x="3899" y="6980"/>
                  </a:lnTo>
                  <a:cubicBezTo>
                    <a:pt x="4297" y="6030"/>
                    <a:pt x="3778" y="4970"/>
                    <a:pt x="2737" y="4608"/>
                  </a:cubicBezTo>
                  <a:cubicBezTo>
                    <a:pt x="2506" y="4527"/>
                    <a:pt x="2264" y="4483"/>
                    <a:pt x="2028" y="4482"/>
                  </a:cubicBezTo>
                  <a:close/>
                  <a:moveTo>
                    <a:pt x="18763" y="4500"/>
                  </a:moveTo>
                  <a:cubicBezTo>
                    <a:pt x="18503" y="4530"/>
                    <a:pt x="18249" y="4606"/>
                    <a:pt x="18008" y="4733"/>
                  </a:cubicBezTo>
                  <a:cubicBezTo>
                    <a:pt x="17151" y="5189"/>
                    <a:pt x="16782" y="6148"/>
                    <a:pt x="17141" y="6992"/>
                  </a:cubicBezTo>
                  <a:cubicBezTo>
                    <a:pt x="17141" y="6992"/>
                    <a:pt x="17135" y="6980"/>
                    <a:pt x="17135" y="6980"/>
                  </a:cubicBezTo>
                  <a:lnTo>
                    <a:pt x="16695" y="7208"/>
                  </a:lnTo>
                  <a:cubicBezTo>
                    <a:pt x="16543" y="7288"/>
                    <a:pt x="16496" y="7465"/>
                    <a:pt x="16583" y="7603"/>
                  </a:cubicBezTo>
                  <a:cubicBezTo>
                    <a:pt x="16671" y="7742"/>
                    <a:pt x="16865" y="7791"/>
                    <a:pt x="17017" y="7711"/>
                  </a:cubicBezTo>
                  <a:lnTo>
                    <a:pt x="17450" y="7478"/>
                  </a:lnTo>
                  <a:cubicBezTo>
                    <a:pt x="18152" y="8267"/>
                    <a:pt x="19428" y="8388"/>
                    <a:pt x="20293" y="7747"/>
                  </a:cubicBezTo>
                  <a:cubicBezTo>
                    <a:pt x="21061" y="7177"/>
                    <a:pt x="21260" y="6181"/>
                    <a:pt x="20765" y="5399"/>
                  </a:cubicBezTo>
                  <a:cubicBezTo>
                    <a:pt x="20343" y="4740"/>
                    <a:pt x="19543" y="4409"/>
                    <a:pt x="18763" y="4500"/>
                  </a:cubicBezTo>
                  <a:close/>
                  <a:moveTo>
                    <a:pt x="18842" y="5063"/>
                  </a:moveTo>
                  <a:cubicBezTo>
                    <a:pt x="19376" y="5003"/>
                    <a:pt x="19927" y="5234"/>
                    <a:pt x="20214" y="5686"/>
                  </a:cubicBezTo>
                  <a:cubicBezTo>
                    <a:pt x="20595" y="6290"/>
                    <a:pt x="20364" y="7058"/>
                    <a:pt x="19702" y="7406"/>
                  </a:cubicBezTo>
                  <a:cubicBezTo>
                    <a:pt x="19041" y="7753"/>
                    <a:pt x="18200" y="7547"/>
                    <a:pt x="17817" y="6944"/>
                  </a:cubicBezTo>
                  <a:cubicBezTo>
                    <a:pt x="17436" y="6340"/>
                    <a:pt x="17661" y="5573"/>
                    <a:pt x="18323" y="5225"/>
                  </a:cubicBezTo>
                  <a:cubicBezTo>
                    <a:pt x="18488" y="5138"/>
                    <a:pt x="18664" y="5083"/>
                    <a:pt x="18842" y="5063"/>
                  </a:cubicBezTo>
                  <a:close/>
                  <a:moveTo>
                    <a:pt x="2186" y="5081"/>
                  </a:moveTo>
                  <a:cubicBezTo>
                    <a:pt x="2364" y="5101"/>
                    <a:pt x="2539" y="5155"/>
                    <a:pt x="2704" y="5243"/>
                  </a:cubicBezTo>
                  <a:cubicBezTo>
                    <a:pt x="3364" y="5592"/>
                    <a:pt x="3590" y="6359"/>
                    <a:pt x="3210" y="6962"/>
                  </a:cubicBezTo>
                  <a:cubicBezTo>
                    <a:pt x="2827" y="7566"/>
                    <a:pt x="1980" y="7773"/>
                    <a:pt x="1319" y="7424"/>
                  </a:cubicBezTo>
                  <a:cubicBezTo>
                    <a:pt x="659" y="7075"/>
                    <a:pt x="433" y="6301"/>
                    <a:pt x="814" y="5698"/>
                  </a:cubicBezTo>
                  <a:cubicBezTo>
                    <a:pt x="1101" y="5246"/>
                    <a:pt x="1651" y="5020"/>
                    <a:pt x="2186" y="5081"/>
                  </a:cubicBezTo>
                  <a:close/>
                  <a:moveTo>
                    <a:pt x="10517" y="5081"/>
                  </a:moveTo>
                  <a:cubicBezTo>
                    <a:pt x="10342" y="5081"/>
                    <a:pt x="10202" y="5215"/>
                    <a:pt x="10202" y="5375"/>
                  </a:cubicBezTo>
                  <a:lnTo>
                    <a:pt x="10202" y="6417"/>
                  </a:lnTo>
                  <a:cubicBezTo>
                    <a:pt x="10202" y="6577"/>
                    <a:pt x="10342" y="6705"/>
                    <a:pt x="10517" y="6705"/>
                  </a:cubicBezTo>
                  <a:cubicBezTo>
                    <a:pt x="10692" y="6705"/>
                    <a:pt x="10839" y="6577"/>
                    <a:pt x="10839" y="6417"/>
                  </a:cubicBezTo>
                  <a:lnTo>
                    <a:pt x="10839" y="5375"/>
                  </a:lnTo>
                  <a:cubicBezTo>
                    <a:pt x="10839" y="5215"/>
                    <a:pt x="10692" y="5081"/>
                    <a:pt x="10517" y="5081"/>
                  </a:cubicBezTo>
                  <a:close/>
                  <a:moveTo>
                    <a:pt x="10530" y="7388"/>
                  </a:moveTo>
                  <a:cubicBezTo>
                    <a:pt x="10355" y="7388"/>
                    <a:pt x="10215" y="7515"/>
                    <a:pt x="10215" y="7675"/>
                  </a:cubicBezTo>
                  <a:lnTo>
                    <a:pt x="10215" y="8113"/>
                  </a:lnTo>
                  <a:lnTo>
                    <a:pt x="9322" y="8113"/>
                  </a:lnTo>
                  <a:cubicBezTo>
                    <a:pt x="8639" y="8113"/>
                    <a:pt x="8046" y="8470"/>
                    <a:pt x="7760" y="8994"/>
                  </a:cubicBezTo>
                  <a:lnTo>
                    <a:pt x="7399" y="8802"/>
                  </a:lnTo>
                  <a:cubicBezTo>
                    <a:pt x="7247" y="8721"/>
                    <a:pt x="7054" y="8772"/>
                    <a:pt x="6965" y="8910"/>
                  </a:cubicBezTo>
                  <a:cubicBezTo>
                    <a:pt x="6877" y="9048"/>
                    <a:pt x="6925" y="9224"/>
                    <a:pt x="7077" y="9305"/>
                  </a:cubicBezTo>
                  <a:lnTo>
                    <a:pt x="7576" y="9575"/>
                  </a:lnTo>
                  <a:cubicBezTo>
                    <a:pt x="7572" y="9618"/>
                    <a:pt x="7576" y="9662"/>
                    <a:pt x="7576" y="9707"/>
                  </a:cubicBezTo>
                  <a:lnTo>
                    <a:pt x="7576" y="11893"/>
                  </a:lnTo>
                  <a:cubicBezTo>
                    <a:pt x="7576" y="11938"/>
                    <a:pt x="7572" y="11982"/>
                    <a:pt x="7576" y="12025"/>
                  </a:cubicBezTo>
                  <a:lnTo>
                    <a:pt x="7077" y="12295"/>
                  </a:lnTo>
                  <a:cubicBezTo>
                    <a:pt x="6925" y="12376"/>
                    <a:pt x="6877" y="12552"/>
                    <a:pt x="6965" y="12690"/>
                  </a:cubicBezTo>
                  <a:cubicBezTo>
                    <a:pt x="7024" y="12783"/>
                    <a:pt x="7132" y="12834"/>
                    <a:pt x="7241" y="12834"/>
                  </a:cubicBezTo>
                  <a:cubicBezTo>
                    <a:pt x="7295" y="12834"/>
                    <a:pt x="7348" y="12819"/>
                    <a:pt x="7399" y="12792"/>
                  </a:cubicBezTo>
                  <a:lnTo>
                    <a:pt x="7760" y="12606"/>
                  </a:lnTo>
                  <a:cubicBezTo>
                    <a:pt x="8046" y="13130"/>
                    <a:pt x="8639" y="13487"/>
                    <a:pt x="9322" y="13487"/>
                  </a:cubicBezTo>
                  <a:lnTo>
                    <a:pt x="10215" y="13487"/>
                  </a:lnTo>
                  <a:lnTo>
                    <a:pt x="10215" y="13925"/>
                  </a:lnTo>
                  <a:cubicBezTo>
                    <a:pt x="10215" y="14085"/>
                    <a:pt x="10355" y="14212"/>
                    <a:pt x="10530" y="14212"/>
                  </a:cubicBezTo>
                  <a:cubicBezTo>
                    <a:pt x="10705" y="14212"/>
                    <a:pt x="10845" y="14085"/>
                    <a:pt x="10845" y="13925"/>
                  </a:cubicBezTo>
                  <a:lnTo>
                    <a:pt x="10845" y="13487"/>
                  </a:lnTo>
                  <a:lnTo>
                    <a:pt x="11718" y="13487"/>
                  </a:lnTo>
                  <a:cubicBezTo>
                    <a:pt x="12402" y="13487"/>
                    <a:pt x="12995" y="13130"/>
                    <a:pt x="13281" y="12606"/>
                  </a:cubicBezTo>
                  <a:lnTo>
                    <a:pt x="13635" y="12792"/>
                  </a:lnTo>
                  <a:cubicBezTo>
                    <a:pt x="13686" y="12819"/>
                    <a:pt x="13745" y="12834"/>
                    <a:pt x="13800" y="12834"/>
                  </a:cubicBezTo>
                  <a:cubicBezTo>
                    <a:pt x="13909" y="12834"/>
                    <a:pt x="14016" y="12783"/>
                    <a:pt x="14075" y="12690"/>
                  </a:cubicBezTo>
                  <a:cubicBezTo>
                    <a:pt x="14164" y="12552"/>
                    <a:pt x="14115" y="12376"/>
                    <a:pt x="13964" y="12295"/>
                  </a:cubicBezTo>
                  <a:lnTo>
                    <a:pt x="13458" y="12025"/>
                  </a:lnTo>
                  <a:cubicBezTo>
                    <a:pt x="13462" y="11982"/>
                    <a:pt x="13465" y="11938"/>
                    <a:pt x="13465" y="11893"/>
                  </a:cubicBezTo>
                  <a:lnTo>
                    <a:pt x="13465" y="9707"/>
                  </a:lnTo>
                  <a:cubicBezTo>
                    <a:pt x="13465" y="9662"/>
                    <a:pt x="13462" y="9618"/>
                    <a:pt x="13458" y="9575"/>
                  </a:cubicBezTo>
                  <a:lnTo>
                    <a:pt x="13964" y="9305"/>
                  </a:lnTo>
                  <a:cubicBezTo>
                    <a:pt x="14115" y="9224"/>
                    <a:pt x="14164" y="9048"/>
                    <a:pt x="14075" y="8910"/>
                  </a:cubicBezTo>
                  <a:cubicBezTo>
                    <a:pt x="13987" y="8772"/>
                    <a:pt x="13787" y="8721"/>
                    <a:pt x="13635" y="8802"/>
                  </a:cubicBezTo>
                  <a:lnTo>
                    <a:pt x="13281" y="8994"/>
                  </a:lnTo>
                  <a:cubicBezTo>
                    <a:pt x="12995" y="8470"/>
                    <a:pt x="12402" y="8113"/>
                    <a:pt x="11718" y="8113"/>
                  </a:cubicBezTo>
                  <a:lnTo>
                    <a:pt x="10845" y="8113"/>
                  </a:lnTo>
                  <a:lnTo>
                    <a:pt x="10845" y="7675"/>
                  </a:lnTo>
                  <a:cubicBezTo>
                    <a:pt x="10845" y="7515"/>
                    <a:pt x="10705" y="7388"/>
                    <a:pt x="10530" y="7388"/>
                  </a:cubicBezTo>
                  <a:close/>
                  <a:moveTo>
                    <a:pt x="5160" y="7687"/>
                  </a:moveTo>
                  <a:cubicBezTo>
                    <a:pt x="5081" y="7706"/>
                    <a:pt x="5007" y="7756"/>
                    <a:pt x="4963" y="7825"/>
                  </a:cubicBezTo>
                  <a:cubicBezTo>
                    <a:pt x="4874" y="7963"/>
                    <a:pt x="4923" y="8145"/>
                    <a:pt x="5074" y="8227"/>
                  </a:cubicBezTo>
                  <a:lnTo>
                    <a:pt x="6059" y="8754"/>
                  </a:lnTo>
                  <a:cubicBezTo>
                    <a:pt x="6210" y="8835"/>
                    <a:pt x="6410" y="8790"/>
                    <a:pt x="6499" y="8652"/>
                  </a:cubicBezTo>
                  <a:cubicBezTo>
                    <a:pt x="6588" y="8514"/>
                    <a:pt x="6532" y="8332"/>
                    <a:pt x="6381" y="8251"/>
                  </a:cubicBezTo>
                  <a:lnTo>
                    <a:pt x="5396" y="7723"/>
                  </a:lnTo>
                  <a:cubicBezTo>
                    <a:pt x="5321" y="7683"/>
                    <a:pt x="5238" y="7669"/>
                    <a:pt x="5160" y="7687"/>
                  </a:cubicBezTo>
                  <a:close/>
                  <a:moveTo>
                    <a:pt x="15881" y="7687"/>
                  </a:moveTo>
                  <a:cubicBezTo>
                    <a:pt x="15802" y="7669"/>
                    <a:pt x="15720" y="7683"/>
                    <a:pt x="15644" y="7723"/>
                  </a:cubicBezTo>
                  <a:lnTo>
                    <a:pt x="14653" y="8251"/>
                  </a:lnTo>
                  <a:cubicBezTo>
                    <a:pt x="14502" y="8332"/>
                    <a:pt x="14453" y="8514"/>
                    <a:pt x="14541" y="8652"/>
                  </a:cubicBezTo>
                  <a:cubicBezTo>
                    <a:pt x="14630" y="8790"/>
                    <a:pt x="14824" y="8835"/>
                    <a:pt x="14975" y="8754"/>
                  </a:cubicBezTo>
                  <a:lnTo>
                    <a:pt x="15966" y="8227"/>
                  </a:lnTo>
                  <a:cubicBezTo>
                    <a:pt x="16117" y="8145"/>
                    <a:pt x="16160" y="7963"/>
                    <a:pt x="16071" y="7825"/>
                  </a:cubicBezTo>
                  <a:cubicBezTo>
                    <a:pt x="16027" y="7756"/>
                    <a:pt x="15959" y="7706"/>
                    <a:pt x="15881" y="7687"/>
                  </a:cubicBezTo>
                  <a:close/>
                  <a:moveTo>
                    <a:pt x="9322" y="8688"/>
                  </a:moveTo>
                  <a:lnTo>
                    <a:pt x="11718" y="8688"/>
                  </a:lnTo>
                  <a:cubicBezTo>
                    <a:pt x="12331" y="8688"/>
                    <a:pt x="12828" y="9147"/>
                    <a:pt x="12828" y="9707"/>
                  </a:cubicBezTo>
                  <a:lnTo>
                    <a:pt x="12828" y="11893"/>
                  </a:lnTo>
                  <a:cubicBezTo>
                    <a:pt x="12828" y="12452"/>
                    <a:pt x="12331" y="12906"/>
                    <a:pt x="11718" y="12906"/>
                  </a:cubicBezTo>
                  <a:lnTo>
                    <a:pt x="9322" y="12906"/>
                  </a:lnTo>
                  <a:cubicBezTo>
                    <a:pt x="8710" y="12906"/>
                    <a:pt x="8206" y="12452"/>
                    <a:pt x="8206" y="11893"/>
                  </a:cubicBezTo>
                  <a:lnTo>
                    <a:pt x="8206" y="9707"/>
                  </a:lnTo>
                  <a:cubicBezTo>
                    <a:pt x="8206" y="9147"/>
                    <a:pt x="8710" y="8688"/>
                    <a:pt x="9322" y="8688"/>
                  </a:cubicBezTo>
                  <a:close/>
                  <a:moveTo>
                    <a:pt x="6302" y="12816"/>
                  </a:moveTo>
                  <a:cubicBezTo>
                    <a:pt x="6224" y="12798"/>
                    <a:pt x="6135" y="12806"/>
                    <a:pt x="6059" y="12846"/>
                  </a:cubicBezTo>
                  <a:lnTo>
                    <a:pt x="5074" y="13373"/>
                  </a:lnTo>
                  <a:cubicBezTo>
                    <a:pt x="4923" y="13455"/>
                    <a:pt x="4874" y="13637"/>
                    <a:pt x="4963" y="13775"/>
                  </a:cubicBezTo>
                  <a:cubicBezTo>
                    <a:pt x="5052" y="13913"/>
                    <a:pt x="5245" y="13958"/>
                    <a:pt x="5396" y="13877"/>
                  </a:cubicBezTo>
                  <a:lnTo>
                    <a:pt x="6381" y="13349"/>
                  </a:lnTo>
                  <a:cubicBezTo>
                    <a:pt x="6532" y="13268"/>
                    <a:pt x="6588" y="13086"/>
                    <a:pt x="6499" y="12948"/>
                  </a:cubicBezTo>
                  <a:cubicBezTo>
                    <a:pt x="6455" y="12879"/>
                    <a:pt x="6381" y="12835"/>
                    <a:pt x="6302" y="12816"/>
                  </a:cubicBezTo>
                  <a:close/>
                  <a:moveTo>
                    <a:pt x="14732" y="12816"/>
                  </a:moveTo>
                  <a:cubicBezTo>
                    <a:pt x="14653" y="12835"/>
                    <a:pt x="14586" y="12879"/>
                    <a:pt x="14541" y="12948"/>
                  </a:cubicBezTo>
                  <a:cubicBezTo>
                    <a:pt x="14452" y="13086"/>
                    <a:pt x="14502" y="13268"/>
                    <a:pt x="14653" y="13349"/>
                  </a:cubicBezTo>
                  <a:lnTo>
                    <a:pt x="15644" y="13877"/>
                  </a:lnTo>
                  <a:cubicBezTo>
                    <a:pt x="15795" y="13958"/>
                    <a:pt x="15982" y="13913"/>
                    <a:pt x="16071" y="13775"/>
                  </a:cubicBezTo>
                  <a:cubicBezTo>
                    <a:pt x="16160" y="13637"/>
                    <a:pt x="16117" y="13455"/>
                    <a:pt x="15966" y="13373"/>
                  </a:cubicBezTo>
                  <a:lnTo>
                    <a:pt x="14975" y="12846"/>
                  </a:lnTo>
                  <a:cubicBezTo>
                    <a:pt x="14899" y="12806"/>
                    <a:pt x="14810" y="12798"/>
                    <a:pt x="14732" y="12816"/>
                  </a:cubicBezTo>
                  <a:close/>
                  <a:moveTo>
                    <a:pt x="2225" y="13451"/>
                  </a:moveTo>
                  <a:cubicBezTo>
                    <a:pt x="1712" y="13403"/>
                    <a:pt x="1180" y="13538"/>
                    <a:pt x="748" y="13859"/>
                  </a:cubicBezTo>
                  <a:cubicBezTo>
                    <a:pt x="-20" y="14429"/>
                    <a:pt x="-226" y="15419"/>
                    <a:pt x="269" y="16201"/>
                  </a:cubicBezTo>
                  <a:cubicBezTo>
                    <a:pt x="831" y="17079"/>
                    <a:pt x="2069" y="17377"/>
                    <a:pt x="3033" y="16867"/>
                  </a:cubicBezTo>
                  <a:cubicBezTo>
                    <a:pt x="3890" y="16411"/>
                    <a:pt x="4258" y="15458"/>
                    <a:pt x="3899" y="14614"/>
                  </a:cubicBezTo>
                  <a:cubicBezTo>
                    <a:pt x="3899" y="14614"/>
                    <a:pt x="3906" y="14626"/>
                    <a:pt x="3906" y="14626"/>
                  </a:cubicBezTo>
                  <a:lnTo>
                    <a:pt x="4339" y="14398"/>
                  </a:lnTo>
                  <a:cubicBezTo>
                    <a:pt x="4491" y="14318"/>
                    <a:pt x="4545" y="14135"/>
                    <a:pt x="4457" y="13997"/>
                  </a:cubicBezTo>
                  <a:cubicBezTo>
                    <a:pt x="4370" y="13858"/>
                    <a:pt x="4176" y="13815"/>
                    <a:pt x="4024" y="13895"/>
                  </a:cubicBezTo>
                  <a:lnTo>
                    <a:pt x="3584" y="14122"/>
                  </a:lnTo>
                  <a:cubicBezTo>
                    <a:pt x="3233" y="13728"/>
                    <a:pt x="2739" y="13500"/>
                    <a:pt x="2225" y="13451"/>
                  </a:cubicBezTo>
                  <a:close/>
                  <a:moveTo>
                    <a:pt x="19341" y="13469"/>
                  </a:moveTo>
                  <a:cubicBezTo>
                    <a:pt x="18641" y="13366"/>
                    <a:pt x="17909" y="13599"/>
                    <a:pt x="17443" y="14128"/>
                  </a:cubicBezTo>
                  <a:cubicBezTo>
                    <a:pt x="17443" y="14128"/>
                    <a:pt x="17450" y="14116"/>
                    <a:pt x="17450" y="14116"/>
                  </a:cubicBezTo>
                  <a:lnTo>
                    <a:pt x="17017" y="13889"/>
                  </a:lnTo>
                  <a:cubicBezTo>
                    <a:pt x="16865" y="13809"/>
                    <a:pt x="16671" y="13858"/>
                    <a:pt x="16583" y="13997"/>
                  </a:cubicBezTo>
                  <a:cubicBezTo>
                    <a:pt x="16496" y="14135"/>
                    <a:pt x="16549" y="14312"/>
                    <a:pt x="16701" y="14392"/>
                  </a:cubicBezTo>
                  <a:lnTo>
                    <a:pt x="17135" y="14620"/>
                  </a:lnTo>
                  <a:cubicBezTo>
                    <a:pt x="16737" y="15570"/>
                    <a:pt x="17263" y="16636"/>
                    <a:pt x="18303" y="16998"/>
                  </a:cubicBezTo>
                  <a:cubicBezTo>
                    <a:pt x="19228" y="17321"/>
                    <a:pt x="20269" y="16984"/>
                    <a:pt x="20765" y="16201"/>
                  </a:cubicBezTo>
                  <a:cubicBezTo>
                    <a:pt x="21317" y="15318"/>
                    <a:pt x="20983" y="14191"/>
                    <a:pt x="20017" y="13685"/>
                  </a:cubicBezTo>
                  <a:cubicBezTo>
                    <a:pt x="19802" y="13573"/>
                    <a:pt x="19574" y="13504"/>
                    <a:pt x="19341" y="13469"/>
                  </a:cubicBezTo>
                  <a:close/>
                  <a:moveTo>
                    <a:pt x="19196" y="14021"/>
                  </a:moveTo>
                  <a:cubicBezTo>
                    <a:pt x="19374" y="14041"/>
                    <a:pt x="19550" y="14095"/>
                    <a:pt x="19715" y="14182"/>
                  </a:cubicBezTo>
                  <a:cubicBezTo>
                    <a:pt x="20375" y="14531"/>
                    <a:pt x="20601" y="15299"/>
                    <a:pt x="20220" y="15902"/>
                  </a:cubicBezTo>
                  <a:cubicBezTo>
                    <a:pt x="19837" y="16505"/>
                    <a:pt x="18991" y="16713"/>
                    <a:pt x="18330" y="16363"/>
                  </a:cubicBezTo>
                  <a:cubicBezTo>
                    <a:pt x="17670" y="16014"/>
                    <a:pt x="17444" y="15247"/>
                    <a:pt x="17824" y="14644"/>
                  </a:cubicBezTo>
                  <a:cubicBezTo>
                    <a:pt x="18111" y="14191"/>
                    <a:pt x="18661" y="13959"/>
                    <a:pt x="19196" y="14021"/>
                  </a:cubicBezTo>
                  <a:close/>
                  <a:moveTo>
                    <a:pt x="1858" y="14039"/>
                  </a:moveTo>
                  <a:cubicBezTo>
                    <a:pt x="2392" y="13978"/>
                    <a:pt x="2936" y="14204"/>
                    <a:pt x="3223" y="14656"/>
                  </a:cubicBezTo>
                  <a:cubicBezTo>
                    <a:pt x="3604" y="15260"/>
                    <a:pt x="3373" y="16033"/>
                    <a:pt x="2711" y="16381"/>
                  </a:cubicBezTo>
                  <a:cubicBezTo>
                    <a:pt x="2050" y="16728"/>
                    <a:pt x="1209" y="16522"/>
                    <a:pt x="827" y="15920"/>
                  </a:cubicBezTo>
                  <a:cubicBezTo>
                    <a:pt x="446" y="15316"/>
                    <a:pt x="670" y="14542"/>
                    <a:pt x="1332" y="14194"/>
                  </a:cubicBezTo>
                  <a:cubicBezTo>
                    <a:pt x="1498" y="14108"/>
                    <a:pt x="1680" y="14059"/>
                    <a:pt x="1858" y="14039"/>
                  </a:cubicBezTo>
                  <a:close/>
                  <a:moveTo>
                    <a:pt x="10517" y="14889"/>
                  </a:moveTo>
                  <a:cubicBezTo>
                    <a:pt x="10342" y="14889"/>
                    <a:pt x="10202" y="15017"/>
                    <a:pt x="10202" y="15177"/>
                  </a:cubicBezTo>
                  <a:lnTo>
                    <a:pt x="10202" y="16225"/>
                  </a:lnTo>
                  <a:cubicBezTo>
                    <a:pt x="10202" y="16385"/>
                    <a:pt x="10342" y="16513"/>
                    <a:pt x="10517" y="16513"/>
                  </a:cubicBezTo>
                  <a:cubicBezTo>
                    <a:pt x="10692" y="16513"/>
                    <a:pt x="10839" y="16385"/>
                    <a:pt x="10839" y="16225"/>
                  </a:cubicBezTo>
                  <a:lnTo>
                    <a:pt x="10839" y="15177"/>
                  </a:lnTo>
                  <a:cubicBezTo>
                    <a:pt x="10839" y="15017"/>
                    <a:pt x="10692" y="14889"/>
                    <a:pt x="10517" y="14889"/>
                  </a:cubicBezTo>
                  <a:close/>
                  <a:moveTo>
                    <a:pt x="10524" y="17190"/>
                  </a:moveTo>
                  <a:cubicBezTo>
                    <a:pt x="10348" y="17190"/>
                    <a:pt x="10202" y="17324"/>
                    <a:pt x="10202" y="17484"/>
                  </a:cubicBezTo>
                  <a:lnTo>
                    <a:pt x="10202" y="17945"/>
                  </a:lnTo>
                  <a:cubicBezTo>
                    <a:pt x="9102" y="18106"/>
                    <a:pt x="8358" y="19050"/>
                    <a:pt x="8534" y="20054"/>
                  </a:cubicBezTo>
                  <a:cubicBezTo>
                    <a:pt x="8691" y="20946"/>
                    <a:pt x="9533" y="21599"/>
                    <a:pt x="10524" y="21600"/>
                  </a:cubicBezTo>
                  <a:cubicBezTo>
                    <a:pt x="11638" y="21594"/>
                    <a:pt x="12535" y="20771"/>
                    <a:pt x="12533" y="19755"/>
                  </a:cubicBezTo>
                  <a:cubicBezTo>
                    <a:pt x="12529" y="18849"/>
                    <a:pt x="11806" y="18077"/>
                    <a:pt x="10826" y="17939"/>
                  </a:cubicBezTo>
                  <a:cubicBezTo>
                    <a:pt x="10826" y="17939"/>
                    <a:pt x="10839" y="17939"/>
                    <a:pt x="10839" y="17939"/>
                  </a:cubicBezTo>
                  <a:lnTo>
                    <a:pt x="10839" y="17484"/>
                  </a:lnTo>
                  <a:cubicBezTo>
                    <a:pt x="10839" y="17324"/>
                    <a:pt x="10699" y="17190"/>
                    <a:pt x="10524" y="17190"/>
                  </a:cubicBezTo>
                  <a:close/>
                  <a:moveTo>
                    <a:pt x="10530" y="18496"/>
                  </a:moveTo>
                  <a:cubicBezTo>
                    <a:pt x="11294" y="18497"/>
                    <a:pt x="11910" y="19063"/>
                    <a:pt x="11909" y="19761"/>
                  </a:cubicBezTo>
                  <a:cubicBezTo>
                    <a:pt x="11908" y="20456"/>
                    <a:pt x="11293" y="21024"/>
                    <a:pt x="10530" y="21025"/>
                  </a:cubicBezTo>
                  <a:cubicBezTo>
                    <a:pt x="9766" y="21024"/>
                    <a:pt x="9144" y="20458"/>
                    <a:pt x="9145" y="19761"/>
                  </a:cubicBezTo>
                  <a:cubicBezTo>
                    <a:pt x="9146" y="19065"/>
                    <a:pt x="9768" y="18497"/>
                    <a:pt x="10530" y="18496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FFFFFF"/>
              </a:solidFill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34" name="CuadroTexto 33">
            <a:extLst>
              <a:ext uri="{FF2B5EF4-FFF2-40B4-BE49-F238E27FC236}">
                <a16:creationId xmlns:a16="http://schemas.microsoft.com/office/drawing/2014/main" id="{553348C7-E7CE-FD70-5A13-C5DA25785EAE}"/>
              </a:ext>
            </a:extLst>
          </p:cNvPr>
          <p:cNvSpPr txBox="1"/>
          <p:nvPr/>
        </p:nvSpPr>
        <p:spPr>
          <a:xfrm>
            <a:off x="3393148" y="3780925"/>
            <a:ext cx="54057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GUATEMALA</a:t>
            </a:r>
            <a:endParaRPr lang="es-GT"/>
          </a:p>
        </p:txBody>
      </p:sp>
      <p:sp>
        <p:nvSpPr>
          <p:cNvPr id="59" name="Rounded Rectangle 39">
            <a:extLst>
              <a:ext uri="{FF2B5EF4-FFF2-40B4-BE49-F238E27FC236}">
                <a16:creationId xmlns:a16="http://schemas.microsoft.com/office/drawing/2014/main" id="{246BBAB6-220A-3907-7549-AD6671C2F58A}"/>
              </a:ext>
            </a:extLst>
          </p:cNvPr>
          <p:cNvSpPr/>
          <p:nvPr/>
        </p:nvSpPr>
        <p:spPr>
          <a:xfrm>
            <a:off x="2120173" y="1466492"/>
            <a:ext cx="9357581" cy="40633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gradFill flip="none" rotWithShape="1">
              <a:gsLst>
                <a:gs pos="0">
                  <a:schemeClr val="accent2"/>
                </a:gs>
                <a:gs pos="99000">
                  <a:schemeClr val="accent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XXX</a:t>
            </a:r>
          </a:p>
        </p:txBody>
      </p:sp>
      <p:sp>
        <p:nvSpPr>
          <p:cNvPr id="60" name="Shape 2927">
            <a:extLst>
              <a:ext uri="{FF2B5EF4-FFF2-40B4-BE49-F238E27FC236}">
                <a16:creationId xmlns:a16="http://schemas.microsoft.com/office/drawing/2014/main" id="{95FF37BD-4591-7F7B-F964-996516E480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537" y="1423129"/>
            <a:ext cx="1191638" cy="50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659" tIns="45659" rIns="45659" bIns="45659" anchor="ctr"/>
          <a:lstStyle>
            <a:lvl1pPr>
              <a:defRPr>
                <a:solidFill>
                  <a:schemeClr val="tx1"/>
                </a:solidFill>
                <a:latin typeface="Franklin Gothic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Book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x-none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INSIGTH CLAVE</a:t>
            </a:r>
          </a:p>
        </p:txBody>
      </p:sp>
      <p:sp>
        <p:nvSpPr>
          <p:cNvPr id="61" name="Rounded Rectangle 39">
            <a:extLst>
              <a:ext uri="{FF2B5EF4-FFF2-40B4-BE49-F238E27FC236}">
                <a16:creationId xmlns:a16="http://schemas.microsoft.com/office/drawing/2014/main" id="{3AAC091B-F1D5-372E-516E-78D9749A4845}"/>
              </a:ext>
            </a:extLst>
          </p:cNvPr>
          <p:cNvSpPr/>
          <p:nvPr/>
        </p:nvSpPr>
        <p:spPr>
          <a:xfrm>
            <a:off x="2122673" y="1963662"/>
            <a:ext cx="9357581" cy="40633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gradFill flip="none" rotWithShape="1">
              <a:gsLst>
                <a:gs pos="0">
                  <a:schemeClr val="accent2"/>
                </a:gs>
                <a:gs pos="99000">
                  <a:schemeClr val="accent1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XXX</a:t>
            </a:r>
          </a:p>
        </p:txBody>
      </p:sp>
      <p:sp>
        <p:nvSpPr>
          <p:cNvPr id="62" name="Shape 2927">
            <a:extLst>
              <a:ext uri="{FF2B5EF4-FFF2-40B4-BE49-F238E27FC236}">
                <a16:creationId xmlns:a16="http://schemas.microsoft.com/office/drawing/2014/main" id="{BA0EE626-A298-CF4E-D565-85253018C5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0037" y="1920299"/>
            <a:ext cx="1191638" cy="50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659" tIns="45659" rIns="45659" bIns="45659" anchor="ctr"/>
          <a:lstStyle>
            <a:lvl1pPr>
              <a:defRPr>
                <a:solidFill>
                  <a:schemeClr val="tx1"/>
                </a:solidFill>
                <a:latin typeface="Franklin Gothic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Book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x-none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ESTRATEGIA</a:t>
            </a:r>
          </a:p>
        </p:txBody>
      </p:sp>
      <p:sp>
        <p:nvSpPr>
          <p:cNvPr id="63" name="Shape 2927">
            <a:extLst>
              <a:ext uri="{FF2B5EF4-FFF2-40B4-BE49-F238E27FC236}">
                <a16:creationId xmlns:a16="http://schemas.microsoft.com/office/drawing/2014/main" id="{6AC2B21E-7725-5E78-9714-6583D763AF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309" y="2429122"/>
            <a:ext cx="1283366" cy="343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659" tIns="45659" rIns="45659" bIns="45659" anchor="ctr"/>
          <a:lstStyle>
            <a:lvl1pPr>
              <a:defRPr>
                <a:solidFill>
                  <a:schemeClr val="tx1"/>
                </a:solidFill>
                <a:latin typeface="Franklin Gothic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Book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x-none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AUDIENCIA</a:t>
            </a:r>
          </a:p>
        </p:txBody>
      </p:sp>
      <p:sp>
        <p:nvSpPr>
          <p:cNvPr id="64" name="Text Placeholder 9">
            <a:extLst>
              <a:ext uri="{FF2B5EF4-FFF2-40B4-BE49-F238E27FC236}">
                <a16:creationId xmlns:a16="http://schemas.microsoft.com/office/drawing/2014/main" id="{D3F5D4CE-81C9-FD7A-92BA-315B5DE7CF60}"/>
              </a:ext>
            </a:extLst>
          </p:cNvPr>
          <p:cNvSpPr txBox="1">
            <a:spLocks/>
          </p:cNvSpPr>
          <p:nvPr/>
        </p:nvSpPr>
        <p:spPr>
          <a:xfrm>
            <a:off x="2117674" y="2411602"/>
            <a:ext cx="9357580" cy="378612"/>
          </a:xfrm>
          <a:prstGeom prst="rect">
            <a:avLst/>
          </a:prstGeom>
          <a:noFill/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x-none" sz="1050" b="1" i="0" u="none" strike="noStrike" kern="0" cap="none" spc="0" normalizeH="0" baseline="0" noProof="0">
                <a:ln>
                  <a:noFill/>
                </a:ln>
                <a:solidFill>
                  <a:srgbClr val="3353D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Source Sans Pro" charset="0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2297418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Placeholder 37" descr="A group of people standing around a table with a computer&#10;&#10;Description automatically generated with medium confidence">
            <a:extLst>
              <a:ext uri="{FF2B5EF4-FFF2-40B4-BE49-F238E27FC236}">
                <a16:creationId xmlns:a16="http://schemas.microsoft.com/office/drawing/2014/main" id="{80CEEE88-D5D7-7040-86DE-84F344ED57A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847" b="20847"/>
          <a:stretch/>
        </p:blipFill>
        <p:spPr/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CCCFB1AE-0646-964D-B946-F83227FBE6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2024 </a:t>
            </a:r>
            <a:r>
              <a:rPr lang="en-US" sz="2400" b="1" err="1">
                <a:solidFill>
                  <a:schemeClr val="bg1"/>
                </a:solidFill>
              </a:rPr>
              <a:t>Recomendación</a:t>
            </a:r>
            <a:r>
              <a:rPr lang="en-US" sz="2400" b="1">
                <a:solidFill>
                  <a:schemeClr val="bg1"/>
                </a:solidFill>
              </a:rPr>
              <a:t> de media mix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478A14-F774-0A40-9309-C79812A13F1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B7E5B5-D155-2243-A948-39AFEC208E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1D7550-0EB0-3A43-B3ED-278106F7B6C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FB5340AF-D8AF-7C7B-C427-027A605CBF9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0"/>
            <a:ext cx="12193588" cy="6858000"/>
          </a:xfrm>
        </p:spPr>
        <p:txBody>
          <a:bodyPr/>
          <a:lstStyle/>
          <a:p>
            <a:r>
              <a:rPr lang="es-MX"/>
              <a:t> 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258E83AD-E589-D765-FDC8-069501B6AF82}"/>
              </a:ext>
            </a:extLst>
          </p:cNvPr>
          <p:cNvSpPr/>
          <p:nvPr/>
        </p:nvSpPr>
        <p:spPr>
          <a:xfrm>
            <a:off x="923960" y="1993250"/>
            <a:ext cx="2463665" cy="2401600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[TV Optimization]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(Brief description of recommendation)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07280371-BAE2-4681-F773-FA62ED61885D}"/>
              </a:ext>
            </a:extLst>
          </p:cNvPr>
          <p:cNvSpPr/>
          <p:nvPr/>
        </p:nvSpPr>
        <p:spPr>
          <a:xfrm>
            <a:off x="923960" y="4506595"/>
            <a:ext cx="2463665" cy="540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>
              <a:defRPr/>
            </a:pPr>
            <a:r>
              <a:rPr kumimoji="0" lang="en-GB" sz="1600" b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000 TRPS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5DE661B3-88B5-E090-875D-F504B4764E50}"/>
              </a:ext>
            </a:extLst>
          </p:cNvPr>
          <p:cNvSpPr/>
          <p:nvPr/>
        </p:nvSpPr>
        <p:spPr>
          <a:xfrm>
            <a:off x="3565560" y="1993250"/>
            <a:ext cx="2463665" cy="2401600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>
                <a:solidFill>
                  <a:srgbClr val="011627"/>
                </a:solidFill>
              </a:rPr>
              <a:t>[IVR]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(Brief description of recommendation)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DFBEAF49-8EF1-8143-8572-BC2667EC406B}"/>
              </a:ext>
            </a:extLst>
          </p:cNvPr>
          <p:cNvSpPr/>
          <p:nvPr/>
        </p:nvSpPr>
        <p:spPr>
          <a:xfrm>
            <a:off x="3565560" y="4506595"/>
            <a:ext cx="2463665" cy="540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>
              <a:defRPr/>
            </a:pPr>
            <a:r>
              <a:rPr kumimoji="0" lang="en-GB" sz="1600" b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% IVR 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FFAB1F8A-9FD3-D97F-A29D-F7B20C735D56}"/>
              </a:ext>
            </a:extLst>
          </p:cNvPr>
          <p:cNvSpPr/>
          <p:nvPr/>
        </p:nvSpPr>
        <p:spPr>
          <a:xfrm>
            <a:off x="6207160" y="1993250"/>
            <a:ext cx="2463665" cy="2401600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[Overall Digital Changes]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algn="ctr"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(Brief description of recommendation)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DAA78A00-7455-05C7-EDBB-703E69277FF6}"/>
              </a:ext>
            </a:extLst>
          </p:cNvPr>
          <p:cNvSpPr/>
          <p:nvPr/>
        </p:nvSpPr>
        <p:spPr>
          <a:xfrm>
            <a:off x="6207160" y="4506595"/>
            <a:ext cx="2463665" cy="540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>
              <a:defRPr/>
            </a:pPr>
            <a:r>
              <a:rPr kumimoji="0" lang="en-GB" sz="1600" b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% Digital Share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DD5C568B-FF75-040E-D1FE-F6A064443DDD}"/>
              </a:ext>
            </a:extLst>
          </p:cNvPr>
          <p:cNvSpPr/>
          <p:nvPr/>
        </p:nvSpPr>
        <p:spPr>
          <a:xfrm>
            <a:off x="8848760" y="1993250"/>
            <a:ext cx="2463665" cy="2401600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[New Channels]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(Brief description of recommendation)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54CEDB6E-66C6-F057-254D-BEBB9412993F}"/>
              </a:ext>
            </a:extLst>
          </p:cNvPr>
          <p:cNvSpPr/>
          <p:nvPr/>
        </p:nvSpPr>
        <p:spPr>
          <a:xfrm>
            <a:off x="8848760" y="4506595"/>
            <a:ext cx="2463665" cy="540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>
              <a:defRPr/>
            </a:pPr>
            <a:r>
              <a:rPr kumimoji="0" lang="en-GB" sz="1600" b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+00% SOI </a:t>
            </a:r>
          </a:p>
          <a:p>
            <a:pPr algn="ctr" defTabSz="1828800">
              <a:defRPr/>
            </a:pPr>
            <a:r>
              <a:rPr kumimoji="0" lang="en-GB" sz="1600" b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New Channels</a:t>
            </a:r>
          </a:p>
        </p:txBody>
      </p:sp>
      <p:grpSp>
        <p:nvGrpSpPr>
          <p:cNvPr id="2" name="Group 16">
            <a:extLst>
              <a:ext uri="{FF2B5EF4-FFF2-40B4-BE49-F238E27FC236}">
                <a16:creationId xmlns:a16="http://schemas.microsoft.com/office/drawing/2014/main" id="{0B893725-6887-FA73-D44B-8A5F0B96370A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14" name="Round Same-side Corner of Rectangle 5">
              <a:extLst>
                <a:ext uri="{FF2B5EF4-FFF2-40B4-BE49-F238E27FC236}">
                  <a16:creationId xmlns:a16="http://schemas.microsoft.com/office/drawing/2014/main" id="{6D3E81C1-F3A3-4454-9806-337A472539E2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4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16" name="Oval 18">
              <a:extLst>
                <a:ext uri="{FF2B5EF4-FFF2-40B4-BE49-F238E27FC236}">
                  <a16:creationId xmlns:a16="http://schemas.microsoft.com/office/drawing/2014/main" id="{4A8CA3AB-3B2D-7984-2318-4C0F53727400}"/>
                </a:ext>
              </a:extLst>
            </p:cNvPr>
            <p:cNvSpPr/>
            <p:nvPr/>
          </p:nvSpPr>
          <p:spPr>
            <a:xfrm>
              <a:off x="10366304" y="136553"/>
              <a:ext cx="283585" cy="28358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17" name="TextBox 19">
              <a:extLst>
                <a:ext uri="{FF2B5EF4-FFF2-40B4-BE49-F238E27FC236}">
                  <a16:creationId xmlns:a16="http://schemas.microsoft.com/office/drawing/2014/main" id="{81CAF29A-0108-C0E1-6E4E-6F672FC92CF8}"/>
                </a:ext>
              </a:extLst>
            </p:cNvPr>
            <p:cNvSpPr txBox="1"/>
            <p:nvPr/>
          </p:nvSpPr>
          <p:spPr>
            <a:xfrm>
              <a:off x="10640364" y="124456"/>
              <a:ext cx="1132041" cy="30777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61E1E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Estrategia</a:t>
              </a:r>
              <a:endPara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61E1E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endParaRPr>
            </a:p>
          </p:txBody>
        </p:sp>
        <p:sp>
          <p:nvSpPr>
            <p:cNvPr id="18" name="Google Shape;1124;p39">
              <a:extLst>
                <a:ext uri="{FF2B5EF4-FFF2-40B4-BE49-F238E27FC236}">
                  <a16:creationId xmlns:a16="http://schemas.microsoft.com/office/drawing/2014/main" id="{4E6C29A8-CC8D-03C8-BA59-670250ADF9A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17368" y="177814"/>
              <a:ext cx="184632" cy="2077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35" h="21600" extrusionOk="0">
                  <a:moveTo>
                    <a:pt x="10517" y="0"/>
                  </a:moveTo>
                  <a:cubicBezTo>
                    <a:pt x="9403" y="6"/>
                    <a:pt x="8505" y="835"/>
                    <a:pt x="8508" y="1851"/>
                  </a:cubicBezTo>
                  <a:cubicBezTo>
                    <a:pt x="8512" y="2757"/>
                    <a:pt x="9235" y="3523"/>
                    <a:pt x="10215" y="3661"/>
                  </a:cubicBezTo>
                  <a:cubicBezTo>
                    <a:pt x="10215" y="3661"/>
                    <a:pt x="10195" y="3661"/>
                    <a:pt x="10195" y="3661"/>
                  </a:cubicBezTo>
                  <a:lnTo>
                    <a:pt x="10195" y="4122"/>
                  </a:lnTo>
                  <a:cubicBezTo>
                    <a:pt x="10195" y="4282"/>
                    <a:pt x="10342" y="4410"/>
                    <a:pt x="10517" y="4410"/>
                  </a:cubicBezTo>
                  <a:cubicBezTo>
                    <a:pt x="10692" y="4410"/>
                    <a:pt x="10832" y="4282"/>
                    <a:pt x="10832" y="4122"/>
                  </a:cubicBezTo>
                  <a:lnTo>
                    <a:pt x="10832" y="3661"/>
                  </a:lnTo>
                  <a:cubicBezTo>
                    <a:pt x="11932" y="3500"/>
                    <a:pt x="12683" y="2556"/>
                    <a:pt x="12506" y="1552"/>
                  </a:cubicBezTo>
                  <a:cubicBezTo>
                    <a:pt x="12350" y="660"/>
                    <a:pt x="11507" y="1"/>
                    <a:pt x="10517" y="0"/>
                  </a:cubicBezTo>
                  <a:close/>
                  <a:moveTo>
                    <a:pt x="10510" y="581"/>
                  </a:moveTo>
                  <a:cubicBezTo>
                    <a:pt x="11274" y="582"/>
                    <a:pt x="11890" y="1148"/>
                    <a:pt x="11889" y="1845"/>
                  </a:cubicBezTo>
                  <a:cubicBezTo>
                    <a:pt x="11888" y="2541"/>
                    <a:pt x="11273" y="3109"/>
                    <a:pt x="10510" y="3110"/>
                  </a:cubicBezTo>
                  <a:cubicBezTo>
                    <a:pt x="9746" y="3109"/>
                    <a:pt x="9124" y="2543"/>
                    <a:pt x="9125" y="1845"/>
                  </a:cubicBezTo>
                  <a:cubicBezTo>
                    <a:pt x="9126" y="1150"/>
                    <a:pt x="9748" y="582"/>
                    <a:pt x="10510" y="581"/>
                  </a:cubicBezTo>
                  <a:close/>
                  <a:moveTo>
                    <a:pt x="2028" y="4482"/>
                  </a:moveTo>
                  <a:cubicBezTo>
                    <a:pt x="1321" y="4478"/>
                    <a:pt x="641" y="4818"/>
                    <a:pt x="269" y="5404"/>
                  </a:cubicBezTo>
                  <a:cubicBezTo>
                    <a:pt x="-283" y="6288"/>
                    <a:pt x="51" y="7415"/>
                    <a:pt x="1017" y="7921"/>
                  </a:cubicBezTo>
                  <a:cubicBezTo>
                    <a:pt x="1878" y="8371"/>
                    <a:pt x="2969" y="8177"/>
                    <a:pt x="3591" y="7472"/>
                  </a:cubicBezTo>
                  <a:cubicBezTo>
                    <a:pt x="3591" y="7472"/>
                    <a:pt x="3584" y="7484"/>
                    <a:pt x="3584" y="7484"/>
                  </a:cubicBezTo>
                  <a:lnTo>
                    <a:pt x="4017" y="7717"/>
                  </a:lnTo>
                  <a:cubicBezTo>
                    <a:pt x="4169" y="7797"/>
                    <a:pt x="4363" y="7748"/>
                    <a:pt x="4451" y="7609"/>
                  </a:cubicBezTo>
                  <a:cubicBezTo>
                    <a:pt x="4538" y="7471"/>
                    <a:pt x="4491" y="7294"/>
                    <a:pt x="4339" y="7214"/>
                  </a:cubicBezTo>
                  <a:lnTo>
                    <a:pt x="3899" y="6980"/>
                  </a:lnTo>
                  <a:cubicBezTo>
                    <a:pt x="4297" y="6030"/>
                    <a:pt x="3778" y="4970"/>
                    <a:pt x="2737" y="4608"/>
                  </a:cubicBezTo>
                  <a:cubicBezTo>
                    <a:pt x="2506" y="4527"/>
                    <a:pt x="2264" y="4483"/>
                    <a:pt x="2028" y="4482"/>
                  </a:cubicBezTo>
                  <a:close/>
                  <a:moveTo>
                    <a:pt x="18763" y="4500"/>
                  </a:moveTo>
                  <a:cubicBezTo>
                    <a:pt x="18503" y="4530"/>
                    <a:pt x="18249" y="4606"/>
                    <a:pt x="18008" y="4733"/>
                  </a:cubicBezTo>
                  <a:cubicBezTo>
                    <a:pt x="17151" y="5189"/>
                    <a:pt x="16782" y="6148"/>
                    <a:pt x="17141" y="6992"/>
                  </a:cubicBezTo>
                  <a:cubicBezTo>
                    <a:pt x="17141" y="6992"/>
                    <a:pt x="17135" y="6980"/>
                    <a:pt x="17135" y="6980"/>
                  </a:cubicBezTo>
                  <a:lnTo>
                    <a:pt x="16695" y="7208"/>
                  </a:lnTo>
                  <a:cubicBezTo>
                    <a:pt x="16543" y="7288"/>
                    <a:pt x="16496" y="7465"/>
                    <a:pt x="16583" y="7603"/>
                  </a:cubicBezTo>
                  <a:cubicBezTo>
                    <a:pt x="16671" y="7742"/>
                    <a:pt x="16865" y="7791"/>
                    <a:pt x="17017" y="7711"/>
                  </a:cubicBezTo>
                  <a:lnTo>
                    <a:pt x="17450" y="7478"/>
                  </a:lnTo>
                  <a:cubicBezTo>
                    <a:pt x="18152" y="8267"/>
                    <a:pt x="19428" y="8388"/>
                    <a:pt x="20293" y="7747"/>
                  </a:cubicBezTo>
                  <a:cubicBezTo>
                    <a:pt x="21061" y="7177"/>
                    <a:pt x="21260" y="6181"/>
                    <a:pt x="20765" y="5399"/>
                  </a:cubicBezTo>
                  <a:cubicBezTo>
                    <a:pt x="20343" y="4740"/>
                    <a:pt x="19543" y="4409"/>
                    <a:pt x="18763" y="4500"/>
                  </a:cubicBezTo>
                  <a:close/>
                  <a:moveTo>
                    <a:pt x="18842" y="5063"/>
                  </a:moveTo>
                  <a:cubicBezTo>
                    <a:pt x="19376" y="5003"/>
                    <a:pt x="19927" y="5234"/>
                    <a:pt x="20214" y="5686"/>
                  </a:cubicBezTo>
                  <a:cubicBezTo>
                    <a:pt x="20595" y="6290"/>
                    <a:pt x="20364" y="7058"/>
                    <a:pt x="19702" y="7406"/>
                  </a:cubicBezTo>
                  <a:cubicBezTo>
                    <a:pt x="19041" y="7753"/>
                    <a:pt x="18200" y="7547"/>
                    <a:pt x="17817" y="6944"/>
                  </a:cubicBezTo>
                  <a:cubicBezTo>
                    <a:pt x="17436" y="6340"/>
                    <a:pt x="17661" y="5573"/>
                    <a:pt x="18323" y="5225"/>
                  </a:cubicBezTo>
                  <a:cubicBezTo>
                    <a:pt x="18488" y="5138"/>
                    <a:pt x="18664" y="5083"/>
                    <a:pt x="18842" y="5063"/>
                  </a:cubicBezTo>
                  <a:close/>
                  <a:moveTo>
                    <a:pt x="2186" y="5081"/>
                  </a:moveTo>
                  <a:cubicBezTo>
                    <a:pt x="2364" y="5101"/>
                    <a:pt x="2539" y="5155"/>
                    <a:pt x="2704" y="5243"/>
                  </a:cubicBezTo>
                  <a:cubicBezTo>
                    <a:pt x="3364" y="5592"/>
                    <a:pt x="3590" y="6359"/>
                    <a:pt x="3210" y="6962"/>
                  </a:cubicBezTo>
                  <a:cubicBezTo>
                    <a:pt x="2827" y="7566"/>
                    <a:pt x="1980" y="7773"/>
                    <a:pt x="1319" y="7424"/>
                  </a:cubicBezTo>
                  <a:cubicBezTo>
                    <a:pt x="659" y="7075"/>
                    <a:pt x="433" y="6301"/>
                    <a:pt x="814" y="5698"/>
                  </a:cubicBezTo>
                  <a:cubicBezTo>
                    <a:pt x="1101" y="5246"/>
                    <a:pt x="1651" y="5020"/>
                    <a:pt x="2186" y="5081"/>
                  </a:cubicBezTo>
                  <a:close/>
                  <a:moveTo>
                    <a:pt x="10517" y="5081"/>
                  </a:moveTo>
                  <a:cubicBezTo>
                    <a:pt x="10342" y="5081"/>
                    <a:pt x="10202" y="5215"/>
                    <a:pt x="10202" y="5375"/>
                  </a:cubicBezTo>
                  <a:lnTo>
                    <a:pt x="10202" y="6417"/>
                  </a:lnTo>
                  <a:cubicBezTo>
                    <a:pt x="10202" y="6577"/>
                    <a:pt x="10342" y="6705"/>
                    <a:pt x="10517" y="6705"/>
                  </a:cubicBezTo>
                  <a:cubicBezTo>
                    <a:pt x="10692" y="6705"/>
                    <a:pt x="10839" y="6577"/>
                    <a:pt x="10839" y="6417"/>
                  </a:cubicBezTo>
                  <a:lnTo>
                    <a:pt x="10839" y="5375"/>
                  </a:lnTo>
                  <a:cubicBezTo>
                    <a:pt x="10839" y="5215"/>
                    <a:pt x="10692" y="5081"/>
                    <a:pt x="10517" y="5081"/>
                  </a:cubicBezTo>
                  <a:close/>
                  <a:moveTo>
                    <a:pt x="10530" y="7388"/>
                  </a:moveTo>
                  <a:cubicBezTo>
                    <a:pt x="10355" y="7388"/>
                    <a:pt x="10215" y="7515"/>
                    <a:pt x="10215" y="7675"/>
                  </a:cubicBezTo>
                  <a:lnTo>
                    <a:pt x="10215" y="8113"/>
                  </a:lnTo>
                  <a:lnTo>
                    <a:pt x="9322" y="8113"/>
                  </a:lnTo>
                  <a:cubicBezTo>
                    <a:pt x="8639" y="8113"/>
                    <a:pt x="8046" y="8470"/>
                    <a:pt x="7760" y="8994"/>
                  </a:cubicBezTo>
                  <a:lnTo>
                    <a:pt x="7399" y="8802"/>
                  </a:lnTo>
                  <a:cubicBezTo>
                    <a:pt x="7247" y="8721"/>
                    <a:pt x="7054" y="8772"/>
                    <a:pt x="6965" y="8910"/>
                  </a:cubicBezTo>
                  <a:cubicBezTo>
                    <a:pt x="6877" y="9048"/>
                    <a:pt x="6925" y="9224"/>
                    <a:pt x="7077" y="9305"/>
                  </a:cubicBezTo>
                  <a:lnTo>
                    <a:pt x="7576" y="9575"/>
                  </a:lnTo>
                  <a:cubicBezTo>
                    <a:pt x="7572" y="9618"/>
                    <a:pt x="7576" y="9662"/>
                    <a:pt x="7576" y="9707"/>
                  </a:cubicBezTo>
                  <a:lnTo>
                    <a:pt x="7576" y="11893"/>
                  </a:lnTo>
                  <a:cubicBezTo>
                    <a:pt x="7576" y="11938"/>
                    <a:pt x="7572" y="11982"/>
                    <a:pt x="7576" y="12025"/>
                  </a:cubicBezTo>
                  <a:lnTo>
                    <a:pt x="7077" y="12295"/>
                  </a:lnTo>
                  <a:cubicBezTo>
                    <a:pt x="6925" y="12376"/>
                    <a:pt x="6877" y="12552"/>
                    <a:pt x="6965" y="12690"/>
                  </a:cubicBezTo>
                  <a:cubicBezTo>
                    <a:pt x="7024" y="12783"/>
                    <a:pt x="7132" y="12834"/>
                    <a:pt x="7241" y="12834"/>
                  </a:cubicBezTo>
                  <a:cubicBezTo>
                    <a:pt x="7295" y="12834"/>
                    <a:pt x="7348" y="12819"/>
                    <a:pt x="7399" y="12792"/>
                  </a:cubicBezTo>
                  <a:lnTo>
                    <a:pt x="7760" y="12606"/>
                  </a:lnTo>
                  <a:cubicBezTo>
                    <a:pt x="8046" y="13130"/>
                    <a:pt x="8639" y="13487"/>
                    <a:pt x="9322" y="13487"/>
                  </a:cubicBezTo>
                  <a:lnTo>
                    <a:pt x="10215" y="13487"/>
                  </a:lnTo>
                  <a:lnTo>
                    <a:pt x="10215" y="13925"/>
                  </a:lnTo>
                  <a:cubicBezTo>
                    <a:pt x="10215" y="14085"/>
                    <a:pt x="10355" y="14212"/>
                    <a:pt x="10530" y="14212"/>
                  </a:cubicBezTo>
                  <a:cubicBezTo>
                    <a:pt x="10705" y="14212"/>
                    <a:pt x="10845" y="14085"/>
                    <a:pt x="10845" y="13925"/>
                  </a:cubicBezTo>
                  <a:lnTo>
                    <a:pt x="10845" y="13487"/>
                  </a:lnTo>
                  <a:lnTo>
                    <a:pt x="11718" y="13487"/>
                  </a:lnTo>
                  <a:cubicBezTo>
                    <a:pt x="12402" y="13487"/>
                    <a:pt x="12995" y="13130"/>
                    <a:pt x="13281" y="12606"/>
                  </a:cubicBezTo>
                  <a:lnTo>
                    <a:pt x="13635" y="12792"/>
                  </a:lnTo>
                  <a:cubicBezTo>
                    <a:pt x="13686" y="12819"/>
                    <a:pt x="13745" y="12834"/>
                    <a:pt x="13800" y="12834"/>
                  </a:cubicBezTo>
                  <a:cubicBezTo>
                    <a:pt x="13909" y="12834"/>
                    <a:pt x="14016" y="12783"/>
                    <a:pt x="14075" y="12690"/>
                  </a:cubicBezTo>
                  <a:cubicBezTo>
                    <a:pt x="14164" y="12552"/>
                    <a:pt x="14115" y="12376"/>
                    <a:pt x="13964" y="12295"/>
                  </a:cubicBezTo>
                  <a:lnTo>
                    <a:pt x="13458" y="12025"/>
                  </a:lnTo>
                  <a:cubicBezTo>
                    <a:pt x="13462" y="11982"/>
                    <a:pt x="13465" y="11938"/>
                    <a:pt x="13465" y="11893"/>
                  </a:cubicBezTo>
                  <a:lnTo>
                    <a:pt x="13465" y="9707"/>
                  </a:lnTo>
                  <a:cubicBezTo>
                    <a:pt x="13465" y="9662"/>
                    <a:pt x="13462" y="9618"/>
                    <a:pt x="13458" y="9575"/>
                  </a:cubicBezTo>
                  <a:lnTo>
                    <a:pt x="13964" y="9305"/>
                  </a:lnTo>
                  <a:cubicBezTo>
                    <a:pt x="14115" y="9224"/>
                    <a:pt x="14164" y="9048"/>
                    <a:pt x="14075" y="8910"/>
                  </a:cubicBezTo>
                  <a:cubicBezTo>
                    <a:pt x="13987" y="8772"/>
                    <a:pt x="13787" y="8721"/>
                    <a:pt x="13635" y="8802"/>
                  </a:cubicBezTo>
                  <a:lnTo>
                    <a:pt x="13281" y="8994"/>
                  </a:lnTo>
                  <a:cubicBezTo>
                    <a:pt x="12995" y="8470"/>
                    <a:pt x="12402" y="8113"/>
                    <a:pt x="11718" y="8113"/>
                  </a:cubicBezTo>
                  <a:lnTo>
                    <a:pt x="10845" y="8113"/>
                  </a:lnTo>
                  <a:lnTo>
                    <a:pt x="10845" y="7675"/>
                  </a:lnTo>
                  <a:cubicBezTo>
                    <a:pt x="10845" y="7515"/>
                    <a:pt x="10705" y="7388"/>
                    <a:pt x="10530" y="7388"/>
                  </a:cubicBezTo>
                  <a:close/>
                  <a:moveTo>
                    <a:pt x="5160" y="7687"/>
                  </a:moveTo>
                  <a:cubicBezTo>
                    <a:pt x="5081" y="7706"/>
                    <a:pt x="5007" y="7756"/>
                    <a:pt x="4963" y="7825"/>
                  </a:cubicBezTo>
                  <a:cubicBezTo>
                    <a:pt x="4874" y="7963"/>
                    <a:pt x="4923" y="8145"/>
                    <a:pt x="5074" y="8227"/>
                  </a:cubicBezTo>
                  <a:lnTo>
                    <a:pt x="6059" y="8754"/>
                  </a:lnTo>
                  <a:cubicBezTo>
                    <a:pt x="6210" y="8835"/>
                    <a:pt x="6410" y="8790"/>
                    <a:pt x="6499" y="8652"/>
                  </a:cubicBezTo>
                  <a:cubicBezTo>
                    <a:pt x="6588" y="8514"/>
                    <a:pt x="6532" y="8332"/>
                    <a:pt x="6381" y="8251"/>
                  </a:cubicBezTo>
                  <a:lnTo>
                    <a:pt x="5396" y="7723"/>
                  </a:lnTo>
                  <a:cubicBezTo>
                    <a:pt x="5321" y="7683"/>
                    <a:pt x="5238" y="7669"/>
                    <a:pt x="5160" y="7687"/>
                  </a:cubicBezTo>
                  <a:close/>
                  <a:moveTo>
                    <a:pt x="15881" y="7687"/>
                  </a:moveTo>
                  <a:cubicBezTo>
                    <a:pt x="15802" y="7669"/>
                    <a:pt x="15720" y="7683"/>
                    <a:pt x="15644" y="7723"/>
                  </a:cubicBezTo>
                  <a:lnTo>
                    <a:pt x="14653" y="8251"/>
                  </a:lnTo>
                  <a:cubicBezTo>
                    <a:pt x="14502" y="8332"/>
                    <a:pt x="14453" y="8514"/>
                    <a:pt x="14541" y="8652"/>
                  </a:cubicBezTo>
                  <a:cubicBezTo>
                    <a:pt x="14630" y="8790"/>
                    <a:pt x="14824" y="8835"/>
                    <a:pt x="14975" y="8754"/>
                  </a:cubicBezTo>
                  <a:lnTo>
                    <a:pt x="15966" y="8227"/>
                  </a:lnTo>
                  <a:cubicBezTo>
                    <a:pt x="16117" y="8145"/>
                    <a:pt x="16160" y="7963"/>
                    <a:pt x="16071" y="7825"/>
                  </a:cubicBezTo>
                  <a:cubicBezTo>
                    <a:pt x="16027" y="7756"/>
                    <a:pt x="15959" y="7706"/>
                    <a:pt x="15881" y="7687"/>
                  </a:cubicBezTo>
                  <a:close/>
                  <a:moveTo>
                    <a:pt x="9322" y="8688"/>
                  </a:moveTo>
                  <a:lnTo>
                    <a:pt x="11718" y="8688"/>
                  </a:lnTo>
                  <a:cubicBezTo>
                    <a:pt x="12331" y="8688"/>
                    <a:pt x="12828" y="9147"/>
                    <a:pt x="12828" y="9707"/>
                  </a:cubicBezTo>
                  <a:lnTo>
                    <a:pt x="12828" y="11893"/>
                  </a:lnTo>
                  <a:cubicBezTo>
                    <a:pt x="12828" y="12452"/>
                    <a:pt x="12331" y="12906"/>
                    <a:pt x="11718" y="12906"/>
                  </a:cubicBezTo>
                  <a:lnTo>
                    <a:pt x="9322" y="12906"/>
                  </a:lnTo>
                  <a:cubicBezTo>
                    <a:pt x="8710" y="12906"/>
                    <a:pt x="8206" y="12452"/>
                    <a:pt x="8206" y="11893"/>
                  </a:cubicBezTo>
                  <a:lnTo>
                    <a:pt x="8206" y="9707"/>
                  </a:lnTo>
                  <a:cubicBezTo>
                    <a:pt x="8206" y="9147"/>
                    <a:pt x="8710" y="8688"/>
                    <a:pt x="9322" y="8688"/>
                  </a:cubicBezTo>
                  <a:close/>
                  <a:moveTo>
                    <a:pt x="6302" y="12816"/>
                  </a:moveTo>
                  <a:cubicBezTo>
                    <a:pt x="6224" y="12798"/>
                    <a:pt x="6135" y="12806"/>
                    <a:pt x="6059" y="12846"/>
                  </a:cubicBezTo>
                  <a:lnTo>
                    <a:pt x="5074" y="13373"/>
                  </a:lnTo>
                  <a:cubicBezTo>
                    <a:pt x="4923" y="13455"/>
                    <a:pt x="4874" y="13637"/>
                    <a:pt x="4963" y="13775"/>
                  </a:cubicBezTo>
                  <a:cubicBezTo>
                    <a:pt x="5052" y="13913"/>
                    <a:pt x="5245" y="13958"/>
                    <a:pt x="5396" y="13877"/>
                  </a:cubicBezTo>
                  <a:lnTo>
                    <a:pt x="6381" y="13349"/>
                  </a:lnTo>
                  <a:cubicBezTo>
                    <a:pt x="6532" y="13268"/>
                    <a:pt x="6588" y="13086"/>
                    <a:pt x="6499" y="12948"/>
                  </a:cubicBezTo>
                  <a:cubicBezTo>
                    <a:pt x="6455" y="12879"/>
                    <a:pt x="6381" y="12835"/>
                    <a:pt x="6302" y="12816"/>
                  </a:cubicBezTo>
                  <a:close/>
                  <a:moveTo>
                    <a:pt x="14732" y="12816"/>
                  </a:moveTo>
                  <a:cubicBezTo>
                    <a:pt x="14653" y="12835"/>
                    <a:pt x="14586" y="12879"/>
                    <a:pt x="14541" y="12948"/>
                  </a:cubicBezTo>
                  <a:cubicBezTo>
                    <a:pt x="14452" y="13086"/>
                    <a:pt x="14502" y="13268"/>
                    <a:pt x="14653" y="13349"/>
                  </a:cubicBezTo>
                  <a:lnTo>
                    <a:pt x="15644" y="13877"/>
                  </a:lnTo>
                  <a:cubicBezTo>
                    <a:pt x="15795" y="13958"/>
                    <a:pt x="15982" y="13913"/>
                    <a:pt x="16071" y="13775"/>
                  </a:cubicBezTo>
                  <a:cubicBezTo>
                    <a:pt x="16160" y="13637"/>
                    <a:pt x="16117" y="13455"/>
                    <a:pt x="15966" y="13373"/>
                  </a:cubicBezTo>
                  <a:lnTo>
                    <a:pt x="14975" y="12846"/>
                  </a:lnTo>
                  <a:cubicBezTo>
                    <a:pt x="14899" y="12806"/>
                    <a:pt x="14810" y="12798"/>
                    <a:pt x="14732" y="12816"/>
                  </a:cubicBezTo>
                  <a:close/>
                  <a:moveTo>
                    <a:pt x="2225" y="13451"/>
                  </a:moveTo>
                  <a:cubicBezTo>
                    <a:pt x="1712" y="13403"/>
                    <a:pt x="1180" y="13538"/>
                    <a:pt x="748" y="13859"/>
                  </a:cubicBezTo>
                  <a:cubicBezTo>
                    <a:pt x="-20" y="14429"/>
                    <a:pt x="-226" y="15419"/>
                    <a:pt x="269" y="16201"/>
                  </a:cubicBezTo>
                  <a:cubicBezTo>
                    <a:pt x="831" y="17079"/>
                    <a:pt x="2069" y="17377"/>
                    <a:pt x="3033" y="16867"/>
                  </a:cubicBezTo>
                  <a:cubicBezTo>
                    <a:pt x="3890" y="16411"/>
                    <a:pt x="4258" y="15458"/>
                    <a:pt x="3899" y="14614"/>
                  </a:cubicBezTo>
                  <a:cubicBezTo>
                    <a:pt x="3899" y="14614"/>
                    <a:pt x="3906" y="14626"/>
                    <a:pt x="3906" y="14626"/>
                  </a:cubicBezTo>
                  <a:lnTo>
                    <a:pt x="4339" y="14398"/>
                  </a:lnTo>
                  <a:cubicBezTo>
                    <a:pt x="4491" y="14318"/>
                    <a:pt x="4545" y="14135"/>
                    <a:pt x="4457" y="13997"/>
                  </a:cubicBezTo>
                  <a:cubicBezTo>
                    <a:pt x="4370" y="13858"/>
                    <a:pt x="4176" y="13815"/>
                    <a:pt x="4024" y="13895"/>
                  </a:cubicBezTo>
                  <a:lnTo>
                    <a:pt x="3584" y="14122"/>
                  </a:lnTo>
                  <a:cubicBezTo>
                    <a:pt x="3233" y="13728"/>
                    <a:pt x="2739" y="13500"/>
                    <a:pt x="2225" y="13451"/>
                  </a:cubicBezTo>
                  <a:close/>
                  <a:moveTo>
                    <a:pt x="19341" y="13469"/>
                  </a:moveTo>
                  <a:cubicBezTo>
                    <a:pt x="18641" y="13366"/>
                    <a:pt x="17909" y="13599"/>
                    <a:pt x="17443" y="14128"/>
                  </a:cubicBezTo>
                  <a:cubicBezTo>
                    <a:pt x="17443" y="14128"/>
                    <a:pt x="17450" y="14116"/>
                    <a:pt x="17450" y="14116"/>
                  </a:cubicBezTo>
                  <a:lnTo>
                    <a:pt x="17017" y="13889"/>
                  </a:lnTo>
                  <a:cubicBezTo>
                    <a:pt x="16865" y="13809"/>
                    <a:pt x="16671" y="13858"/>
                    <a:pt x="16583" y="13997"/>
                  </a:cubicBezTo>
                  <a:cubicBezTo>
                    <a:pt x="16496" y="14135"/>
                    <a:pt x="16549" y="14312"/>
                    <a:pt x="16701" y="14392"/>
                  </a:cubicBezTo>
                  <a:lnTo>
                    <a:pt x="17135" y="14620"/>
                  </a:lnTo>
                  <a:cubicBezTo>
                    <a:pt x="16737" y="15570"/>
                    <a:pt x="17263" y="16636"/>
                    <a:pt x="18303" y="16998"/>
                  </a:cubicBezTo>
                  <a:cubicBezTo>
                    <a:pt x="19228" y="17321"/>
                    <a:pt x="20269" y="16984"/>
                    <a:pt x="20765" y="16201"/>
                  </a:cubicBezTo>
                  <a:cubicBezTo>
                    <a:pt x="21317" y="15318"/>
                    <a:pt x="20983" y="14191"/>
                    <a:pt x="20017" y="13685"/>
                  </a:cubicBezTo>
                  <a:cubicBezTo>
                    <a:pt x="19802" y="13573"/>
                    <a:pt x="19574" y="13504"/>
                    <a:pt x="19341" y="13469"/>
                  </a:cubicBezTo>
                  <a:close/>
                  <a:moveTo>
                    <a:pt x="19196" y="14021"/>
                  </a:moveTo>
                  <a:cubicBezTo>
                    <a:pt x="19374" y="14041"/>
                    <a:pt x="19550" y="14095"/>
                    <a:pt x="19715" y="14182"/>
                  </a:cubicBezTo>
                  <a:cubicBezTo>
                    <a:pt x="20375" y="14531"/>
                    <a:pt x="20601" y="15299"/>
                    <a:pt x="20220" y="15902"/>
                  </a:cubicBezTo>
                  <a:cubicBezTo>
                    <a:pt x="19837" y="16505"/>
                    <a:pt x="18991" y="16713"/>
                    <a:pt x="18330" y="16363"/>
                  </a:cubicBezTo>
                  <a:cubicBezTo>
                    <a:pt x="17670" y="16014"/>
                    <a:pt x="17444" y="15247"/>
                    <a:pt x="17824" y="14644"/>
                  </a:cubicBezTo>
                  <a:cubicBezTo>
                    <a:pt x="18111" y="14191"/>
                    <a:pt x="18661" y="13959"/>
                    <a:pt x="19196" y="14021"/>
                  </a:cubicBezTo>
                  <a:close/>
                  <a:moveTo>
                    <a:pt x="1858" y="14039"/>
                  </a:moveTo>
                  <a:cubicBezTo>
                    <a:pt x="2392" y="13978"/>
                    <a:pt x="2936" y="14204"/>
                    <a:pt x="3223" y="14656"/>
                  </a:cubicBezTo>
                  <a:cubicBezTo>
                    <a:pt x="3604" y="15260"/>
                    <a:pt x="3373" y="16033"/>
                    <a:pt x="2711" y="16381"/>
                  </a:cubicBezTo>
                  <a:cubicBezTo>
                    <a:pt x="2050" y="16728"/>
                    <a:pt x="1209" y="16522"/>
                    <a:pt x="827" y="15920"/>
                  </a:cubicBezTo>
                  <a:cubicBezTo>
                    <a:pt x="446" y="15316"/>
                    <a:pt x="670" y="14542"/>
                    <a:pt x="1332" y="14194"/>
                  </a:cubicBezTo>
                  <a:cubicBezTo>
                    <a:pt x="1498" y="14108"/>
                    <a:pt x="1680" y="14059"/>
                    <a:pt x="1858" y="14039"/>
                  </a:cubicBezTo>
                  <a:close/>
                  <a:moveTo>
                    <a:pt x="10517" y="14889"/>
                  </a:moveTo>
                  <a:cubicBezTo>
                    <a:pt x="10342" y="14889"/>
                    <a:pt x="10202" y="15017"/>
                    <a:pt x="10202" y="15177"/>
                  </a:cubicBezTo>
                  <a:lnTo>
                    <a:pt x="10202" y="16225"/>
                  </a:lnTo>
                  <a:cubicBezTo>
                    <a:pt x="10202" y="16385"/>
                    <a:pt x="10342" y="16513"/>
                    <a:pt x="10517" y="16513"/>
                  </a:cubicBezTo>
                  <a:cubicBezTo>
                    <a:pt x="10692" y="16513"/>
                    <a:pt x="10839" y="16385"/>
                    <a:pt x="10839" y="16225"/>
                  </a:cubicBezTo>
                  <a:lnTo>
                    <a:pt x="10839" y="15177"/>
                  </a:lnTo>
                  <a:cubicBezTo>
                    <a:pt x="10839" y="15017"/>
                    <a:pt x="10692" y="14889"/>
                    <a:pt x="10517" y="14889"/>
                  </a:cubicBezTo>
                  <a:close/>
                  <a:moveTo>
                    <a:pt x="10524" y="17190"/>
                  </a:moveTo>
                  <a:cubicBezTo>
                    <a:pt x="10348" y="17190"/>
                    <a:pt x="10202" y="17324"/>
                    <a:pt x="10202" y="17484"/>
                  </a:cubicBezTo>
                  <a:lnTo>
                    <a:pt x="10202" y="17945"/>
                  </a:lnTo>
                  <a:cubicBezTo>
                    <a:pt x="9102" y="18106"/>
                    <a:pt x="8358" y="19050"/>
                    <a:pt x="8534" y="20054"/>
                  </a:cubicBezTo>
                  <a:cubicBezTo>
                    <a:pt x="8691" y="20946"/>
                    <a:pt x="9533" y="21599"/>
                    <a:pt x="10524" y="21600"/>
                  </a:cubicBezTo>
                  <a:cubicBezTo>
                    <a:pt x="11638" y="21594"/>
                    <a:pt x="12535" y="20771"/>
                    <a:pt x="12533" y="19755"/>
                  </a:cubicBezTo>
                  <a:cubicBezTo>
                    <a:pt x="12529" y="18849"/>
                    <a:pt x="11806" y="18077"/>
                    <a:pt x="10826" y="17939"/>
                  </a:cubicBezTo>
                  <a:cubicBezTo>
                    <a:pt x="10826" y="17939"/>
                    <a:pt x="10839" y="17939"/>
                    <a:pt x="10839" y="17939"/>
                  </a:cubicBezTo>
                  <a:lnTo>
                    <a:pt x="10839" y="17484"/>
                  </a:lnTo>
                  <a:cubicBezTo>
                    <a:pt x="10839" y="17324"/>
                    <a:pt x="10699" y="17190"/>
                    <a:pt x="10524" y="17190"/>
                  </a:cubicBezTo>
                  <a:close/>
                  <a:moveTo>
                    <a:pt x="10530" y="18496"/>
                  </a:moveTo>
                  <a:cubicBezTo>
                    <a:pt x="11294" y="18497"/>
                    <a:pt x="11910" y="19063"/>
                    <a:pt x="11909" y="19761"/>
                  </a:cubicBezTo>
                  <a:cubicBezTo>
                    <a:pt x="11908" y="20456"/>
                    <a:pt x="11293" y="21024"/>
                    <a:pt x="10530" y="21025"/>
                  </a:cubicBezTo>
                  <a:cubicBezTo>
                    <a:pt x="9766" y="21024"/>
                    <a:pt x="9144" y="20458"/>
                    <a:pt x="9145" y="19761"/>
                  </a:cubicBezTo>
                  <a:cubicBezTo>
                    <a:pt x="9146" y="19065"/>
                    <a:pt x="9768" y="18497"/>
                    <a:pt x="10530" y="18496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FFFFFF"/>
              </a:solidFill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19" name="CuadroTexto 18">
            <a:extLst>
              <a:ext uri="{FF2B5EF4-FFF2-40B4-BE49-F238E27FC236}">
                <a16:creationId xmlns:a16="http://schemas.microsoft.com/office/drawing/2014/main" id="{25AD3FB9-77F8-F098-385E-62A1A83338ED}"/>
              </a:ext>
            </a:extLst>
          </p:cNvPr>
          <p:cNvSpPr txBox="1"/>
          <p:nvPr/>
        </p:nvSpPr>
        <p:spPr>
          <a:xfrm>
            <a:off x="3085731" y="3318610"/>
            <a:ext cx="54057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POR DEFINIR</a:t>
            </a:r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18112261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1">
            <a:extLst>
              <a:ext uri="{FF2B5EF4-FFF2-40B4-BE49-F238E27FC236}">
                <a16:creationId xmlns:a16="http://schemas.microsoft.com/office/drawing/2014/main" id="{129A87A1-094C-1FE7-D1D1-3CD416CE780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27" r="27"/>
          <a:stretch>
            <a:fillRect/>
          </a:stretch>
        </p:blipFill>
        <p:spPr/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0C1BD4EB-3868-4293-F6AB-14D40953A1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  <p:grpSp>
        <p:nvGrpSpPr>
          <p:cNvPr id="73" name="Group 72">
            <a:extLst>
              <a:ext uri="{FF2B5EF4-FFF2-40B4-BE49-F238E27FC236}">
                <a16:creationId xmlns:a16="http://schemas.microsoft.com/office/drawing/2014/main" id="{66D97D18-2DB0-6FBE-B247-5B32934FE7C4}"/>
              </a:ext>
            </a:extLst>
          </p:cNvPr>
          <p:cNvGrpSpPr/>
          <p:nvPr/>
        </p:nvGrpSpPr>
        <p:grpSpPr>
          <a:xfrm>
            <a:off x="5135467" y="0"/>
            <a:ext cx="7056533" cy="6858000"/>
            <a:chOff x="5135467" y="0"/>
            <a:chExt cx="7056533" cy="6858000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7B569BC-CDBB-27D6-16B1-09AA7992020C}"/>
                </a:ext>
              </a:extLst>
            </p:cNvPr>
            <p:cNvGrpSpPr/>
            <p:nvPr/>
          </p:nvGrpSpPr>
          <p:grpSpPr>
            <a:xfrm>
              <a:off x="5345289" y="389314"/>
              <a:ext cx="6062787" cy="6079372"/>
              <a:chOff x="5345289" y="389314"/>
              <a:chExt cx="6062787" cy="6079372"/>
            </a:xfrm>
          </p:grpSpPr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79DD9EB9-9A11-2052-2A63-F05E4DC9C5E8}"/>
                  </a:ext>
                </a:extLst>
              </p:cNvPr>
              <p:cNvSpPr/>
              <p:nvPr/>
            </p:nvSpPr>
            <p:spPr>
              <a:xfrm>
                <a:off x="5345289" y="389314"/>
                <a:ext cx="2979005" cy="2977535"/>
              </a:xfrm>
              <a:custGeom>
                <a:avLst/>
                <a:gdLst>
                  <a:gd name="connsiteX0" fmla="*/ 2572233 w 2573506"/>
                  <a:gd name="connsiteY0" fmla="*/ 0 h 2572236"/>
                  <a:gd name="connsiteX1" fmla="*/ 2572233 w 2573506"/>
                  <a:gd name="connsiteY1" fmla="*/ 142684 h 2572236"/>
                  <a:gd name="connsiteX2" fmla="*/ 2573506 w 2573506"/>
                  <a:gd name="connsiteY2" fmla="*/ 142684 h 2572236"/>
                  <a:gd name="connsiteX3" fmla="*/ 2573506 w 2573506"/>
                  <a:gd name="connsiteY3" fmla="*/ 1062736 h 2572236"/>
                  <a:gd name="connsiteX4" fmla="*/ 2572233 w 2573506"/>
                  <a:gd name="connsiteY4" fmla="*/ 1062736 h 2572236"/>
                  <a:gd name="connsiteX5" fmla="*/ 2572233 w 2573506"/>
                  <a:gd name="connsiteY5" fmla="*/ 1211105 h 2572236"/>
                  <a:gd name="connsiteX6" fmla="*/ 2572234 w 2573506"/>
                  <a:gd name="connsiteY6" fmla="*/ 1211105 h 2572236"/>
                  <a:gd name="connsiteX7" fmla="*/ 2572234 w 2573506"/>
                  <a:gd name="connsiteY7" fmla="*/ 1511286 h 2572236"/>
                  <a:gd name="connsiteX8" fmla="*/ 2504193 w 2573506"/>
                  <a:gd name="connsiteY8" fmla="*/ 1514721 h 2572236"/>
                  <a:gd name="connsiteX9" fmla="*/ 1502254 w 2573506"/>
                  <a:gd name="connsiteY9" fmla="*/ 2516661 h 2572236"/>
                  <a:gd name="connsiteX10" fmla="*/ 1499448 w 2573506"/>
                  <a:gd name="connsiteY10" fmla="*/ 2572236 h 2572236"/>
                  <a:gd name="connsiteX11" fmla="*/ 1224473 w 2573506"/>
                  <a:gd name="connsiteY11" fmla="*/ 2572236 h 2572236"/>
                  <a:gd name="connsiteX12" fmla="*/ 1224473 w 2573506"/>
                  <a:gd name="connsiteY12" fmla="*/ 2572235 h 2572236"/>
                  <a:gd name="connsiteX13" fmla="*/ 1116361 w 2573506"/>
                  <a:gd name="connsiteY13" fmla="*/ 2572235 h 2572236"/>
                  <a:gd name="connsiteX14" fmla="*/ 825525 w 2573506"/>
                  <a:gd name="connsiteY14" fmla="*/ 2572235 h 2572236"/>
                  <a:gd name="connsiteX15" fmla="*/ 383107 w 2573506"/>
                  <a:gd name="connsiteY15" fmla="*/ 2572235 h 2572236"/>
                  <a:gd name="connsiteX16" fmla="*/ 154670 w 2573506"/>
                  <a:gd name="connsiteY16" fmla="*/ 2572235 h 2572236"/>
                  <a:gd name="connsiteX17" fmla="*/ 0 w 2573506"/>
                  <a:gd name="connsiteY17" fmla="*/ 2572235 h 2572236"/>
                  <a:gd name="connsiteX18" fmla="*/ 2572233 w 2573506"/>
                  <a:gd name="connsiteY18" fmla="*/ 0 h 2572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73506" h="2572236">
                    <a:moveTo>
                      <a:pt x="2572233" y="0"/>
                    </a:moveTo>
                    <a:lnTo>
                      <a:pt x="2572233" y="142684"/>
                    </a:lnTo>
                    <a:lnTo>
                      <a:pt x="2573506" y="142684"/>
                    </a:lnTo>
                    <a:lnTo>
                      <a:pt x="2573506" y="1062736"/>
                    </a:lnTo>
                    <a:lnTo>
                      <a:pt x="2572233" y="1062736"/>
                    </a:lnTo>
                    <a:lnTo>
                      <a:pt x="2572233" y="1211105"/>
                    </a:lnTo>
                    <a:lnTo>
                      <a:pt x="2572234" y="1211105"/>
                    </a:lnTo>
                    <a:lnTo>
                      <a:pt x="2572234" y="1511286"/>
                    </a:lnTo>
                    <a:lnTo>
                      <a:pt x="2504193" y="1514721"/>
                    </a:lnTo>
                    <a:cubicBezTo>
                      <a:pt x="1975899" y="1568373"/>
                      <a:pt x="1555905" y="1988366"/>
                      <a:pt x="1502254" y="2516661"/>
                    </a:cubicBezTo>
                    <a:lnTo>
                      <a:pt x="1499448" y="2572236"/>
                    </a:lnTo>
                    <a:lnTo>
                      <a:pt x="1224473" y="2572236"/>
                    </a:lnTo>
                    <a:lnTo>
                      <a:pt x="1224473" y="2572235"/>
                    </a:lnTo>
                    <a:lnTo>
                      <a:pt x="1116361" y="2572235"/>
                    </a:lnTo>
                    <a:lnTo>
                      <a:pt x="825525" y="2572235"/>
                    </a:lnTo>
                    <a:lnTo>
                      <a:pt x="383107" y="2572235"/>
                    </a:lnTo>
                    <a:lnTo>
                      <a:pt x="154670" y="2572235"/>
                    </a:lnTo>
                    <a:lnTo>
                      <a:pt x="0" y="2572235"/>
                    </a:lnTo>
                    <a:cubicBezTo>
                      <a:pt x="0" y="1151629"/>
                      <a:pt x="1151628" y="0"/>
                      <a:pt x="257223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277DB8B2-1FF9-AD82-2034-76C722C70DC8}"/>
                  </a:ext>
                </a:extLst>
              </p:cNvPr>
              <p:cNvSpPr/>
              <p:nvPr/>
            </p:nvSpPr>
            <p:spPr>
              <a:xfrm>
                <a:off x="8424327" y="389315"/>
                <a:ext cx="2983749" cy="2977535"/>
              </a:xfrm>
              <a:custGeom>
                <a:avLst/>
                <a:gdLst>
                  <a:gd name="connsiteX0" fmla="*/ 0 w 2577604"/>
                  <a:gd name="connsiteY0" fmla="*/ 0 h 2572236"/>
                  <a:gd name="connsiteX1" fmla="*/ 2577604 w 2577604"/>
                  <a:gd name="connsiteY1" fmla="*/ 2572235 h 2572236"/>
                  <a:gd name="connsiteX2" fmla="*/ 2186404 w 2577604"/>
                  <a:gd name="connsiteY2" fmla="*/ 2572235 h 2572236"/>
                  <a:gd name="connsiteX3" fmla="*/ 2186404 w 2577604"/>
                  <a:gd name="connsiteY3" fmla="*/ 2572234 h 2572236"/>
                  <a:gd name="connsiteX4" fmla="*/ 1743066 w 2577604"/>
                  <a:gd name="connsiteY4" fmla="*/ 2572234 h 2572236"/>
                  <a:gd name="connsiteX5" fmla="*/ 1743066 w 2577604"/>
                  <a:gd name="connsiteY5" fmla="*/ 2572235 h 2572236"/>
                  <a:gd name="connsiteX6" fmla="*/ 1345851 w 2577604"/>
                  <a:gd name="connsiteY6" fmla="*/ 2572235 h 2572236"/>
                  <a:gd name="connsiteX7" fmla="*/ 1345851 w 2577604"/>
                  <a:gd name="connsiteY7" fmla="*/ 2572236 h 2572236"/>
                  <a:gd name="connsiteX8" fmla="*/ 1078555 w 2577604"/>
                  <a:gd name="connsiteY8" fmla="*/ 2572236 h 2572236"/>
                  <a:gd name="connsiteX9" fmla="*/ 1075749 w 2577604"/>
                  <a:gd name="connsiteY9" fmla="*/ 2516659 h 2572236"/>
                  <a:gd name="connsiteX10" fmla="*/ 73810 w 2577604"/>
                  <a:gd name="connsiteY10" fmla="*/ 1514719 h 2572236"/>
                  <a:gd name="connsiteX11" fmla="*/ 0 w 2577604"/>
                  <a:gd name="connsiteY11" fmla="*/ 1510992 h 2572236"/>
                  <a:gd name="connsiteX12" fmla="*/ 0 w 2577604"/>
                  <a:gd name="connsiteY12" fmla="*/ 1235270 h 2572236"/>
                  <a:gd name="connsiteX13" fmla="*/ 0 w 2577604"/>
                  <a:gd name="connsiteY13" fmla="*/ 1211104 h 2572236"/>
                  <a:gd name="connsiteX14" fmla="*/ 0 w 2577604"/>
                  <a:gd name="connsiteY14" fmla="*/ 998130 h 2572236"/>
                  <a:gd name="connsiteX15" fmla="*/ 0 w 2577604"/>
                  <a:gd name="connsiteY15" fmla="*/ 828762 h 2572236"/>
                  <a:gd name="connsiteX16" fmla="*/ 0 w 2577604"/>
                  <a:gd name="connsiteY16" fmla="*/ 376267 h 2572236"/>
                  <a:gd name="connsiteX17" fmla="*/ 0 w 2577604"/>
                  <a:gd name="connsiteY17" fmla="*/ 142682 h 2572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577604" h="2572236">
                    <a:moveTo>
                      <a:pt x="0" y="0"/>
                    </a:moveTo>
                    <a:cubicBezTo>
                      <a:pt x="1423572" y="0"/>
                      <a:pt x="2577604" y="1151629"/>
                      <a:pt x="2577604" y="2572235"/>
                    </a:cubicBezTo>
                    <a:lnTo>
                      <a:pt x="2186404" y="2572235"/>
                    </a:lnTo>
                    <a:lnTo>
                      <a:pt x="2186404" y="2572234"/>
                    </a:lnTo>
                    <a:lnTo>
                      <a:pt x="1743066" y="2572234"/>
                    </a:lnTo>
                    <a:lnTo>
                      <a:pt x="1743066" y="2572235"/>
                    </a:lnTo>
                    <a:lnTo>
                      <a:pt x="1345851" y="2572235"/>
                    </a:lnTo>
                    <a:lnTo>
                      <a:pt x="1345851" y="2572236"/>
                    </a:lnTo>
                    <a:lnTo>
                      <a:pt x="1078555" y="2572236"/>
                    </a:lnTo>
                    <a:lnTo>
                      <a:pt x="1075749" y="2516659"/>
                    </a:lnTo>
                    <a:cubicBezTo>
                      <a:pt x="1022097" y="1988364"/>
                      <a:pt x="602104" y="1568371"/>
                      <a:pt x="73810" y="1514719"/>
                    </a:cubicBezTo>
                    <a:lnTo>
                      <a:pt x="0" y="1510992"/>
                    </a:lnTo>
                    <a:lnTo>
                      <a:pt x="0" y="1235270"/>
                    </a:lnTo>
                    <a:lnTo>
                      <a:pt x="0" y="1211104"/>
                    </a:lnTo>
                    <a:lnTo>
                      <a:pt x="0" y="998130"/>
                    </a:lnTo>
                    <a:lnTo>
                      <a:pt x="0" y="828762"/>
                    </a:lnTo>
                    <a:lnTo>
                      <a:pt x="0" y="376267"/>
                    </a:lnTo>
                    <a:lnTo>
                      <a:pt x="0" y="14268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4A8A410F-6328-4587-5699-EEB3B46E2480}"/>
                  </a:ext>
                </a:extLst>
              </p:cNvPr>
              <p:cNvSpPr/>
              <p:nvPr/>
            </p:nvSpPr>
            <p:spPr>
              <a:xfrm>
                <a:off x="8424327" y="3489415"/>
                <a:ext cx="2981618" cy="2977539"/>
              </a:xfrm>
              <a:custGeom>
                <a:avLst/>
                <a:gdLst>
                  <a:gd name="connsiteX0" fmla="*/ 1574207 w 2575763"/>
                  <a:gd name="connsiteY0" fmla="*/ 0 h 2572239"/>
                  <a:gd name="connsiteX1" fmla="*/ 2336003 w 2575763"/>
                  <a:gd name="connsiteY1" fmla="*/ 0 h 2572239"/>
                  <a:gd name="connsiteX2" fmla="*/ 2336003 w 2575763"/>
                  <a:gd name="connsiteY2" fmla="*/ 4 h 2572239"/>
                  <a:gd name="connsiteX3" fmla="*/ 2575763 w 2575763"/>
                  <a:gd name="connsiteY3" fmla="*/ 4 h 2572239"/>
                  <a:gd name="connsiteX4" fmla="*/ 1 w 2575763"/>
                  <a:gd name="connsiteY4" fmla="*/ 2572239 h 2572239"/>
                  <a:gd name="connsiteX5" fmla="*/ 1 w 2575763"/>
                  <a:gd name="connsiteY5" fmla="*/ 2219561 h 2572239"/>
                  <a:gd name="connsiteX6" fmla="*/ 0 w 2575763"/>
                  <a:gd name="connsiteY6" fmla="*/ 2219561 h 2572239"/>
                  <a:gd name="connsiteX7" fmla="*/ 0 w 2575763"/>
                  <a:gd name="connsiteY7" fmla="*/ 1256889 h 2572239"/>
                  <a:gd name="connsiteX8" fmla="*/ 1 w 2575763"/>
                  <a:gd name="connsiteY8" fmla="*/ 1256889 h 2572239"/>
                  <a:gd name="connsiteX9" fmla="*/ 1 w 2575763"/>
                  <a:gd name="connsiteY9" fmla="*/ 1073748 h 2572239"/>
                  <a:gd name="connsiteX10" fmla="*/ 73811 w 2575763"/>
                  <a:gd name="connsiteY10" fmla="*/ 1070021 h 2572239"/>
                  <a:gd name="connsiteX11" fmla="*/ 1075749 w 2575763"/>
                  <a:gd name="connsiteY11" fmla="*/ 68082 h 2572239"/>
                  <a:gd name="connsiteX12" fmla="*/ 1079187 w 2575763"/>
                  <a:gd name="connsiteY12" fmla="*/ 3 h 2572239"/>
                  <a:gd name="connsiteX13" fmla="*/ 1345853 w 2575763"/>
                  <a:gd name="connsiteY13" fmla="*/ 3 h 2572239"/>
                  <a:gd name="connsiteX14" fmla="*/ 1345853 w 2575763"/>
                  <a:gd name="connsiteY14" fmla="*/ 4 h 2572239"/>
                  <a:gd name="connsiteX15" fmla="*/ 1574207 w 2575763"/>
                  <a:gd name="connsiteY15" fmla="*/ 4 h 2572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75763" h="2572239">
                    <a:moveTo>
                      <a:pt x="1574207" y="0"/>
                    </a:moveTo>
                    <a:lnTo>
                      <a:pt x="2336003" y="0"/>
                    </a:lnTo>
                    <a:lnTo>
                      <a:pt x="2336003" y="4"/>
                    </a:lnTo>
                    <a:lnTo>
                      <a:pt x="2575763" y="4"/>
                    </a:lnTo>
                    <a:cubicBezTo>
                      <a:pt x="2575763" y="1420611"/>
                      <a:pt x="1422555" y="2572239"/>
                      <a:pt x="1" y="2572239"/>
                    </a:cubicBezTo>
                    <a:lnTo>
                      <a:pt x="1" y="2219561"/>
                    </a:lnTo>
                    <a:lnTo>
                      <a:pt x="0" y="2219561"/>
                    </a:lnTo>
                    <a:lnTo>
                      <a:pt x="0" y="1256889"/>
                    </a:lnTo>
                    <a:lnTo>
                      <a:pt x="1" y="1256889"/>
                    </a:lnTo>
                    <a:lnTo>
                      <a:pt x="1" y="1073748"/>
                    </a:lnTo>
                    <a:lnTo>
                      <a:pt x="73811" y="1070021"/>
                    </a:lnTo>
                    <a:cubicBezTo>
                      <a:pt x="602105" y="1016370"/>
                      <a:pt x="1022097" y="596376"/>
                      <a:pt x="1075749" y="68082"/>
                    </a:cubicBezTo>
                    <a:lnTo>
                      <a:pt x="1079187" y="3"/>
                    </a:lnTo>
                    <a:lnTo>
                      <a:pt x="1345853" y="3"/>
                    </a:lnTo>
                    <a:lnTo>
                      <a:pt x="1345853" y="4"/>
                    </a:lnTo>
                    <a:lnTo>
                      <a:pt x="1574207" y="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3442245C-5127-5FED-1A58-C898F22B1057}"/>
                  </a:ext>
                </a:extLst>
              </p:cNvPr>
              <p:cNvSpPr/>
              <p:nvPr/>
            </p:nvSpPr>
            <p:spPr>
              <a:xfrm>
                <a:off x="5345292" y="3489416"/>
                <a:ext cx="2971652" cy="2979270"/>
              </a:xfrm>
              <a:custGeom>
                <a:avLst/>
                <a:gdLst>
                  <a:gd name="connsiteX0" fmla="*/ 239097 w 2567154"/>
                  <a:gd name="connsiteY0" fmla="*/ 0 h 2573735"/>
                  <a:gd name="connsiteX1" fmla="*/ 1046842 w 2567154"/>
                  <a:gd name="connsiteY1" fmla="*/ 0 h 2573735"/>
                  <a:gd name="connsiteX2" fmla="*/ 1046842 w 2567154"/>
                  <a:gd name="connsiteY2" fmla="*/ 1 h 2573735"/>
                  <a:gd name="connsiteX3" fmla="*/ 1234354 w 2567154"/>
                  <a:gd name="connsiteY3" fmla="*/ 1 h 2573735"/>
                  <a:gd name="connsiteX4" fmla="*/ 1234354 w 2567154"/>
                  <a:gd name="connsiteY4" fmla="*/ 4 h 2573735"/>
                  <a:gd name="connsiteX5" fmla="*/ 1498815 w 2567154"/>
                  <a:gd name="connsiteY5" fmla="*/ 4 h 2573735"/>
                  <a:gd name="connsiteX6" fmla="*/ 1502253 w 2567154"/>
                  <a:gd name="connsiteY6" fmla="*/ 68081 h 2573735"/>
                  <a:gd name="connsiteX7" fmla="*/ 2504192 w 2567154"/>
                  <a:gd name="connsiteY7" fmla="*/ 1070020 h 2573735"/>
                  <a:gd name="connsiteX8" fmla="*/ 2565992 w 2567154"/>
                  <a:gd name="connsiteY8" fmla="*/ 1073141 h 2573735"/>
                  <a:gd name="connsiteX9" fmla="*/ 2565992 w 2567154"/>
                  <a:gd name="connsiteY9" fmla="*/ 1089677 h 2573735"/>
                  <a:gd name="connsiteX10" fmla="*/ 2567154 w 2567154"/>
                  <a:gd name="connsiteY10" fmla="*/ 1089677 h 2573735"/>
                  <a:gd name="connsiteX11" fmla="*/ 2567154 w 2567154"/>
                  <a:gd name="connsiteY11" fmla="*/ 2573735 h 2573735"/>
                  <a:gd name="connsiteX12" fmla="*/ 2307528 w 2567154"/>
                  <a:gd name="connsiteY12" fmla="*/ 2560606 h 2573735"/>
                  <a:gd name="connsiteX13" fmla="*/ 0 w 2567154"/>
                  <a:gd name="connsiteY13" fmla="*/ 1 h 2573735"/>
                  <a:gd name="connsiteX14" fmla="*/ 239097 w 2567154"/>
                  <a:gd name="connsiteY14" fmla="*/ 1 h 2573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567154" h="2573735">
                    <a:moveTo>
                      <a:pt x="239097" y="0"/>
                    </a:moveTo>
                    <a:lnTo>
                      <a:pt x="1046842" y="0"/>
                    </a:lnTo>
                    <a:lnTo>
                      <a:pt x="1046842" y="1"/>
                    </a:lnTo>
                    <a:lnTo>
                      <a:pt x="1234354" y="1"/>
                    </a:lnTo>
                    <a:lnTo>
                      <a:pt x="1234354" y="4"/>
                    </a:lnTo>
                    <a:lnTo>
                      <a:pt x="1498815" y="4"/>
                    </a:lnTo>
                    <a:lnTo>
                      <a:pt x="1502253" y="68081"/>
                    </a:lnTo>
                    <a:cubicBezTo>
                      <a:pt x="1555904" y="596375"/>
                      <a:pt x="1975897" y="1016369"/>
                      <a:pt x="2504192" y="1070020"/>
                    </a:cubicBezTo>
                    <a:lnTo>
                      <a:pt x="2565992" y="1073141"/>
                    </a:lnTo>
                    <a:lnTo>
                      <a:pt x="2565992" y="1089677"/>
                    </a:lnTo>
                    <a:lnTo>
                      <a:pt x="2567154" y="1089677"/>
                    </a:lnTo>
                    <a:lnTo>
                      <a:pt x="2567154" y="2573735"/>
                    </a:lnTo>
                    <a:lnTo>
                      <a:pt x="2307528" y="2560606"/>
                    </a:lnTo>
                    <a:cubicBezTo>
                      <a:pt x="1011424" y="2428796"/>
                      <a:pt x="0" y="1332678"/>
                      <a:pt x="0" y="1"/>
                    </a:cubicBezTo>
                    <a:lnTo>
                      <a:pt x="239097" y="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24459DA0-85C7-D5F8-A749-238285BECF6B}"/>
                  </a:ext>
                </a:extLst>
              </p:cNvPr>
              <p:cNvGrpSpPr/>
              <p:nvPr/>
            </p:nvGrpSpPr>
            <p:grpSpPr>
              <a:xfrm>
                <a:off x="10038811" y="3114412"/>
                <a:ext cx="618056" cy="618056"/>
                <a:chOff x="12264617" y="3634638"/>
                <a:chExt cx="533927" cy="533927"/>
              </a:xfrm>
            </p:grpSpPr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C05FB97B-CC93-EA0B-8108-0D8C0AFBF5B8}"/>
                    </a:ext>
                  </a:extLst>
                </p:cNvPr>
                <p:cNvSpPr/>
                <p:nvPr/>
              </p:nvSpPr>
              <p:spPr>
                <a:xfrm>
                  <a:off x="12264617" y="3634638"/>
                  <a:ext cx="533927" cy="533927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-Regular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L-Shape 24">
                  <a:extLst>
                    <a:ext uri="{FF2B5EF4-FFF2-40B4-BE49-F238E27FC236}">
                      <a16:creationId xmlns:a16="http://schemas.microsoft.com/office/drawing/2014/main" id="{B15286AC-F190-1EE3-26AD-3AC2D2BEEA93}"/>
                    </a:ext>
                  </a:extLst>
                </p:cNvPr>
                <p:cNvSpPr/>
                <p:nvPr/>
              </p:nvSpPr>
              <p:spPr>
                <a:xfrm rot="2700000" flipH="1">
                  <a:off x="12439126" y="3774247"/>
                  <a:ext cx="184909" cy="184909"/>
                </a:xfrm>
                <a:prstGeom prst="corner">
                  <a:avLst>
                    <a:gd name="adj1" fmla="val 17364"/>
                    <a:gd name="adj2" fmla="val 17364"/>
                  </a:avLst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endParaRPr>
                </a:p>
              </p:txBody>
            </p:sp>
          </p:grp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5D041CBC-188F-498C-20A3-7F68B749A59D}"/>
                  </a:ext>
                </a:extLst>
              </p:cNvPr>
              <p:cNvSpPr txBox="1"/>
              <p:nvPr/>
            </p:nvSpPr>
            <p:spPr>
              <a:xfrm rot="18864559">
                <a:off x="6165332" y="1930033"/>
                <a:ext cx="2108973" cy="583264"/>
              </a:xfrm>
              <a:prstGeom prst="rect">
                <a:avLst/>
              </a:prstGeom>
              <a:noFill/>
            </p:spPr>
            <p:txBody>
              <a:bodyPr wrap="none" rtlCol="0" anchor="ctr">
                <a:prstTxWarp prst="textArchUp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udience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9545C98-CC64-D7A6-C253-754574318E12}"/>
                  </a:ext>
                </a:extLst>
              </p:cNvPr>
              <p:cNvSpPr/>
              <p:nvPr/>
            </p:nvSpPr>
            <p:spPr>
              <a:xfrm rot="2870013">
                <a:off x="8365533" y="1850059"/>
                <a:ext cx="2182239" cy="583264"/>
              </a:xfrm>
              <a:prstGeom prst="rect">
                <a:avLst/>
              </a:prstGeom>
            </p:spPr>
            <p:txBody>
              <a:bodyPr wrap="none" anchor="ctr">
                <a:prstTxWarp prst="textArchUp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llocation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1A52DE34-6680-7802-F815-A0134B6FD1B2}"/>
                  </a:ext>
                </a:extLst>
              </p:cNvPr>
              <p:cNvSpPr/>
              <p:nvPr/>
            </p:nvSpPr>
            <p:spPr>
              <a:xfrm rot="18914344">
                <a:off x="8391559" y="4040115"/>
                <a:ext cx="2173304" cy="1018669"/>
              </a:xfrm>
              <a:prstGeom prst="rect">
                <a:avLst/>
              </a:prstGeom>
            </p:spPr>
            <p:txBody>
              <a:bodyPr wrap="none" anchor="ctr">
                <a:prstTxWarp prst="textArchDown">
                  <a:avLst>
                    <a:gd name="adj" fmla="val 976732"/>
                  </a:avLst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ctivation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5B2724D8-6C06-9B7A-98D1-F49BAC6678EB}"/>
                  </a:ext>
                </a:extLst>
              </p:cNvPr>
              <p:cNvSpPr/>
              <p:nvPr/>
            </p:nvSpPr>
            <p:spPr>
              <a:xfrm rot="2812719">
                <a:off x="6020890" y="4390819"/>
                <a:ext cx="2182239" cy="583264"/>
              </a:xfrm>
              <a:prstGeom prst="rect">
                <a:avLst/>
              </a:prstGeom>
            </p:spPr>
            <p:txBody>
              <a:bodyPr wrap="none" anchor="ctr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ttribution</a:t>
                </a:r>
              </a:p>
            </p:txBody>
          </p: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75D5D25B-99CE-332E-A810-D64A7EA8F5C6}"/>
                  </a:ext>
                </a:extLst>
              </p:cNvPr>
              <p:cNvGrpSpPr/>
              <p:nvPr/>
            </p:nvGrpSpPr>
            <p:grpSpPr>
              <a:xfrm>
                <a:off x="8076720" y="1081427"/>
                <a:ext cx="618056" cy="618056"/>
                <a:chOff x="12264617" y="1548657"/>
                <a:chExt cx="533927" cy="533927"/>
              </a:xfrm>
            </p:grpSpPr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82F1450E-AB51-630D-5524-E477A90EAFDC}"/>
                    </a:ext>
                  </a:extLst>
                </p:cNvPr>
                <p:cNvSpPr/>
                <p:nvPr/>
              </p:nvSpPr>
              <p:spPr>
                <a:xfrm>
                  <a:off x="12264617" y="1548657"/>
                  <a:ext cx="533927" cy="533927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-Regular"/>
                    <a:ea typeface="+mn-ea"/>
                    <a:cs typeface="+mn-cs"/>
                  </a:endParaRPr>
                </a:p>
              </p:txBody>
            </p:sp>
            <p:grpSp>
              <p:nvGrpSpPr>
                <p:cNvPr id="48" name="Group 47">
                  <a:extLst>
                    <a:ext uri="{FF2B5EF4-FFF2-40B4-BE49-F238E27FC236}">
                      <a16:creationId xmlns:a16="http://schemas.microsoft.com/office/drawing/2014/main" id="{AD0D39D2-6112-690C-8F75-512E57812543}"/>
                    </a:ext>
                  </a:extLst>
                </p:cNvPr>
                <p:cNvGrpSpPr/>
                <p:nvPr/>
              </p:nvGrpSpPr>
              <p:grpSpPr>
                <a:xfrm>
                  <a:off x="12398632" y="1657567"/>
                  <a:ext cx="265896" cy="316107"/>
                  <a:chOff x="5953896" y="907548"/>
                  <a:chExt cx="397410" cy="472458"/>
                </a:xfrm>
                <a:solidFill>
                  <a:schemeClr val="tx1"/>
                </a:solidFill>
              </p:grpSpPr>
              <p:sp>
                <p:nvSpPr>
                  <p:cNvPr id="49" name="L-Shape 3">
                    <a:extLst>
                      <a:ext uri="{FF2B5EF4-FFF2-40B4-BE49-F238E27FC236}">
                        <a16:creationId xmlns:a16="http://schemas.microsoft.com/office/drawing/2014/main" id="{40D77181-04CA-A30B-8768-7DD74912D0CC}"/>
                      </a:ext>
                    </a:extLst>
                  </p:cNvPr>
                  <p:cNvSpPr/>
                  <p:nvPr/>
                </p:nvSpPr>
                <p:spPr>
                  <a:xfrm rot="18763950" flipH="1">
                    <a:off x="5953896" y="907548"/>
                    <a:ext cx="232873" cy="232873"/>
                  </a:xfrm>
                  <a:prstGeom prst="corner">
                    <a:avLst>
                      <a:gd name="adj1" fmla="val 17364"/>
                      <a:gd name="adj2" fmla="val 17364"/>
                    </a:avLst>
                  </a:prstGeom>
                  <a:solidFill>
                    <a:schemeClr val="bg2">
                      <a:lumMod val="75000"/>
                    </a:scheme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itchFamily="2" charset="77"/>
                      <a:ea typeface="+mn-ea"/>
                      <a:cs typeface="Poppins" pitchFamily="2" charset="77"/>
                    </a:endParaRPr>
                  </a:p>
                </p:txBody>
              </p:sp>
              <p:sp>
                <p:nvSpPr>
                  <p:cNvPr id="50" name="L-Shape 39">
                    <a:extLst>
                      <a:ext uri="{FF2B5EF4-FFF2-40B4-BE49-F238E27FC236}">
                        <a16:creationId xmlns:a16="http://schemas.microsoft.com/office/drawing/2014/main" id="{54F615E1-3B4D-EE0F-20CC-1015B19B283B}"/>
                      </a:ext>
                    </a:extLst>
                  </p:cNvPr>
                  <p:cNvSpPr/>
                  <p:nvPr/>
                </p:nvSpPr>
                <p:spPr>
                  <a:xfrm rot="2836050">
                    <a:off x="6118432" y="1147132"/>
                    <a:ext cx="232875" cy="232873"/>
                  </a:xfrm>
                  <a:prstGeom prst="corner">
                    <a:avLst>
                      <a:gd name="adj1" fmla="val 17364"/>
                      <a:gd name="adj2" fmla="val 17364"/>
                    </a:avLst>
                  </a:prstGeom>
                  <a:solidFill>
                    <a:schemeClr val="bg2">
                      <a:lumMod val="75000"/>
                    </a:scheme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itchFamily="2" charset="77"/>
                      <a:ea typeface="+mn-ea"/>
                      <a:cs typeface="Poppins" pitchFamily="2" charset="77"/>
                    </a:endParaRPr>
                  </a:p>
                </p:txBody>
              </p:sp>
            </p:grpSp>
          </p:grp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7B2F954F-5791-477E-9658-876A0A074D28}"/>
                  </a:ext>
                </a:extLst>
              </p:cNvPr>
              <p:cNvSpPr/>
              <p:nvPr/>
            </p:nvSpPr>
            <p:spPr>
              <a:xfrm>
                <a:off x="5345289" y="389315"/>
                <a:ext cx="2979005" cy="2977534"/>
              </a:xfrm>
              <a:custGeom>
                <a:avLst/>
                <a:gdLst>
                  <a:gd name="connsiteX0" fmla="*/ 2572233 w 2573506"/>
                  <a:gd name="connsiteY0" fmla="*/ 0 h 2572235"/>
                  <a:gd name="connsiteX1" fmla="*/ 2572233 w 2573506"/>
                  <a:gd name="connsiteY1" fmla="*/ 142684 h 2572235"/>
                  <a:gd name="connsiteX2" fmla="*/ 2573506 w 2573506"/>
                  <a:gd name="connsiteY2" fmla="*/ 142684 h 2572235"/>
                  <a:gd name="connsiteX3" fmla="*/ 2573506 w 2573506"/>
                  <a:gd name="connsiteY3" fmla="*/ 238705 h 2572235"/>
                  <a:gd name="connsiteX4" fmla="*/ 2367556 w 2573506"/>
                  <a:gd name="connsiteY4" fmla="*/ 249105 h 2572235"/>
                  <a:gd name="connsiteX5" fmla="*/ 237850 w 2573506"/>
                  <a:gd name="connsiteY5" fmla="*/ 2378811 h 2572235"/>
                  <a:gd name="connsiteX6" fmla="*/ 228083 w 2573506"/>
                  <a:gd name="connsiteY6" fmla="*/ 2572235 h 2572235"/>
                  <a:gd name="connsiteX7" fmla="*/ 154670 w 2573506"/>
                  <a:gd name="connsiteY7" fmla="*/ 2572235 h 2572235"/>
                  <a:gd name="connsiteX8" fmla="*/ 0 w 2573506"/>
                  <a:gd name="connsiteY8" fmla="*/ 2572235 h 2572235"/>
                  <a:gd name="connsiteX9" fmla="*/ 2572233 w 2573506"/>
                  <a:gd name="connsiteY9" fmla="*/ 0 h 2572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73506" h="2572235">
                    <a:moveTo>
                      <a:pt x="2572233" y="0"/>
                    </a:moveTo>
                    <a:lnTo>
                      <a:pt x="2572233" y="142684"/>
                    </a:lnTo>
                    <a:lnTo>
                      <a:pt x="2573506" y="142684"/>
                    </a:lnTo>
                    <a:lnTo>
                      <a:pt x="2573506" y="238705"/>
                    </a:lnTo>
                    <a:lnTo>
                      <a:pt x="2367556" y="249105"/>
                    </a:lnTo>
                    <a:cubicBezTo>
                      <a:pt x="1244622" y="363145"/>
                      <a:pt x="351890" y="1255877"/>
                      <a:pt x="237850" y="2378811"/>
                    </a:cubicBezTo>
                    <a:lnTo>
                      <a:pt x="228083" y="2572235"/>
                    </a:lnTo>
                    <a:lnTo>
                      <a:pt x="154670" y="2572235"/>
                    </a:lnTo>
                    <a:lnTo>
                      <a:pt x="0" y="2572235"/>
                    </a:lnTo>
                    <a:cubicBezTo>
                      <a:pt x="0" y="1151629"/>
                      <a:pt x="1151628" y="0"/>
                      <a:pt x="2572233" y="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6A6534C9-7AEF-FB00-ED33-BE8E9A15A6BA}"/>
                  </a:ext>
                </a:extLst>
              </p:cNvPr>
              <p:cNvSpPr/>
              <p:nvPr/>
            </p:nvSpPr>
            <p:spPr>
              <a:xfrm>
                <a:off x="8424327" y="389316"/>
                <a:ext cx="2983749" cy="2977534"/>
              </a:xfrm>
              <a:custGeom>
                <a:avLst/>
                <a:gdLst>
                  <a:gd name="connsiteX0" fmla="*/ 0 w 2577604"/>
                  <a:gd name="connsiteY0" fmla="*/ 0 h 2572235"/>
                  <a:gd name="connsiteX1" fmla="*/ 2577604 w 2577604"/>
                  <a:gd name="connsiteY1" fmla="*/ 2572235 h 2572235"/>
                  <a:gd name="connsiteX2" fmla="*/ 2335011 w 2577604"/>
                  <a:gd name="connsiteY2" fmla="*/ 2572235 h 2572235"/>
                  <a:gd name="connsiteX3" fmla="*/ 2325244 w 2577604"/>
                  <a:gd name="connsiteY3" fmla="*/ 2378810 h 2572235"/>
                  <a:gd name="connsiteX4" fmla="*/ 195538 w 2577604"/>
                  <a:gd name="connsiteY4" fmla="*/ 249104 h 2572235"/>
                  <a:gd name="connsiteX5" fmla="*/ 0 w 2577604"/>
                  <a:gd name="connsiteY5" fmla="*/ 239230 h 2572235"/>
                  <a:gd name="connsiteX6" fmla="*/ 0 w 2577604"/>
                  <a:gd name="connsiteY6" fmla="*/ 142682 h 2572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77604" h="2572235">
                    <a:moveTo>
                      <a:pt x="0" y="0"/>
                    </a:moveTo>
                    <a:cubicBezTo>
                      <a:pt x="1423572" y="0"/>
                      <a:pt x="2577604" y="1151629"/>
                      <a:pt x="2577604" y="2572235"/>
                    </a:cubicBezTo>
                    <a:lnTo>
                      <a:pt x="2335011" y="2572235"/>
                    </a:lnTo>
                    <a:lnTo>
                      <a:pt x="2325244" y="2378810"/>
                    </a:lnTo>
                    <a:cubicBezTo>
                      <a:pt x="2211204" y="1255876"/>
                      <a:pt x="1318471" y="363144"/>
                      <a:pt x="195538" y="249104"/>
                    </a:cubicBezTo>
                    <a:lnTo>
                      <a:pt x="0" y="239230"/>
                    </a:lnTo>
                    <a:lnTo>
                      <a:pt x="0" y="142682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96EF2B60-7873-2198-35E7-08B3CFAE4208}"/>
                  </a:ext>
                </a:extLst>
              </p:cNvPr>
              <p:cNvSpPr/>
              <p:nvPr/>
            </p:nvSpPr>
            <p:spPr>
              <a:xfrm>
                <a:off x="8424329" y="3489415"/>
                <a:ext cx="2981616" cy="2977539"/>
              </a:xfrm>
              <a:custGeom>
                <a:avLst/>
                <a:gdLst>
                  <a:gd name="connsiteX0" fmla="*/ 2334766 w 2575762"/>
                  <a:gd name="connsiteY0" fmla="*/ 0 h 2572239"/>
                  <a:gd name="connsiteX1" fmla="*/ 2336002 w 2575762"/>
                  <a:gd name="connsiteY1" fmla="*/ 0 h 2572239"/>
                  <a:gd name="connsiteX2" fmla="*/ 2336002 w 2575762"/>
                  <a:gd name="connsiteY2" fmla="*/ 4 h 2572239"/>
                  <a:gd name="connsiteX3" fmla="*/ 2575762 w 2575762"/>
                  <a:gd name="connsiteY3" fmla="*/ 4 h 2572239"/>
                  <a:gd name="connsiteX4" fmla="*/ 0 w 2575762"/>
                  <a:gd name="connsiteY4" fmla="*/ 2572239 h 2572239"/>
                  <a:gd name="connsiteX5" fmla="*/ 0 w 2575762"/>
                  <a:gd name="connsiteY5" fmla="*/ 2328177 h 2572239"/>
                  <a:gd name="connsiteX6" fmla="*/ 195537 w 2575762"/>
                  <a:gd name="connsiteY6" fmla="*/ 2318304 h 2572239"/>
                  <a:gd name="connsiteX7" fmla="*/ 2325243 w 2575762"/>
                  <a:gd name="connsiteY7" fmla="*/ 188598 h 2572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75762" h="2572239">
                    <a:moveTo>
                      <a:pt x="2334766" y="0"/>
                    </a:moveTo>
                    <a:lnTo>
                      <a:pt x="2336002" y="0"/>
                    </a:lnTo>
                    <a:lnTo>
                      <a:pt x="2336002" y="4"/>
                    </a:lnTo>
                    <a:lnTo>
                      <a:pt x="2575762" y="4"/>
                    </a:lnTo>
                    <a:cubicBezTo>
                      <a:pt x="2575762" y="1420611"/>
                      <a:pt x="1422554" y="2572239"/>
                      <a:pt x="0" y="2572239"/>
                    </a:cubicBezTo>
                    <a:lnTo>
                      <a:pt x="0" y="2328177"/>
                    </a:lnTo>
                    <a:lnTo>
                      <a:pt x="195537" y="2318304"/>
                    </a:lnTo>
                    <a:cubicBezTo>
                      <a:pt x="1318470" y="2204264"/>
                      <a:pt x="2211203" y="1311532"/>
                      <a:pt x="2325243" y="188598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7E3844FF-0F92-D8F7-374A-3E4F50CC8BFA}"/>
                  </a:ext>
                </a:extLst>
              </p:cNvPr>
              <p:cNvSpPr/>
              <p:nvPr/>
            </p:nvSpPr>
            <p:spPr>
              <a:xfrm>
                <a:off x="5345292" y="3489417"/>
                <a:ext cx="2971652" cy="2979269"/>
              </a:xfrm>
              <a:custGeom>
                <a:avLst/>
                <a:gdLst>
                  <a:gd name="connsiteX0" fmla="*/ 0 w 2567154"/>
                  <a:gd name="connsiteY0" fmla="*/ 0 h 2573734"/>
                  <a:gd name="connsiteX1" fmla="*/ 228323 w 2567154"/>
                  <a:gd name="connsiteY1" fmla="*/ 0 h 2573734"/>
                  <a:gd name="connsiteX2" fmla="*/ 237847 w 2567154"/>
                  <a:gd name="connsiteY2" fmla="*/ 188596 h 2573734"/>
                  <a:gd name="connsiteX3" fmla="*/ 2367553 w 2567154"/>
                  <a:gd name="connsiteY3" fmla="*/ 2318302 h 2573734"/>
                  <a:gd name="connsiteX4" fmla="*/ 2567154 w 2567154"/>
                  <a:gd name="connsiteY4" fmla="*/ 2328381 h 2573734"/>
                  <a:gd name="connsiteX5" fmla="*/ 2567154 w 2567154"/>
                  <a:gd name="connsiteY5" fmla="*/ 2573734 h 2573734"/>
                  <a:gd name="connsiteX6" fmla="*/ 2307528 w 2567154"/>
                  <a:gd name="connsiteY6" fmla="*/ 2560605 h 2573734"/>
                  <a:gd name="connsiteX7" fmla="*/ 0 w 2567154"/>
                  <a:gd name="connsiteY7" fmla="*/ 0 h 2573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67154" h="2573734">
                    <a:moveTo>
                      <a:pt x="0" y="0"/>
                    </a:moveTo>
                    <a:lnTo>
                      <a:pt x="228323" y="0"/>
                    </a:lnTo>
                    <a:lnTo>
                      <a:pt x="237847" y="188596"/>
                    </a:lnTo>
                    <a:cubicBezTo>
                      <a:pt x="351887" y="1311530"/>
                      <a:pt x="1244619" y="2204262"/>
                      <a:pt x="2367553" y="2318302"/>
                    </a:cubicBezTo>
                    <a:lnTo>
                      <a:pt x="2567154" y="2328381"/>
                    </a:lnTo>
                    <a:lnTo>
                      <a:pt x="2567154" y="2573734"/>
                    </a:lnTo>
                    <a:lnTo>
                      <a:pt x="2307528" y="2560605"/>
                    </a:lnTo>
                    <a:cubicBezTo>
                      <a:pt x="1011424" y="2428795"/>
                      <a:pt x="0" y="1332677"/>
                      <a:pt x="0" y="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B22F6817-7D79-C9AB-2FD8-B4C2333BCCA4}"/>
                  </a:ext>
                </a:extLst>
              </p:cNvPr>
              <p:cNvSpPr/>
              <p:nvPr/>
            </p:nvSpPr>
            <p:spPr>
              <a:xfrm>
                <a:off x="5987644" y="985824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7" name="Google Shape;1138;p39">
                <a:extLst>
                  <a:ext uri="{FF2B5EF4-FFF2-40B4-BE49-F238E27FC236}">
                    <a16:creationId xmlns:a16="http://schemas.microsoft.com/office/drawing/2014/main" id="{AF988C19-359F-7A5A-0023-DDFEEC1272F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94820" y="1174417"/>
                <a:ext cx="504693" cy="34186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55" h="21600" extrusionOk="0">
                    <a:moveTo>
                      <a:pt x="10775" y="0"/>
                    </a:moveTo>
                    <a:cubicBezTo>
                      <a:pt x="8891" y="0"/>
                      <a:pt x="7365" y="2267"/>
                      <a:pt x="7365" y="5054"/>
                    </a:cubicBezTo>
                    <a:cubicBezTo>
                      <a:pt x="7365" y="7841"/>
                      <a:pt x="8891" y="10098"/>
                      <a:pt x="10775" y="10098"/>
                    </a:cubicBezTo>
                    <a:cubicBezTo>
                      <a:pt x="12659" y="10098"/>
                      <a:pt x="14185" y="7841"/>
                      <a:pt x="14185" y="5054"/>
                    </a:cubicBezTo>
                    <a:cubicBezTo>
                      <a:pt x="14185" y="2267"/>
                      <a:pt x="12659" y="0"/>
                      <a:pt x="10775" y="0"/>
                    </a:cubicBezTo>
                    <a:close/>
                    <a:moveTo>
                      <a:pt x="10775" y="920"/>
                    </a:moveTo>
                    <a:cubicBezTo>
                      <a:pt x="12316" y="920"/>
                      <a:pt x="13569" y="2774"/>
                      <a:pt x="13569" y="5054"/>
                    </a:cubicBezTo>
                    <a:cubicBezTo>
                      <a:pt x="13569" y="7334"/>
                      <a:pt x="12316" y="9179"/>
                      <a:pt x="10775" y="9179"/>
                    </a:cubicBezTo>
                    <a:cubicBezTo>
                      <a:pt x="9233" y="9179"/>
                      <a:pt x="7987" y="7334"/>
                      <a:pt x="7987" y="5054"/>
                    </a:cubicBezTo>
                    <a:cubicBezTo>
                      <a:pt x="7987" y="2774"/>
                      <a:pt x="9233" y="920"/>
                      <a:pt x="10775" y="920"/>
                    </a:cubicBezTo>
                    <a:close/>
                    <a:moveTo>
                      <a:pt x="4083" y="3907"/>
                    </a:moveTo>
                    <a:cubicBezTo>
                      <a:pt x="2817" y="3905"/>
                      <a:pt x="1790" y="5418"/>
                      <a:pt x="1789" y="7292"/>
                    </a:cubicBezTo>
                    <a:cubicBezTo>
                      <a:pt x="1788" y="9165"/>
                      <a:pt x="2810" y="10685"/>
                      <a:pt x="4077" y="10686"/>
                    </a:cubicBezTo>
                    <a:cubicBezTo>
                      <a:pt x="5344" y="10687"/>
                      <a:pt x="6371" y="9175"/>
                      <a:pt x="6372" y="7301"/>
                    </a:cubicBezTo>
                    <a:cubicBezTo>
                      <a:pt x="6372" y="7300"/>
                      <a:pt x="6372" y="7293"/>
                      <a:pt x="6372" y="7292"/>
                    </a:cubicBezTo>
                    <a:cubicBezTo>
                      <a:pt x="6370" y="5420"/>
                      <a:pt x="5348" y="3909"/>
                      <a:pt x="4083" y="3907"/>
                    </a:cubicBezTo>
                    <a:close/>
                    <a:moveTo>
                      <a:pt x="17479" y="3907"/>
                    </a:moveTo>
                    <a:cubicBezTo>
                      <a:pt x="16212" y="3907"/>
                      <a:pt x="15184" y="5418"/>
                      <a:pt x="15184" y="7292"/>
                    </a:cubicBezTo>
                    <a:cubicBezTo>
                      <a:pt x="15184" y="9165"/>
                      <a:pt x="16212" y="10686"/>
                      <a:pt x="17479" y="10686"/>
                    </a:cubicBezTo>
                    <a:cubicBezTo>
                      <a:pt x="18746" y="10686"/>
                      <a:pt x="19774" y="9165"/>
                      <a:pt x="19774" y="7292"/>
                    </a:cubicBezTo>
                    <a:cubicBezTo>
                      <a:pt x="19772" y="5417"/>
                      <a:pt x="18745" y="3908"/>
                      <a:pt x="17479" y="3907"/>
                    </a:cubicBezTo>
                    <a:close/>
                    <a:moveTo>
                      <a:pt x="4077" y="4817"/>
                    </a:moveTo>
                    <a:cubicBezTo>
                      <a:pt x="5001" y="4816"/>
                      <a:pt x="5749" y="5925"/>
                      <a:pt x="5750" y="7292"/>
                    </a:cubicBezTo>
                    <a:cubicBezTo>
                      <a:pt x="5749" y="8659"/>
                      <a:pt x="5006" y="9764"/>
                      <a:pt x="4083" y="9766"/>
                    </a:cubicBezTo>
                    <a:cubicBezTo>
                      <a:pt x="3159" y="9768"/>
                      <a:pt x="2405" y="8659"/>
                      <a:pt x="2404" y="7292"/>
                    </a:cubicBezTo>
                    <a:cubicBezTo>
                      <a:pt x="2403" y="5925"/>
                      <a:pt x="3153" y="4818"/>
                      <a:pt x="4077" y="4817"/>
                    </a:cubicBezTo>
                    <a:close/>
                    <a:moveTo>
                      <a:pt x="17479" y="4817"/>
                    </a:moveTo>
                    <a:cubicBezTo>
                      <a:pt x="18403" y="4817"/>
                      <a:pt x="19152" y="5925"/>
                      <a:pt x="19152" y="7292"/>
                    </a:cubicBezTo>
                    <a:cubicBezTo>
                      <a:pt x="19151" y="8658"/>
                      <a:pt x="18403" y="9765"/>
                      <a:pt x="17479" y="9766"/>
                    </a:cubicBezTo>
                    <a:cubicBezTo>
                      <a:pt x="16555" y="9766"/>
                      <a:pt x="15806" y="8659"/>
                      <a:pt x="15806" y="7292"/>
                    </a:cubicBezTo>
                    <a:cubicBezTo>
                      <a:pt x="15806" y="5925"/>
                      <a:pt x="16555" y="4817"/>
                      <a:pt x="17479" y="4817"/>
                    </a:cubicBezTo>
                    <a:close/>
                    <a:moveTo>
                      <a:pt x="10775" y="11246"/>
                    </a:moveTo>
                    <a:cubicBezTo>
                      <a:pt x="9400" y="11246"/>
                      <a:pt x="8026" y="11950"/>
                      <a:pt x="6916" y="13360"/>
                    </a:cubicBezTo>
                    <a:cubicBezTo>
                      <a:pt x="6174" y="12202"/>
                      <a:pt x="5143" y="11536"/>
                      <a:pt x="4064" y="11521"/>
                    </a:cubicBezTo>
                    <a:cubicBezTo>
                      <a:pt x="2059" y="11521"/>
                      <a:pt x="280" y="13959"/>
                      <a:pt x="7" y="17068"/>
                    </a:cubicBezTo>
                    <a:cubicBezTo>
                      <a:pt x="-22" y="17394"/>
                      <a:pt x="47" y="17720"/>
                      <a:pt x="193" y="17968"/>
                    </a:cubicBezTo>
                    <a:cubicBezTo>
                      <a:pt x="336" y="18207"/>
                      <a:pt x="541" y="18346"/>
                      <a:pt x="757" y="18348"/>
                    </a:cubicBezTo>
                    <a:lnTo>
                      <a:pt x="4692" y="18348"/>
                    </a:lnTo>
                    <a:cubicBezTo>
                      <a:pt x="4593" y="18844"/>
                      <a:pt x="4519" y="19352"/>
                      <a:pt x="4474" y="19865"/>
                    </a:cubicBezTo>
                    <a:cubicBezTo>
                      <a:pt x="4435" y="20307"/>
                      <a:pt x="4527" y="20751"/>
                      <a:pt x="4724" y="21088"/>
                    </a:cubicBezTo>
                    <a:cubicBezTo>
                      <a:pt x="4917" y="21413"/>
                      <a:pt x="5195" y="21600"/>
                      <a:pt x="5487" y="21600"/>
                    </a:cubicBezTo>
                    <a:lnTo>
                      <a:pt x="16063" y="21600"/>
                    </a:lnTo>
                    <a:cubicBezTo>
                      <a:pt x="16355" y="21600"/>
                      <a:pt x="16633" y="21413"/>
                      <a:pt x="16825" y="21088"/>
                    </a:cubicBezTo>
                    <a:cubicBezTo>
                      <a:pt x="17023" y="20751"/>
                      <a:pt x="17114" y="20307"/>
                      <a:pt x="17075" y="19865"/>
                    </a:cubicBezTo>
                    <a:cubicBezTo>
                      <a:pt x="17030" y="19352"/>
                      <a:pt x="16957" y="18844"/>
                      <a:pt x="16857" y="18348"/>
                    </a:cubicBezTo>
                    <a:lnTo>
                      <a:pt x="20799" y="18348"/>
                    </a:lnTo>
                    <a:cubicBezTo>
                      <a:pt x="21015" y="18346"/>
                      <a:pt x="21220" y="18208"/>
                      <a:pt x="21363" y="17968"/>
                    </a:cubicBezTo>
                    <a:cubicBezTo>
                      <a:pt x="21509" y="17720"/>
                      <a:pt x="21578" y="17394"/>
                      <a:pt x="21549" y="17068"/>
                    </a:cubicBezTo>
                    <a:cubicBezTo>
                      <a:pt x="21276" y="13959"/>
                      <a:pt x="19490" y="11521"/>
                      <a:pt x="17485" y="11521"/>
                    </a:cubicBezTo>
                    <a:cubicBezTo>
                      <a:pt x="16407" y="11536"/>
                      <a:pt x="15376" y="12202"/>
                      <a:pt x="14633" y="13360"/>
                    </a:cubicBezTo>
                    <a:cubicBezTo>
                      <a:pt x="13523" y="11950"/>
                      <a:pt x="12149" y="11246"/>
                      <a:pt x="10775" y="11246"/>
                    </a:cubicBezTo>
                    <a:close/>
                    <a:moveTo>
                      <a:pt x="10775" y="12165"/>
                    </a:moveTo>
                    <a:cubicBezTo>
                      <a:pt x="13578" y="12165"/>
                      <a:pt x="16075" y="15602"/>
                      <a:pt x="16460" y="19979"/>
                    </a:cubicBezTo>
                    <a:cubicBezTo>
                      <a:pt x="16475" y="20160"/>
                      <a:pt x="16439" y="20343"/>
                      <a:pt x="16357" y="20481"/>
                    </a:cubicBezTo>
                    <a:cubicBezTo>
                      <a:pt x="16283" y="20608"/>
                      <a:pt x="16176" y="20690"/>
                      <a:pt x="16063" y="20690"/>
                    </a:cubicBezTo>
                    <a:lnTo>
                      <a:pt x="5487" y="20690"/>
                    </a:lnTo>
                    <a:cubicBezTo>
                      <a:pt x="5373" y="20690"/>
                      <a:pt x="5267" y="20608"/>
                      <a:pt x="5192" y="20481"/>
                    </a:cubicBezTo>
                    <a:cubicBezTo>
                      <a:pt x="5111" y="20343"/>
                      <a:pt x="5074" y="20160"/>
                      <a:pt x="5090" y="19979"/>
                    </a:cubicBezTo>
                    <a:cubicBezTo>
                      <a:pt x="5474" y="15595"/>
                      <a:pt x="7971" y="12165"/>
                      <a:pt x="10775" y="12165"/>
                    </a:cubicBezTo>
                    <a:close/>
                    <a:moveTo>
                      <a:pt x="4064" y="12440"/>
                    </a:moveTo>
                    <a:cubicBezTo>
                      <a:pt x="4968" y="12456"/>
                      <a:pt x="5831" y="13009"/>
                      <a:pt x="6455" y="13976"/>
                    </a:cubicBezTo>
                    <a:cubicBezTo>
                      <a:pt x="5784" y="14959"/>
                      <a:pt x="5255" y="16131"/>
                      <a:pt x="4904" y="17428"/>
                    </a:cubicBezTo>
                    <a:cubicBezTo>
                      <a:pt x="4904" y="17428"/>
                      <a:pt x="757" y="17428"/>
                      <a:pt x="757" y="17428"/>
                    </a:cubicBezTo>
                    <a:cubicBezTo>
                      <a:pt x="719" y="17428"/>
                      <a:pt x="678" y="17405"/>
                      <a:pt x="654" y="17362"/>
                    </a:cubicBezTo>
                    <a:cubicBezTo>
                      <a:pt x="625" y="17314"/>
                      <a:pt x="616" y="17255"/>
                      <a:pt x="622" y="17191"/>
                    </a:cubicBezTo>
                    <a:cubicBezTo>
                      <a:pt x="855" y="14528"/>
                      <a:pt x="2365" y="12440"/>
                      <a:pt x="4064" y="12440"/>
                    </a:cubicBezTo>
                    <a:close/>
                    <a:moveTo>
                      <a:pt x="17485" y="12440"/>
                    </a:moveTo>
                    <a:cubicBezTo>
                      <a:pt x="19191" y="12440"/>
                      <a:pt x="20695" y="14518"/>
                      <a:pt x="20927" y="17181"/>
                    </a:cubicBezTo>
                    <a:cubicBezTo>
                      <a:pt x="20935" y="17244"/>
                      <a:pt x="20923" y="17313"/>
                      <a:pt x="20895" y="17362"/>
                    </a:cubicBezTo>
                    <a:cubicBezTo>
                      <a:pt x="20871" y="17405"/>
                      <a:pt x="20837" y="17428"/>
                      <a:pt x="20799" y="17428"/>
                    </a:cubicBezTo>
                    <a:lnTo>
                      <a:pt x="16646" y="17428"/>
                    </a:lnTo>
                    <a:cubicBezTo>
                      <a:pt x="16294" y="16131"/>
                      <a:pt x="15766" y="14959"/>
                      <a:pt x="15095" y="13976"/>
                    </a:cubicBezTo>
                    <a:cubicBezTo>
                      <a:pt x="15718" y="13009"/>
                      <a:pt x="16582" y="12456"/>
                      <a:pt x="17485" y="1244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36EB5D9D-5DF4-36C5-618F-411123FE9846}"/>
                  </a:ext>
                </a:extLst>
              </p:cNvPr>
              <p:cNvSpPr/>
              <p:nvPr/>
            </p:nvSpPr>
            <p:spPr>
              <a:xfrm>
                <a:off x="10010932" y="985824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9" name="Google Shape;1124;p39">
                <a:extLst>
                  <a:ext uri="{FF2B5EF4-FFF2-40B4-BE49-F238E27FC236}">
                    <a16:creationId xmlns:a16="http://schemas.microsoft.com/office/drawing/2014/main" id="{18D728D0-8914-4608-F2FC-2AF53C6BBDC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156603" y="1105849"/>
                <a:ext cx="425735" cy="4789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035" h="21600" extrusionOk="0">
                    <a:moveTo>
                      <a:pt x="10517" y="0"/>
                    </a:moveTo>
                    <a:cubicBezTo>
                      <a:pt x="9403" y="6"/>
                      <a:pt x="8505" y="835"/>
                      <a:pt x="8508" y="1851"/>
                    </a:cubicBezTo>
                    <a:cubicBezTo>
                      <a:pt x="8512" y="2757"/>
                      <a:pt x="9235" y="3523"/>
                      <a:pt x="10215" y="3661"/>
                    </a:cubicBezTo>
                    <a:cubicBezTo>
                      <a:pt x="10215" y="3661"/>
                      <a:pt x="10195" y="3661"/>
                      <a:pt x="10195" y="3661"/>
                    </a:cubicBezTo>
                    <a:lnTo>
                      <a:pt x="10195" y="4122"/>
                    </a:lnTo>
                    <a:cubicBezTo>
                      <a:pt x="10195" y="4282"/>
                      <a:pt x="10342" y="4410"/>
                      <a:pt x="10517" y="4410"/>
                    </a:cubicBezTo>
                    <a:cubicBezTo>
                      <a:pt x="10692" y="4410"/>
                      <a:pt x="10832" y="4282"/>
                      <a:pt x="10832" y="4122"/>
                    </a:cubicBezTo>
                    <a:lnTo>
                      <a:pt x="10832" y="3661"/>
                    </a:lnTo>
                    <a:cubicBezTo>
                      <a:pt x="11932" y="3500"/>
                      <a:pt x="12683" y="2556"/>
                      <a:pt x="12506" y="1552"/>
                    </a:cubicBezTo>
                    <a:cubicBezTo>
                      <a:pt x="12350" y="660"/>
                      <a:pt x="11507" y="1"/>
                      <a:pt x="10517" y="0"/>
                    </a:cubicBezTo>
                    <a:close/>
                    <a:moveTo>
                      <a:pt x="10510" y="581"/>
                    </a:moveTo>
                    <a:cubicBezTo>
                      <a:pt x="11274" y="582"/>
                      <a:pt x="11890" y="1148"/>
                      <a:pt x="11889" y="1845"/>
                    </a:cubicBezTo>
                    <a:cubicBezTo>
                      <a:pt x="11888" y="2541"/>
                      <a:pt x="11273" y="3109"/>
                      <a:pt x="10510" y="3110"/>
                    </a:cubicBezTo>
                    <a:cubicBezTo>
                      <a:pt x="9746" y="3109"/>
                      <a:pt x="9124" y="2543"/>
                      <a:pt x="9125" y="1845"/>
                    </a:cubicBezTo>
                    <a:cubicBezTo>
                      <a:pt x="9126" y="1150"/>
                      <a:pt x="9748" y="582"/>
                      <a:pt x="10510" y="581"/>
                    </a:cubicBezTo>
                    <a:close/>
                    <a:moveTo>
                      <a:pt x="2028" y="4482"/>
                    </a:moveTo>
                    <a:cubicBezTo>
                      <a:pt x="1321" y="4478"/>
                      <a:pt x="641" y="4818"/>
                      <a:pt x="269" y="5404"/>
                    </a:cubicBezTo>
                    <a:cubicBezTo>
                      <a:pt x="-283" y="6288"/>
                      <a:pt x="51" y="7415"/>
                      <a:pt x="1017" y="7921"/>
                    </a:cubicBezTo>
                    <a:cubicBezTo>
                      <a:pt x="1878" y="8371"/>
                      <a:pt x="2969" y="8177"/>
                      <a:pt x="3591" y="7472"/>
                    </a:cubicBezTo>
                    <a:cubicBezTo>
                      <a:pt x="3591" y="7472"/>
                      <a:pt x="3584" y="7484"/>
                      <a:pt x="3584" y="7484"/>
                    </a:cubicBezTo>
                    <a:lnTo>
                      <a:pt x="4017" y="7717"/>
                    </a:lnTo>
                    <a:cubicBezTo>
                      <a:pt x="4169" y="7797"/>
                      <a:pt x="4363" y="7748"/>
                      <a:pt x="4451" y="7609"/>
                    </a:cubicBezTo>
                    <a:cubicBezTo>
                      <a:pt x="4538" y="7471"/>
                      <a:pt x="4491" y="7294"/>
                      <a:pt x="4339" y="7214"/>
                    </a:cubicBezTo>
                    <a:lnTo>
                      <a:pt x="3899" y="6980"/>
                    </a:lnTo>
                    <a:cubicBezTo>
                      <a:pt x="4297" y="6030"/>
                      <a:pt x="3778" y="4970"/>
                      <a:pt x="2737" y="4608"/>
                    </a:cubicBezTo>
                    <a:cubicBezTo>
                      <a:pt x="2506" y="4527"/>
                      <a:pt x="2264" y="4483"/>
                      <a:pt x="2028" y="4482"/>
                    </a:cubicBezTo>
                    <a:close/>
                    <a:moveTo>
                      <a:pt x="18763" y="4500"/>
                    </a:moveTo>
                    <a:cubicBezTo>
                      <a:pt x="18503" y="4530"/>
                      <a:pt x="18249" y="4606"/>
                      <a:pt x="18008" y="4733"/>
                    </a:cubicBezTo>
                    <a:cubicBezTo>
                      <a:pt x="17151" y="5189"/>
                      <a:pt x="16782" y="6148"/>
                      <a:pt x="17141" y="6992"/>
                    </a:cubicBezTo>
                    <a:cubicBezTo>
                      <a:pt x="17141" y="6992"/>
                      <a:pt x="17135" y="6980"/>
                      <a:pt x="17135" y="6980"/>
                    </a:cubicBezTo>
                    <a:lnTo>
                      <a:pt x="16695" y="7208"/>
                    </a:lnTo>
                    <a:cubicBezTo>
                      <a:pt x="16543" y="7288"/>
                      <a:pt x="16496" y="7465"/>
                      <a:pt x="16583" y="7603"/>
                    </a:cubicBezTo>
                    <a:cubicBezTo>
                      <a:pt x="16671" y="7742"/>
                      <a:pt x="16865" y="7791"/>
                      <a:pt x="17017" y="7711"/>
                    </a:cubicBezTo>
                    <a:lnTo>
                      <a:pt x="17450" y="7478"/>
                    </a:lnTo>
                    <a:cubicBezTo>
                      <a:pt x="18152" y="8267"/>
                      <a:pt x="19428" y="8388"/>
                      <a:pt x="20293" y="7747"/>
                    </a:cubicBezTo>
                    <a:cubicBezTo>
                      <a:pt x="21061" y="7177"/>
                      <a:pt x="21260" y="6181"/>
                      <a:pt x="20765" y="5399"/>
                    </a:cubicBezTo>
                    <a:cubicBezTo>
                      <a:pt x="20343" y="4740"/>
                      <a:pt x="19543" y="4409"/>
                      <a:pt x="18763" y="4500"/>
                    </a:cubicBezTo>
                    <a:close/>
                    <a:moveTo>
                      <a:pt x="18842" y="5063"/>
                    </a:moveTo>
                    <a:cubicBezTo>
                      <a:pt x="19376" y="5003"/>
                      <a:pt x="19927" y="5234"/>
                      <a:pt x="20214" y="5686"/>
                    </a:cubicBezTo>
                    <a:cubicBezTo>
                      <a:pt x="20595" y="6290"/>
                      <a:pt x="20364" y="7058"/>
                      <a:pt x="19702" y="7406"/>
                    </a:cubicBezTo>
                    <a:cubicBezTo>
                      <a:pt x="19041" y="7753"/>
                      <a:pt x="18200" y="7547"/>
                      <a:pt x="17817" y="6944"/>
                    </a:cubicBezTo>
                    <a:cubicBezTo>
                      <a:pt x="17436" y="6340"/>
                      <a:pt x="17661" y="5573"/>
                      <a:pt x="18323" y="5225"/>
                    </a:cubicBezTo>
                    <a:cubicBezTo>
                      <a:pt x="18488" y="5138"/>
                      <a:pt x="18664" y="5083"/>
                      <a:pt x="18842" y="5063"/>
                    </a:cubicBezTo>
                    <a:close/>
                    <a:moveTo>
                      <a:pt x="2186" y="5081"/>
                    </a:moveTo>
                    <a:cubicBezTo>
                      <a:pt x="2364" y="5101"/>
                      <a:pt x="2539" y="5155"/>
                      <a:pt x="2704" y="5243"/>
                    </a:cubicBezTo>
                    <a:cubicBezTo>
                      <a:pt x="3364" y="5592"/>
                      <a:pt x="3590" y="6359"/>
                      <a:pt x="3210" y="6962"/>
                    </a:cubicBezTo>
                    <a:cubicBezTo>
                      <a:pt x="2827" y="7566"/>
                      <a:pt x="1980" y="7773"/>
                      <a:pt x="1319" y="7424"/>
                    </a:cubicBezTo>
                    <a:cubicBezTo>
                      <a:pt x="659" y="7075"/>
                      <a:pt x="433" y="6301"/>
                      <a:pt x="814" y="5698"/>
                    </a:cubicBezTo>
                    <a:cubicBezTo>
                      <a:pt x="1101" y="5246"/>
                      <a:pt x="1651" y="5020"/>
                      <a:pt x="2186" y="5081"/>
                    </a:cubicBezTo>
                    <a:close/>
                    <a:moveTo>
                      <a:pt x="10517" y="5081"/>
                    </a:moveTo>
                    <a:cubicBezTo>
                      <a:pt x="10342" y="5081"/>
                      <a:pt x="10202" y="5215"/>
                      <a:pt x="10202" y="5375"/>
                    </a:cubicBezTo>
                    <a:lnTo>
                      <a:pt x="10202" y="6417"/>
                    </a:lnTo>
                    <a:cubicBezTo>
                      <a:pt x="10202" y="6577"/>
                      <a:pt x="10342" y="6705"/>
                      <a:pt x="10517" y="6705"/>
                    </a:cubicBezTo>
                    <a:cubicBezTo>
                      <a:pt x="10692" y="6705"/>
                      <a:pt x="10839" y="6577"/>
                      <a:pt x="10839" y="6417"/>
                    </a:cubicBezTo>
                    <a:lnTo>
                      <a:pt x="10839" y="5375"/>
                    </a:lnTo>
                    <a:cubicBezTo>
                      <a:pt x="10839" y="5215"/>
                      <a:pt x="10692" y="5081"/>
                      <a:pt x="10517" y="5081"/>
                    </a:cubicBezTo>
                    <a:close/>
                    <a:moveTo>
                      <a:pt x="10530" y="7388"/>
                    </a:moveTo>
                    <a:cubicBezTo>
                      <a:pt x="10355" y="7388"/>
                      <a:pt x="10215" y="7515"/>
                      <a:pt x="10215" y="7675"/>
                    </a:cubicBezTo>
                    <a:lnTo>
                      <a:pt x="10215" y="8113"/>
                    </a:lnTo>
                    <a:lnTo>
                      <a:pt x="9322" y="8113"/>
                    </a:lnTo>
                    <a:cubicBezTo>
                      <a:pt x="8639" y="8113"/>
                      <a:pt x="8046" y="8470"/>
                      <a:pt x="7760" y="8994"/>
                    </a:cubicBezTo>
                    <a:lnTo>
                      <a:pt x="7399" y="8802"/>
                    </a:lnTo>
                    <a:cubicBezTo>
                      <a:pt x="7247" y="8721"/>
                      <a:pt x="7054" y="8772"/>
                      <a:pt x="6965" y="8910"/>
                    </a:cubicBezTo>
                    <a:cubicBezTo>
                      <a:pt x="6877" y="9048"/>
                      <a:pt x="6925" y="9224"/>
                      <a:pt x="7077" y="9305"/>
                    </a:cubicBezTo>
                    <a:lnTo>
                      <a:pt x="7576" y="9575"/>
                    </a:lnTo>
                    <a:cubicBezTo>
                      <a:pt x="7572" y="9618"/>
                      <a:pt x="7576" y="9662"/>
                      <a:pt x="7576" y="9707"/>
                    </a:cubicBezTo>
                    <a:lnTo>
                      <a:pt x="7576" y="11893"/>
                    </a:lnTo>
                    <a:cubicBezTo>
                      <a:pt x="7576" y="11938"/>
                      <a:pt x="7572" y="11982"/>
                      <a:pt x="7576" y="12025"/>
                    </a:cubicBezTo>
                    <a:lnTo>
                      <a:pt x="7077" y="12295"/>
                    </a:lnTo>
                    <a:cubicBezTo>
                      <a:pt x="6925" y="12376"/>
                      <a:pt x="6877" y="12552"/>
                      <a:pt x="6965" y="12690"/>
                    </a:cubicBezTo>
                    <a:cubicBezTo>
                      <a:pt x="7024" y="12783"/>
                      <a:pt x="7132" y="12834"/>
                      <a:pt x="7241" y="12834"/>
                    </a:cubicBezTo>
                    <a:cubicBezTo>
                      <a:pt x="7295" y="12834"/>
                      <a:pt x="7348" y="12819"/>
                      <a:pt x="7399" y="12792"/>
                    </a:cubicBezTo>
                    <a:lnTo>
                      <a:pt x="7760" y="12606"/>
                    </a:lnTo>
                    <a:cubicBezTo>
                      <a:pt x="8046" y="13130"/>
                      <a:pt x="8639" y="13487"/>
                      <a:pt x="9322" y="13487"/>
                    </a:cubicBezTo>
                    <a:lnTo>
                      <a:pt x="10215" y="13487"/>
                    </a:lnTo>
                    <a:lnTo>
                      <a:pt x="10215" y="13925"/>
                    </a:lnTo>
                    <a:cubicBezTo>
                      <a:pt x="10215" y="14085"/>
                      <a:pt x="10355" y="14212"/>
                      <a:pt x="10530" y="14212"/>
                    </a:cubicBezTo>
                    <a:cubicBezTo>
                      <a:pt x="10705" y="14212"/>
                      <a:pt x="10845" y="14085"/>
                      <a:pt x="10845" y="13925"/>
                    </a:cubicBezTo>
                    <a:lnTo>
                      <a:pt x="10845" y="13487"/>
                    </a:lnTo>
                    <a:lnTo>
                      <a:pt x="11718" y="13487"/>
                    </a:lnTo>
                    <a:cubicBezTo>
                      <a:pt x="12402" y="13487"/>
                      <a:pt x="12995" y="13130"/>
                      <a:pt x="13281" y="12606"/>
                    </a:cubicBezTo>
                    <a:lnTo>
                      <a:pt x="13635" y="12792"/>
                    </a:lnTo>
                    <a:cubicBezTo>
                      <a:pt x="13686" y="12819"/>
                      <a:pt x="13745" y="12834"/>
                      <a:pt x="13800" y="12834"/>
                    </a:cubicBezTo>
                    <a:cubicBezTo>
                      <a:pt x="13909" y="12834"/>
                      <a:pt x="14016" y="12783"/>
                      <a:pt x="14075" y="12690"/>
                    </a:cubicBezTo>
                    <a:cubicBezTo>
                      <a:pt x="14164" y="12552"/>
                      <a:pt x="14115" y="12376"/>
                      <a:pt x="13964" y="12295"/>
                    </a:cubicBezTo>
                    <a:lnTo>
                      <a:pt x="13458" y="12025"/>
                    </a:lnTo>
                    <a:cubicBezTo>
                      <a:pt x="13462" y="11982"/>
                      <a:pt x="13465" y="11938"/>
                      <a:pt x="13465" y="11893"/>
                    </a:cubicBezTo>
                    <a:lnTo>
                      <a:pt x="13465" y="9707"/>
                    </a:lnTo>
                    <a:cubicBezTo>
                      <a:pt x="13465" y="9662"/>
                      <a:pt x="13462" y="9618"/>
                      <a:pt x="13458" y="9575"/>
                    </a:cubicBezTo>
                    <a:lnTo>
                      <a:pt x="13964" y="9305"/>
                    </a:lnTo>
                    <a:cubicBezTo>
                      <a:pt x="14115" y="9224"/>
                      <a:pt x="14164" y="9048"/>
                      <a:pt x="14075" y="8910"/>
                    </a:cubicBezTo>
                    <a:cubicBezTo>
                      <a:pt x="13987" y="8772"/>
                      <a:pt x="13787" y="8721"/>
                      <a:pt x="13635" y="8802"/>
                    </a:cubicBezTo>
                    <a:lnTo>
                      <a:pt x="13281" y="8994"/>
                    </a:lnTo>
                    <a:cubicBezTo>
                      <a:pt x="12995" y="8470"/>
                      <a:pt x="12402" y="8113"/>
                      <a:pt x="11718" y="8113"/>
                    </a:cubicBezTo>
                    <a:lnTo>
                      <a:pt x="10845" y="8113"/>
                    </a:lnTo>
                    <a:lnTo>
                      <a:pt x="10845" y="7675"/>
                    </a:lnTo>
                    <a:cubicBezTo>
                      <a:pt x="10845" y="7515"/>
                      <a:pt x="10705" y="7388"/>
                      <a:pt x="10530" y="7388"/>
                    </a:cubicBezTo>
                    <a:close/>
                    <a:moveTo>
                      <a:pt x="5160" y="7687"/>
                    </a:moveTo>
                    <a:cubicBezTo>
                      <a:pt x="5081" y="7706"/>
                      <a:pt x="5007" y="7756"/>
                      <a:pt x="4963" y="7825"/>
                    </a:cubicBezTo>
                    <a:cubicBezTo>
                      <a:pt x="4874" y="7963"/>
                      <a:pt x="4923" y="8145"/>
                      <a:pt x="5074" y="8227"/>
                    </a:cubicBezTo>
                    <a:lnTo>
                      <a:pt x="6059" y="8754"/>
                    </a:lnTo>
                    <a:cubicBezTo>
                      <a:pt x="6210" y="8835"/>
                      <a:pt x="6410" y="8790"/>
                      <a:pt x="6499" y="8652"/>
                    </a:cubicBezTo>
                    <a:cubicBezTo>
                      <a:pt x="6588" y="8514"/>
                      <a:pt x="6532" y="8332"/>
                      <a:pt x="6381" y="8251"/>
                    </a:cubicBezTo>
                    <a:lnTo>
                      <a:pt x="5396" y="7723"/>
                    </a:lnTo>
                    <a:cubicBezTo>
                      <a:pt x="5321" y="7683"/>
                      <a:pt x="5238" y="7669"/>
                      <a:pt x="5160" y="7687"/>
                    </a:cubicBezTo>
                    <a:close/>
                    <a:moveTo>
                      <a:pt x="15881" y="7687"/>
                    </a:moveTo>
                    <a:cubicBezTo>
                      <a:pt x="15802" y="7669"/>
                      <a:pt x="15720" y="7683"/>
                      <a:pt x="15644" y="7723"/>
                    </a:cubicBezTo>
                    <a:lnTo>
                      <a:pt x="14653" y="8251"/>
                    </a:lnTo>
                    <a:cubicBezTo>
                      <a:pt x="14502" y="8332"/>
                      <a:pt x="14453" y="8514"/>
                      <a:pt x="14541" y="8652"/>
                    </a:cubicBezTo>
                    <a:cubicBezTo>
                      <a:pt x="14630" y="8790"/>
                      <a:pt x="14824" y="8835"/>
                      <a:pt x="14975" y="8754"/>
                    </a:cubicBezTo>
                    <a:lnTo>
                      <a:pt x="15966" y="8227"/>
                    </a:lnTo>
                    <a:cubicBezTo>
                      <a:pt x="16117" y="8145"/>
                      <a:pt x="16160" y="7963"/>
                      <a:pt x="16071" y="7825"/>
                    </a:cubicBezTo>
                    <a:cubicBezTo>
                      <a:pt x="16027" y="7756"/>
                      <a:pt x="15959" y="7706"/>
                      <a:pt x="15881" y="7687"/>
                    </a:cubicBezTo>
                    <a:close/>
                    <a:moveTo>
                      <a:pt x="9322" y="8688"/>
                    </a:moveTo>
                    <a:lnTo>
                      <a:pt x="11718" y="8688"/>
                    </a:lnTo>
                    <a:cubicBezTo>
                      <a:pt x="12331" y="8688"/>
                      <a:pt x="12828" y="9147"/>
                      <a:pt x="12828" y="9707"/>
                    </a:cubicBezTo>
                    <a:lnTo>
                      <a:pt x="12828" y="11893"/>
                    </a:lnTo>
                    <a:cubicBezTo>
                      <a:pt x="12828" y="12452"/>
                      <a:pt x="12331" y="12906"/>
                      <a:pt x="11718" y="12906"/>
                    </a:cubicBezTo>
                    <a:lnTo>
                      <a:pt x="9322" y="12906"/>
                    </a:lnTo>
                    <a:cubicBezTo>
                      <a:pt x="8710" y="12906"/>
                      <a:pt x="8206" y="12452"/>
                      <a:pt x="8206" y="11893"/>
                    </a:cubicBezTo>
                    <a:lnTo>
                      <a:pt x="8206" y="9707"/>
                    </a:lnTo>
                    <a:cubicBezTo>
                      <a:pt x="8206" y="9147"/>
                      <a:pt x="8710" y="8688"/>
                      <a:pt x="9322" y="8688"/>
                    </a:cubicBezTo>
                    <a:close/>
                    <a:moveTo>
                      <a:pt x="6302" y="12816"/>
                    </a:moveTo>
                    <a:cubicBezTo>
                      <a:pt x="6224" y="12798"/>
                      <a:pt x="6135" y="12806"/>
                      <a:pt x="6059" y="12846"/>
                    </a:cubicBezTo>
                    <a:lnTo>
                      <a:pt x="5074" y="13373"/>
                    </a:lnTo>
                    <a:cubicBezTo>
                      <a:pt x="4923" y="13455"/>
                      <a:pt x="4874" y="13637"/>
                      <a:pt x="4963" y="13775"/>
                    </a:cubicBezTo>
                    <a:cubicBezTo>
                      <a:pt x="5052" y="13913"/>
                      <a:pt x="5245" y="13958"/>
                      <a:pt x="5396" y="13877"/>
                    </a:cubicBezTo>
                    <a:lnTo>
                      <a:pt x="6381" y="13349"/>
                    </a:lnTo>
                    <a:cubicBezTo>
                      <a:pt x="6532" y="13268"/>
                      <a:pt x="6588" y="13086"/>
                      <a:pt x="6499" y="12948"/>
                    </a:cubicBezTo>
                    <a:cubicBezTo>
                      <a:pt x="6455" y="12879"/>
                      <a:pt x="6381" y="12835"/>
                      <a:pt x="6302" y="12816"/>
                    </a:cubicBezTo>
                    <a:close/>
                    <a:moveTo>
                      <a:pt x="14732" y="12816"/>
                    </a:moveTo>
                    <a:cubicBezTo>
                      <a:pt x="14653" y="12835"/>
                      <a:pt x="14586" y="12879"/>
                      <a:pt x="14541" y="12948"/>
                    </a:cubicBezTo>
                    <a:cubicBezTo>
                      <a:pt x="14452" y="13086"/>
                      <a:pt x="14502" y="13268"/>
                      <a:pt x="14653" y="13349"/>
                    </a:cubicBezTo>
                    <a:lnTo>
                      <a:pt x="15644" y="13877"/>
                    </a:lnTo>
                    <a:cubicBezTo>
                      <a:pt x="15795" y="13958"/>
                      <a:pt x="15982" y="13913"/>
                      <a:pt x="16071" y="13775"/>
                    </a:cubicBezTo>
                    <a:cubicBezTo>
                      <a:pt x="16160" y="13637"/>
                      <a:pt x="16117" y="13455"/>
                      <a:pt x="15966" y="13373"/>
                    </a:cubicBezTo>
                    <a:lnTo>
                      <a:pt x="14975" y="12846"/>
                    </a:lnTo>
                    <a:cubicBezTo>
                      <a:pt x="14899" y="12806"/>
                      <a:pt x="14810" y="12798"/>
                      <a:pt x="14732" y="12816"/>
                    </a:cubicBezTo>
                    <a:close/>
                    <a:moveTo>
                      <a:pt x="2225" y="13451"/>
                    </a:moveTo>
                    <a:cubicBezTo>
                      <a:pt x="1712" y="13403"/>
                      <a:pt x="1180" y="13538"/>
                      <a:pt x="748" y="13859"/>
                    </a:cubicBezTo>
                    <a:cubicBezTo>
                      <a:pt x="-20" y="14429"/>
                      <a:pt x="-226" y="15419"/>
                      <a:pt x="269" y="16201"/>
                    </a:cubicBezTo>
                    <a:cubicBezTo>
                      <a:pt x="831" y="17079"/>
                      <a:pt x="2069" y="17377"/>
                      <a:pt x="3033" y="16867"/>
                    </a:cubicBezTo>
                    <a:cubicBezTo>
                      <a:pt x="3890" y="16411"/>
                      <a:pt x="4258" y="15458"/>
                      <a:pt x="3899" y="14614"/>
                    </a:cubicBezTo>
                    <a:cubicBezTo>
                      <a:pt x="3899" y="14614"/>
                      <a:pt x="3906" y="14626"/>
                      <a:pt x="3906" y="14626"/>
                    </a:cubicBezTo>
                    <a:lnTo>
                      <a:pt x="4339" y="14398"/>
                    </a:lnTo>
                    <a:cubicBezTo>
                      <a:pt x="4491" y="14318"/>
                      <a:pt x="4545" y="14135"/>
                      <a:pt x="4457" y="13997"/>
                    </a:cubicBezTo>
                    <a:cubicBezTo>
                      <a:pt x="4370" y="13858"/>
                      <a:pt x="4176" y="13815"/>
                      <a:pt x="4024" y="13895"/>
                    </a:cubicBezTo>
                    <a:lnTo>
                      <a:pt x="3584" y="14122"/>
                    </a:lnTo>
                    <a:cubicBezTo>
                      <a:pt x="3233" y="13728"/>
                      <a:pt x="2739" y="13500"/>
                      <a:pt x="2225" y="13451"/>
                    </a:cubicBezTo>
                    <a:close/>
                    <a:moveTo>
                      <a:pt x="19341" y="13469"/>
                    </a:moveTo>
                    <a:cubicBezTo>
                      <a:pt x="18641" y="13366"/>
                      <a:pt x="17909" y="13599"/>
                      <a:pt x="17443" y="14128"/>
                    </a:cubicBezTo>
                    <a:cubicBezTo>
                      <a:pt x="17443" y="14128"/>
                      <a:pt x="17450" y="14116"/>
                      <a:pt x="17450" y="14116"/>
                    </a:cubicBezTo>
                    <a:lnTo>
                      <a:pt x="17017" y="13889"/>
                    </a:lnTo>
                    <a:cubicBezTo>
                      <a:pt x="16865" y="13809"/>
                      <a:pt x="16671" y="13858"/>
                      <a:pt x="16583" y="13997"/>
                    </a:cubicBezTo>
                    <a:cubicBezTo>
                      <a:pt x="16496" y="14135"/>
                      <a:pt x="16549" y="14312"/>
                      <a:pt x="16701" y="14392"/>
                    </a:cubicBezTo>
                    <a:lnTo>
                      <a:pt x="17135" y="14620"/>
                    </a:lnTo>
                    <a:cubicBezTo>
                      <a:pt x="16737" y="15570"/>
                      <a:pt x="17263" y="16636"/>
                      <a:pt x="18303" y="16998"/>
                    </a:cubicBezTo>
                    <a:cubicBezTo>
                      <a:pt x="19228" y="17321"/>
                      <a:pt x="20269" y="16984"/>
                      <a:pt x="20765" y="16201"/>
                    </a:cubicBezTo>
                    <a:cubicBezTo>
                      <a:pt x="21317" y="15318"/>
                      <a:pt x="20983" y="14191"/>
                      <a:pt x="20017" y="13685"/>
                    </a:cubicBezTo>
                    <a:cubicBezTo>
                      <a:pt x="19802" y="13573"/>
                      <a:pt x="19574" y="13504"/>
                      <a:pt x="19341" y="13469"/>
                    </a:cubicBezTo>
                    <a:close/>
                    <a:moveTo>
                      <a:pt x="19196" y="14021"/>
                    </a:moveTo>
                    <a:cubicBezTo>
                      <a:pt x="19374" y="14041"/>
                      <a:pt x="19550" y="14095"/>
                      <a:pt x="19715" y="14182"/>
                    </a:cubicBezTo>
                    <a:cubicBezTo>
                      <a:pt x="20375" y="14531"/>
                      <a:pt x="20601" y="15299"/>
                      <a:pt x="20220" y="15902"/>
                    </a:cubicBezTo>
                    <a:cubicBezTo>
                      <a:pt x="19837" y="16505"/>
                      <a:pt x="18991" y="16713"/>
                      <a:pt x="18330" y="16363"/>
                    </a:cubicBezTo>
                    <a:cubicBezTo>
                      <a:pt x="17670" y="16014"/>
                      <a:pt x="17444" y="15247"/>
                      <a:pt x="17824" y="14644"/>
                    </a:cubicBezTo>
                    <a:cubicBezTo>
                      <a:pt x="18111" y="14191"/>
                      <a:pt x="18661" y="13959"/>
                      <a:pt x="19196" y="14021"/>
                    </a:cubicBezTo>
                    <a:close/>
                    <a:moveTo>
                      <a:pt x="1858" y="14039"/>
                    </a:moveTo>
                    <a:cubicBezTo>
                      <a:pt x="2392" y="13978"/>
                      <a:pt x="2936" y="14204"/>
                      <a:pt x="3223" y="14656"/>
                    </a:cubicBezTo>
                    <a:cubicBezTo>
                      <a:pt x="3604" y="15260"/>
                      <a:pt x="3373" y="16033"/>
                      <a:pt x="2711" y="16381"/>
                    </a:cubicBezTo>
                    <a:cubicBezTo>
                      <a:pt x="2050" y="16728"/>
                      <a:pt x="1209" y="16522"/>
                      <a:pt x="827" y="15920"/>
                    </a:cubicBezTo>
                    <a:cubicBezTo>
                      <a:pt x="446" y="15316"/>
                      <a:pt x="670" y="14542"/>
                      <a:pt x="1332" y="14194"/>
                    </a:cubicBezTo>
                    <a:cubicBezTo>
                      <a:pt x="1498" y="14108"/>
                      <a:pt x="1680" y="14059"/>
                      <a:pt x="1858" y="14039"/>
                    </a:cubicBezTo>
                    <a:close/>
                    <a:moveTo>
                      <a:pt x="10517" y="14889"/>
                    </a:moveTo>
                    <a:cubicBezTo>
                      <a:pt x="10342" y="14889"/>
                      <a:pt x="10202" y="15017"/>
                      <a:pt x="10202" y="15177"/>
                    </a:cubicBezTo>
                    <a:lnTo>
                      <a:pt x="10202" y="16225"/>
                    </a:lnTo>
                    <a:cubicBezTo>
                      <a:pt x="10202" y="16385"/>
                      <a:pt x="10342" y="16513"/>
                      <a:pt x="10517" y="16513"/>
                    </a:cubicBezTo>
                    <a:cubicBezTo>
                      <a:pt x="10692" y="16513"/>
                      <a:pt x="10839" y="16385"/>
                      <a:pt x="10839" y="16225"/>
                    </a:cubicBezTo>
                    <a:lnTo>
                      <a:pt x="10839" y="15177"/>
                    </a:lnTo>
                    <a:cubicBezTo>
                      <a:pt x="10839" y="15017"/>
                      <a:pt x="10692" y="14889"/>
                      <a:pt x="10517" y="14889"/>
                    </a:cubicBezTo>
                    <a:close/>
                    <a:moveTo>
                      <a:pt x="10524" y="17190"/>
                    </a:moveTo>
                    <a:cubicBezTo>
                      <a:pt x="10348" y="17190"/>
                      <a:pt x="10202" y="17324"/>
                      <a:pt x="10202" y="17484"/>
                    </a:cubicBezTo>
                    <a:lnTo>
                      <a:pt x="10202" y="17945"/>
                    </a:lnTo>
                    <a:cubicBezTo>
                      <a:pt x="9102" y="18106"/>
                      <a:pt x="8358" y="19050"/>
                      <a:pt x="8534" y="20054"/>
                    </a:cubicBezTo>
                    <a:cubicBezTo>
                      <a:pt x="8691" y="20946"/>
                      <a:pt x="9533" y="21599"/>
                      <a:pt x="10524" y="21600"/>
                    </a:cubicBezTo>
                    <a:cubicBezTo>
                      <a:pt x="11638" y="21594"/>
                      <a:pt x="12535" y="20771"/>
                      <a:pt x="12533" y="19755"/>
                    </a:cubicBezTo>
                    <a:cubicBezTo>
                      <a:pt x="12529" y="18849"/>
                      <a:pt x="11806" y="18077"/>
                      <a:pt x="10826" y="17939"/>
                    </a:cubicBezTo>
                    <a:cubicBezTo>
                      <a:pt x="10826" y="17939"/>
                      <a:pt x="10839" y="17939"/>
                      <a:pt x="10839" y="17939"/>
                    </a:cubicBezTo>
                    <a:lnTo>
                      <a:pt x="10839" y="17484"/>
                    </a:lnTo>
                    <a:cubicBezTo>
                      <a:pt x="10839" y="17324"/>
                      <a:pt x="10699" y="17190"/>
                      <a:pt x="10524" y="17190"/>
                    </a:cubicBezTo>
                    <a:close/>
                    <a:moveTo>
                      <a:pt x="10530" y="18496"/>
                    </a:moveTo>
                    <a:cubicBezTo>
                      <a:pt x="11294" y="18497"/>
                      <a:pt x="11910" y="19063"/>
                      <a:pt x="11909" y="19761"/>
                    </a:cubicBezTo>
                    <a:cubicBezTo>
                      <a:pt x="11908" y="20456"/>
                      <a:pt x="11293" y="21024"/>
                      <a:pt x="10530" y="21025"/>
                    </a:cubicBezTo>
                    <a:cubicBezTo>
                      <a:pt x="9766" y="21024"/>
                      <a:pt x="9144" y="20458"/>
                      <a:pt x="9145" y="19761"/>
                    </a:cubicBezTo>
                    <a:cubicBezTo>
                      <a:pt x="9146" y="19065"/>
                      <a:pt x="9768" y="18497"/>
                      <a:pt x="10530" y="18496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rgbClr val="FFFFFF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F7DD05F9-5111-47F7-BFD3-71B58D84FB84}"/>
                  </a:ext>
                </a:extLst>
              </p:cNvPr>
              <p:cNvSpPr/>
              <p:nvPr/>
            </p:nvSpPr>
            <p:spPr>
              <a:xfrm>
                <a:off x="5987644" y="5179342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A2951D5B-41AB-74A6-DA7A-0DA29F0F4AB7}"/>
                  </a:ext>
                </a:extLst>
              </p:cNvPr>
              <p:cNvSpPr/>
              <p:nvPr/>
            </p:nvSpPr>
            <p:spPr>
              <a:xfrm>
                <a:off x="10067322" y="5111810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Google Shape;1289;p42">
                <a:extLst>
                  <a:ext uri="{FF2B5EF4-FFF2-40B4-BE49-F238E27FC236}">
                    <a16:creationId xmlns:a16="http://schemas.microsoft.com/office/drawing/2014/main" id="{E808E6E3-CF68-BE3F-3306-502E86A421F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137428" y="5325129"/>
                <a:ext cx="395506" cy="3953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29" h="21561" extrusionOk="0">
                    <a:moveTo>
                      <a:pt x="2333" y="17662"/>
                    </a:moveTo>
                    <a:cubicBezTo>
                      <a:pt x="2051" y="17674"/>
                      <a:pt x="1776" y="17573"/>
                      <a:pt x="1568" y="17383"/>
                    </a:cubicBezTo>
                    <a:cubicBezTo>
                      <a:pt x="895" y="16708"/>
                      <a:pt x="698" y="15663"/>
                      <a:pt x="639" y="15099"/>
                    </a:cubicBezTo>
                    <a:cubicBezTo>
                      <a:pt x="631" y="15013"/>
                      <a:pt x="693" y="14937"/>
                      <a:pt x="778" y="14929"/>
                    </a:cubicBezTo>
                    <a:cubicBezTo>
                      <a:pt x="783" y="14928"/>
                      <a:pt x="789" y="14928"/>
                      <a:pt x="794" y="14928"/>
                    </a:cubicBezTo>
                    <a:lnTo>
                      <a:pt x="811" y="14928"/>
                    </a:lnTo>
                    <a:cubicBezTo>
                      <a:pt x="1367" y="14985"/>
                      <a:pt x="2393" y="15178"/>
                      <a:pt x="3066" y="15832"/>
                    </a:cubicBezTo>
                    <a:lnTo>
                      <a:pt x="3080" y="15849"/>
                    </a:lnTo>
                    <a:cubicBezTo>
                      <a:pt x="3397" y="16195"/>
                      <a:pt x="3456" y="16704"/>
                      <a:pt x="3227" y="17113"/>
                    </a:cubicBezTo>
                    <a:cubicBezTo>
                      <a:pt x="3017" y="16822"/>
                      <a:pt x="2768" y="16561"/>
                      <a:pt x="2488" y="16338"/>
                    </a:cubicBezTo>
                    <a:cubicBezTo>
                      <a:pt x="2356" y="16228"/>
                      <a:pt x="2161" y="16246"/>
                      <a:pt x="2051" y="16377"/>
                    </a:cubicBezTo>
                    <a:cubicBezTo>
                      <a:pt x="1942" y="16509"/>
                      <a:pt x="1960" y="16705"/>
                      <a:pt x="2091" y="16814"/>
                    </a:cubicBezTo>
                    <a:cubicBezTo>
                      <a:pt x="2101" y="16822"/>
                      <a:pt x="2111" y="16830"/>
                      <a:pt x="2122" y="16837"/>
                    </a:cubicBezTo>
                    <a:cubicBezTo>
                      <a:pt x="2370" y="17043"/>
                      <a:pt x="2590" y="17281"/>
                      <a:pt x="2775" y="17544"/>
                    </a:cubicBezTo>
                    <a:cubicBezTo>
                      <a:pt x="2638" y="17615"/>
                      <a:pt x="2487" y="17656"/>
                      <a:pt x="2333" y="17662"/>
                    </a:cubicBezTo>
                    <a:cubicBezTo>
                      <a:pt x="2333" y="17662"/>
                      <a:pt x="2333" y="17662"/>
                      <a:pt x="2333" y="17662"/>
                    </a:cubicBezTo>
                    <a:close/>
                    <a:moveTo>
                      <a:pt x="5294" y="15849"/>
                    </a:moveTo>
                    <a:lnTo>
                      <a:pt x="5308" y="15832"/>
                    </a:lnTo>
                    <a:cubicBezTo>
                      <a:pt x="5981" y="15178"/>
                      <a:pt x="7011" y="14985"/>
                      <a:pt x="7563" y="14928"/>
                    </a:cubicBezTo>
                    <a:cubicBezTo>
                      <a:pt x="7648" y="14919"/>
                      <a:pt x="7724" y="14981"/>
                      <a:pt x="7733" y="15066"/>
                    </a:cubicBezTo>
                    <a:cubicBezTo>
                      <a:pt x="7735" y="15077"/>
                      <a:pt x="7735" y="15088"/>
                      <a:pt x="7733" y="15099"/>
                    </a:cubicBezTo>
                    <a:cubicBezTo>
                      <a:pt x="7676" y="15663"/>
                      <a:pt x="7480" y="16708"/>
                      <a:pt x="6816" y="17375"/>
                    </a:cubicBezTo>
                    <a:cubicBezTo>
                      <a:pt x="6485" y="17683"/>
                      <a:pt x="5997" y="17751"/>
                      <a:pt x="5596" y="17544"/>
                    </a:cubicBezTo>
                    <a:cubicBezTo>
                      <a:pt x="5781" y="17279"/>
                      <a:pt x="6002" y="17042"/>
                      <a:pt x="6254" y="16839"/>
                    </a:cubicBezTo>
                    <a:cubicBezTo>
                      <a:pt x="6388" y="16733"/>
                      <a:pt x="6412" y="16538"/>
                      <a:pt x="6306" y="16403"/>
                    </a:cubicBezTo>
                    <a:cubicBezTo>
                      <a:pt x="6205" y="16274"/>
                      <a:pt x="6021" y="16246"/>
                      <a:pt x="5887" y="16339"/>
                    </a:cubicBezTo>
                    <a:cubicBezTo>
                      <a:pt x="5606" y="16563"/>
                      <a:pt x="5357" y="16824"/>
                      <a:pt x="5147" y="17115"/>
                    </a:cubicBezTo>
                    <a:cubicBezTo>
                      <a:pt x="4918" y="16705"/>
                      <a:pt x="4977" y="16195"/>
                      <a:pt x="5294" y="15849"/>
                    </a:cubicBezTo>
                    <a:cubicBezTo>
                      <a:pt x="5294" y="15849"/>
                      <a:pt x="5294" y="15849"/>
                      <a:pt x="5294" y="15849"/>
                    </a:cubicBezTo>
                    <a:close/>
                    <a:moveTo>
                      <a:pt x="8153" y="10232"/>
                    </a:moveTo>
                    <a:cubicBezTo>
                      <a:pt x="7480" y="9557"/>
                      <a:pt x="7283" y="8512"/>
                      <a:pt x="7224" y="7948"/>
                    </a:cubicBezTo>
                    <a:cubicBezTo>
                      <a:pt x="7216" y="7862"/>
                      <a:pt x="7278" y="7786"/>
                      <a:pt x="7363" y="7778"/>
                    </a:cubicBezTo>
                    <a:cubicBezTo>
                      <a:pt x="7368" y="7777"/>
                      <a:pt x="7374" y="7777"/>
                      <a:pt x="7379" y="7777"/>
                    </a:cubicBezTo>
                    <a:lnTo>
                      <a:pt x="7396" y="7777"/>
                    </a:lnTo>
                    <a:cubicBezTo>
                      <a:pt x="7952" y="7834"/>
                      <a:pt x="8978" y="8027"/>
                      <a:pt x="9651" y="8681"/>
                    </a:cubicBezTo>
                    <a:cubicBezTo>
                      <a:pt x="9656" y="8688"/>
                      <a:pt x="9661" y="8693"/>
                      <a:pt x="9667" y="8698"/>
                    </a:cubicBezTo>
                    <a:cubicBezTo>
                      <a:pt x="9982" y="9044"/>
                      <a:pt x="10041" y="9554"/>
                      <a:pt x="9812" y="9962"/>
                    </a:cubicBezTo>
                    <a:cubicBezTo>
                      <a:pt x="9602" y="9672"/>
                      <a:pt x="9354" y="9411"/>
                      <a:pt x="9074" y="9187"/>
                    </a:cubicBezTo>
                    <a:cubicBezTo>
                      <a:pt x="8936" y="9085"/>
                      <a:pt x="8742" y="9114"/>
                      <a:pt x="8641" y="9252"/>
                    </a:cubicBezTo>
                    <a:cubicBezTo>
                      <a:pt x="8539" y="9390"/>
                      <a:pt x="8568" y="9584"/>
                      <a:pt x="8706" y="9686"/>
                    </a:cubicBezTo>
                    <a:cubicBezTo>
                      <a:pt x="8957" y="9890"/>
                      <a:pt x="9179" y="10127"/>
                      <a:pt x="9365" y="10392"/>
                    </a:cubicBezTo>
                    <a:cubicBezTo>
                      <a:pt x="8967" y="10597"/>
                      <a:pt x="8484" y="10533"/>
                      <a:pt x="8153" y="10232"/>
                    </a:cubicBezTo>
                    <a:cubicBezTo>
                      <a:pt x="8153" y="10232"/>
                      <a:pt x="8153" y="10232"/>
                      <a:pt x="8153" y="10232"/>
                    </a:cubicBezTo>
                    <a:close/>
                    <a:moveTo>
                      <a:pt x="11879" y="8698"/>
                    </a:moveTo>
                    <a:lnTo>
                      <a:pt x="11893" y="8683"/>
                    </a:lnTo>
                    <a:cubicBezTo>
                      <a:pt x="12566" y="8027"/>
                      <a:pt x="13595" y="7834"/>
                      <a:pt x="14148" y="7777"/>
                    </a:cubicBezTo>
                    <a:cubicBezTo>
                      <a:pt x="14233" y="7768"/>
                      <a:pt x="14309" y="7830"/>
                      <a:pt x="14318" y="7915"/>
                    </a:cubicBezTo>
                    <a:cubicBezTo>
                      <a:pt x="14319" y="7926"/>
                      <a:pt x="14319" y="7937"/>
                      <a:pt x="14318" y="7948"/>
                    </a:cubicBezTo>
                    <a:cubicBezTo>
                      <a:pt x="14261" y="8512"/>
                      <a:pt x="14064" y="9557"/>
                      <a:pt x="13400" y="10224"/>
                    </a:cubicBezTo>
                    <a:cubicBezTo>
                      <a:pt x="13071" y="10530"/>
                      <a:pt x="12586" y="10598"/>
                      <a:pt x="12185" y="10395"/>
                    </a:cubicBezTo>
                    <a:cubicBezTo>
                      <a:pt x="12370" y="10131"/>
                      <a:pt x="12590" y="9893"/>
                      <a:pt x="12838" y="9688"/>
                    </a:cubicBezTo>
                    <a:cubicBezTo>
                      <a:pt x="12973" y="9582"/>
                      <a:pt x="12997" y="9387"/>
                      <a:pt x="12891" y="9252"/>
                    </a:cubicBezTo>
                    <a:cubicBezTo>
                      <a:pt x="12790" y="9123"/>
                      <a:pt x="12606" y="9095"/>
                      <a:pt x="12472" y="9188"/>
                    </a:cubicBezTo>
                    <a:cubicBezTo>
                      <a:pt x="12192" y="9413"/>
                      <a:pt x="11943" y="9673"/>
                      <a:pt x="11732" y="9964"/>
                    </a:cubicBezTo>
                    <a:cubicBezTo>
                      <a:pt x="11503" y="9554"/>
                      <a:pt x="11562" y="9044"/>
                      <a:pt x="11879" y="8698"/>
                    </a:cubicBezTo>
                    <a:cubicBezTo>
                      <a:pt x="11879" y="8698"/>
                      <a:pt x="11879" y="8698"/>
                      <a:pt x="11879" y="8698"/>
                    </a:cubicBezTo>
                    <a:close/>
                    <a:moveTo>
                      <a:pt x="12291" y="14685"/>
                    </a:moveTo>
                    <a:lnTo>
                      <a:pt x="12301" y="14677"/>
                    </a:lnTo>
                    <a:cubicBezTo>
                      <a:pt x="12632" y="14517"/>
                      <a:pt x="13000" y="14454"/>
                      <a:pt x="13365" y="14495"/>
                    </a:cubicBezTo>
                    <a:cubicBezTo>
                      <a:pt x="13415" y="14498"/>
                      <a:pt x="13461" y="14527"/>
                      <a:pt x="13486" y="14571"/>
                    </a:cubicBezTo>
                    <a:cubicBezTo>
                      <a:pt x="13509" y="14616"/>
                      <a:pt x="13509" y="14670"/>
                      <a:pt x="13486" y="14716"/>
                    </a:cubicBezTo>
                    <a:cubicBezTo>
                      <a:pt x="13337" y="15056"/>
                      <a:pt x="13094" y="15348"/>
                      <a:pt x="12786" y="15555"/>
                    </a:cubicBezTo>
                    <a:cubicBezTo>
                      <a:pt x="12543" y="15688"/>
                      <a:pt x="12238" y="15599"/>
                      <a:pt x="12105" y="15356"/>
                    </a:cubicBezTo>
                    <a:cubicBezTo>
                      <a:pt x="11976" y="15120"/>
                      <a:pt x="12055" y="14824"/>
                      <a:pt x="12284" y="14685"/>
                    </a:cubicBezTo>
                    <a:cubicBezTo>
                      <a:pt x="12284" y="14685"/>
                      <a:pt x="12291" y="14685"/>
                      <a:pt x="12291" y="14685"/>
                    </a:cubicBezTo>
                    <a:close/>
                    <a:moveTo>
                      <a:pt x="15715" y="18484"/>
                    </a:moveTo>
                    <a:cubicBezTo>
                      <a:pt x="15592" y="18523"/>
                      <a:pt x="15458" y="18512"/>
                      <a:pt x="15343" y="18455"/>
                    </a:cubicBezTo>
                    <a:cubicBezTo>
                      <a:pt x="15031" y="18246"/>
                      <a:pt x="14785" y="17952"/>
                      <a:pt x="14636" y="17608"/>
                    </a:cubicBezTo>
                    <a:cubicBezTo>
                      <a:pt x="14612" y="17563"/>
                      <a:pt x="14612" y="17509"/>
                      <a:pt x="14636" y="17464"/>
                    </a:cubicBezTo>
                    <a:cubicBezTo>
                      <a:pt x="14661" y="17420"/>
                      <a:pt x="14706" y="17392"/>
                      <a:pt x="14756" y="17388"/>
                    </a:cubicBezTo>
                    <a:cubicBezTo>
                      <a:pt x="14821" y="17388"/>
                      <a:pt x="14893" y="17380"/>
                      <a:pt x="14967" y="17380"/>
                    </a:cubicBezTo>
                    <a:cubicBezTo>
                      <a:pt x="15263" y="17371"/>
                      <a:pt x="15556" y="17436"/>
                      <a:pt x="15821" y="17569"/>
                    </a:cubicBezTo>
                    <a:lnTo>
                      <a:pt x="15832" y="17569"/>
                    </a:lnTo>
                    <a:cubicBezTo>
                      <a:pt x="16067" y="17717"/>
                      <a:pt x="16137" y="18027"/>
                      <a:pt x="15990" y="18262"/>
                    </a:cubicBezTo>
                    <a:cubicBezTo>
                      <a:pt x="15926" y="18364"/>
                      <a:pt x="15828" y="18439"/>
                      <a:pt x="15713" y="18475"/>
                    </a:cubicBezTo>
                    <a:cubicBezTo>
                      <a:pt x="15713" y="18475"/>
                      <a:pt x="15715" y="18484"/>
                      <a:pt x="15715" y="18484"/>
                    </a:cubicBezTo>
                    <a:close/>
                    <a:moveTo>
                      <a:pt x="15502" y="3360"/>
                    </a:moveTo>
                    <a:cubicBezTo>
                      <a:pt x="15221" y="3373"/>
                      <a:pt x="14945" y="3273"/>
                      <a:pt x="14738" y="3081"/>
                    </a:cubicBezTo>
                    <a:cubicBezTo>
                      <a:pt x="14066" y="2406"/>
                      <a:pt x="13869" y="1361"/>
                      <a:pt x="13809" y="798"/>
                    </a:cubicBezTo>
                    <a:cubicBezTo>
                      <a:pt x="13803" y="751"/>
                      <a:pt x="13819" y="705"/>
                      <a:pt x="13852" y="671"/>
                    </a:cubicBezTo>
                    <a:cubicBezTo>
                      <a:pt x="13882" y="642"/>
                      <a:pt x="13921" y="626"/>
                      <a:pt x="13962" y="626"/>
                    </a:cubicBezTo>
                    <a:lnTo>
                      <a:pt x="13979" y="626"/>
                    </a:lnTo>
                    <a:cubicBezTo>
                      <a:pt x="14535" y="684"/>
                      <a:pt x="15560" y="877"/>
                      <a:pt x="16233" y="1530"/>
                    </a:cubicBezTo>
                    <a:lnTo>
                      <a:pt x="16249" y="1549"/>
                    </a:lnTo>
                    <a:cubicBezTo>
                      <a:pt x="16564" y="1894"/>
                      <a:pt x="16623" y="2403"/>
                      <a:pt x="16396" y="2811"/>
                    </a:cubicBezTo>
                    <a:cubicBezTo>
                      <a:pt x="16184" y="2521"/>
                      <a:pt x="15935" y="2261"/>
                      <a:pt x="15656" y="2036"/>
                    </a:cubicBezTo>
                    <a:cubicBezTo>
                      <a:pt x="15518" y="1934"/>
                      <a:pt x="15324" y="1964"/>
                      <a:pt x="15222" y="2103"/>
                    </a:cubicBezTo>
                    <a:cubicBezTo>
                      <a:pt x="15121" y="2241"/>
                      <a:pt x="15151" y="2435"/>
                      <a:pt x="15289" y="2537"/>
                    </a:cubicBezTo>
                    <a:cubicBezTo>
                      <a:pt x="15538" y="2741"/>
                      <a:pt x="15758" y="2979"/>
                      <a:pt x="15942" y="3244"/>
                    </a:cubicBezTo>
                    <a:cubicBezTo>
                      <a:pt x="15805" y="3313"/>
                      <a:pt x="15656" y="3353"/>
                      <a:pt x="15502" y="3360"/>
                    </a:cubicBezTo>
                    <a:close/>
                    <a:moveTo>
                      <a:pt x="18464" y="1549"/>
                    </a:moveTo>
                    <a:lnTo>
                      <a:pt x="18478" y="1532"/>
                    </a:lnTo>
                    <a:cubicBezTo>
                      <a:pt x="19151" y="877"/>
                      <a:pt x="20180" y="684"/>
                      <a:pt x="20733" y="628"/>
                    </a:cubicBezTo>
                    <a:cubicBezTo>
                      <a:pt x="20818" y="619"/>
                      <a:pt x="20894" y="680"/>
                      <a:pt x="20903" y="766"/>
                    </a:cubicBezTo>
                    <a:cubicBezTo>
                      <a:pt x="20904" y="776"/>
                      <a:pt x="20904" y="787"/>
                      <a:pt x="20903" y="798"/>
                    </a:cubicBezTo>
                    <a:cubicBezTo>
                      <a:pt x="20846" y="1361"/>
                      <a:pt x="20649" y="2407"/>
                      <a:pt x="19985" y="3073"/>
                    </a:cubicBezTo>
                    <a:cubicBezTo>
                      <a:pt x="19776" y="3269"/>
                      <a:pt x="19497" y="3373"/>
                      <a:pt x="19211" y="3360"/>
                    </a:cubicBezTo>
                    <a:cubicBezTo>
                      <a:pt x="19057" y="3354"/>
                      <a:pt x="18906" y="3315"/>
                      <a:pt x="18769" y="3246"/>
                    </a:cubicBezTo>
                    <a:cubicBezTo>
                      <a:pt x="18954" y="2981"/>
                      <a:pt x="19174" y="2743"/>
                      <a:pt x="19422" y="2537"/>
                    </a:cubicBezTo>
                    <a:cubicBezTo>
                      <a:pt x="19563" y="2440"/>
                      <a:pt x="19598" y="2246"/>
                      <a:pt x="19501" y="2105"/>
                    </a:cubicBezTo>
                    <a:cubicBezTo>
                      <a:pt x="19404" y="1964"/>
                      <a:pt x="19211" y="1929"/>
                      <a:pt x="19070" y="2026"/>
                    </a:cubicBezTo>
                    <a:cubicBezTo>
                      <a:pt x="19065" y="2030"/>
                      <a:pt x="19060" y="2034"/>
                      <a:pt x="19055" y="2037"/>
                    </a:cubicBezTo>
                    <a:cubicBezTo>
                      <a:pt x="18775" y="2262"/>
                      <a:pt x="18527" y="2523"/>
                      <a:pt x="18315" y="2813"/>
                    </a:cubicBezTo>
                    <a:cubicBezTo>
                      <a:pt x="18087" y="2404"/>
                      <a:pt x="18147" y="1894"/>
                      <a:pt x="18464" y="1549"/>
                    </a:cubicBezTo>
                    <a:close/>
                    <a:moveTo>
                      <a:pt x="19101" y="8984"/>
                    </a:moveTo>
                    <a:lnTo>
                      <a:pt x="19115" y="8973"/>
                    </a:lnTo>
                    <a:cubicBezTo>
                      <a:pt x="19620" y="8633"/>
                      <a:pt x="20275" y="8584"/>
                      <a:pt x="20739" y="8601"/>
                    </a:cubicBezTo>
                    <a:cubicBezTo>
                      <a:pt x="20787" y="8602"/>
                      <a:pt x="20832" y="8626"/>
                      <a:pt x="20860" y="8666"/>
                    </a:cubicBezTo>
                    <a:cubicBezTo>
                      <a:pt x="20887" y="8706"/>
                      <a:pt x="20895" y="8756"/>
                      <a:pt x="20880" y="8802"/>
                    </a:cubicBezTo>
                    <a:cubicBezTo>
                      <a:pt x="20736" y="9252"/>
                      <a:pt x="20457" y="9863"/>
                      <a:pt x="19960" y="10213"/>
                    </a:cubicBezTo>
                    <a:cubicBezTo>
                      <a:pt x="19794" y="10321"/>
                      <a:pt x="19591" y="10358"/>
                      <a:pt x="19397" y="10316"/>
                    </a:cubicBezTo>
                    <a:cubicBezTo>
                      <a:pt x="19328" y="10300"/>
                      <a:pt x="19262" y="10274"/>
                      <a:pt x="19200" y="10240"/>
                    </a:cubicBezTo>
                    <a:cubicBezTo>
                      <a:pt x="19364" y="10103"/>
                      <a:pt x="19540" y="9983"/>
                      <a:pt x="19727" y="9880"/>
                    </a:cubicBezTo>
                    <a:cubicBezTo>
                      <a:pt x="19882" y="9808"/>
                      <a:pt x="19949" y="9623"/>
                      <a:pt x="19876" y="9468"/>
                    </a:cubicBezTo>
                    <a:cubicBezTo>
                      <a:pt x="19804" y="9313"/>
                      <a:pt x="19620" y="9245"/>
                      <a:pt x="19465" y="9318"/>
                    </a:cubicBezTo>
                    <a:cubicBezTo>
                      <a:pt x="19459" y="9321"/>
                      <a:pt x="19454" y="9323"/>
                      <a:pt x="19448" y="9326"/>
                    </a:cubicBezTo>
                    <a:cubicBezTo>
                      <a:pt x="19228" y="9446"/>
                      <a:pt x="19021" y="9586"/>
                      <a:pt x="18829" y="9747"/>
                    </a:cubicBezTo>
                    <a:cubicBezTo>
                      <a:pt x="18765" y="9461"/>
                      <a:pt x="18871" y="9164"/>
                      <a:pt x="19101" y="8984"/>
                    </a:cubicBezTo>
                    <a:close/>
                    <a:moveTo>
                      <a:pt x="21214" y="20942"/>
                    </a:moveTo>
                    <a:lnTo>
                      <a:pt x="17666" y="20942"/>
                    </a:lnTo>
                    <a:lnTo>
                      <a:pt x="17666" y="13551"/>
                    </a:lnTo>
                    <a:cubicBezTo>
                      <a:pt x="17647" y="12493"/>
                      <a:pt x="18030" y="11466"/>
                      <a:pt x="18738" y="10680"/>
                    </a:cubicBezTo>
                    <a:cubicBezTo>
                      <a:pt x="18894" y="10798"/>
                      <a:pt x="19074" y="10881"/>
                      <a:pt x="19265" y="10922"/>
                    </a:cubicBezTo>
                    <a:cubicBezTo>
                      <a:pt x="19361" y="10943"/>
                      <a:pt x="19459" y="10953"/>
                      <a:pt x="19556" y="10953"/>
                    </a:cubicBezTo>
                    <a:cubicBezTo>
                      <a:pt x="19823" y="10952"/>
                      <a:pt x="20083" y="10874"/>
                      <a:pt x="20306" y="10728"/>
                    </a:cubicBezTo>
                    <a:cubicBezTo>
                      <a:pt x="20954" y="10272"/>
                      <a:pt x="21296" y="9531"/>
                      <a:pt x="21470" y="8991"/>
                    </a:cubicBezTo>
                    <a:cubicBezTo>
                      <a:pt x="21600" y="8584"/>
                      <a:pt x="21376" y="8147"/>
                      <a:pt x="20969" y="8017"/>
                    </a:cubicBezTo>
                    <a:cubicBezTo>
                      <a:pt x="20902" y="7995"/>
                      <a:pt x="20833" y="7983"/>
                      <a:pt x="20764" y="7980"/>
                    </a:cubicBezTo>
                    <a:cubicBezTo>
                      <a:pt x="20197" y="7957"/>
                      <a:pt x="19385" y="8027"/>
                      <a:pt x="18736" y="8481"/>
                    </a:cubicBezTo>
                    <a:lnTo>
                      <a:pt x="18699" y="8512"/>
                    </a:lnTo>
                    <a:cubicBezTo>
                      <a:pt x="18196" y="8920"/>
                      <a:pt x="18045" y="9624"/>
                      <a:pt x="18335" y="10203"/>
                    </a:cubicBezTo>
                    <a:cubicBezTo>
                      <a:pt x="18078" y="10478"/>
                      <a:pt x="17853" y="10782"/>
                      <a:pt x="17666" y="11110"/>
                    </a:cubicBezTo>
                    <a:lnTo>
                      <a:pt x="17666" y="6951"/>
                    </a:lnTo>
                    <a:cubicBezTo>
                      <a:pt x="17648" y="5841"/>
                      <a:pt x="17914" y="4746"/>
                      <a:pt x="18440" y="3770"/>
                    </a:cubicBezTo>
                    <a:cubicBezTo>
                      <a:pt x="18672" y="3898"/>
                      <a:pt x="18931" y="3969"/>
                      <a:pt x="19196" y="3979"/>
                    </a:cubicBezTo>
                    <a:lnTo>
                      <a:pt x="19262" y="3979"/>
                    </a:lnTo>
                    <a:cubicBezTo>
                      <a:pt x="19694" y="3977"/>
                      <a:pt x="20108" y="3810"/>
                      <a:pt x="20422" y="3514"/>
                    </a:cubicBezTo>
                    <a:cubicBezTo>
                      <a:pt x="21230" y="2704"/>
                      <a:pt x="21460" y="1498"/>
                      <a:pt x="21525" y="854"/>
                    </a:cubicBezTo>
                    <a:cubicBezTo>
                      <a:pt x="21569" y="428"/>
                      <a:pt x="21259" y="48"/>
                      <a:pt x="20834" y="4"/>
                    </a:cubicBezTo>
                    <a:cubicBezTo>
                      <a:pt x="20782" y="-1"/>
                      <a:pt x="20729" y="-1"/>
                      <a:pt x="20677" y="4"/>
                    </a:cubicBezTo>
                    <a:cubicBezTo>
                      <a:pt x="20032" y="69"/>
                      <a:pt x="18831" y="301"/>
                      <a:pt x="18022" y="1110"/>
                    </a:cubicBezTo>
                    <a:cubicBezTo>
                      <a:pt x="18010" y="1123"/>
                      <a:pt x="17999" y="1136"/>
                      <a:pt x="17988" y="1150"/>
                    </a:cubicBezTo>
                    <a:cubicBezTo>
                      <a:pt x="17439" y="1779"/>
                      <a:pt x="17425" y="2714"/>
                      <a:pt x="17956" y="3359"/>
                    </a:cubicBezTo>
                    <a:cubicBezTo>
                      <a:pt x="17705" y="3790"/>
                      <a:pt x="17506" y="4250"/>
                      <a:pt x="17365" y="4728"/>
                    </a:cubicBezTo>
                    <a:cubicBezTo>
                      <a:pt x="17222" y="4250"/>
                      <a:pt x="17023" y="3790"/>
                      <a:pt x="16772" y="3359"/>
                    </a:cubicBezTo>
                    <a:cubicBezTo>
                      <a:pt x="17302" y="2714"/>
                      <a:pt x="17288" y="1779"/>
                      <a:pt x="16739" y="1150"/>
                    </a:cubicBezTo>
                    <a:cubicBezTo>
                      <a:pt x="16729" y="1136"/>
                      <a:pt x="16718" y="1122"/>
                      <a:pt x="16705" y="1110"/>
                    </a:cubicBezTo>
                    <a:cubicBezTo>
                      <a:pt x="15897" y="301"/>
                      <a:pt x="14693" y="69"/>
                      <a:pt x="14051" y="4"/>
                    </a:cubicBezTo>
                    <a:cubicBezTo>
                      <a:pt x="13625" y="-39"/>
                      <a:pt x="13245" y="271"/>
                      <a:pt x="13202" y="697"/>
                    </a:cubicBezTo>
                    <a:cubicBezTo>
                      <a:pt x="13197" y="749"/>
                      <a:pt x="13197" y="802"/>
                      <a:pt x="13202" y="854"/>
                    </a:cubicBezTo>
                    <a:cubicBezTo>
                      <a:pt x="13267" y="1499"/>
                      <a:pt x="13498" y="2704"/>
                      <a:pt x="14315" y="3523"/>
                    </a:cubicBezTo>
                    <a:cubicBezTo>
                      <a:pt x="14628" y="3814"/>
                      <a:pt x="15039" y="3976"/>
                      <a:pt x="15465" y="3974"/>
                    </a:cubicBezTo>
                    <a:lnTo>
                      <a:pt x="15533" y="3974"/>
                    </a:lnTo>
                    <a:cubicBezTo>
                      <a:pt x="15797" y="3965"/>
                      <a:pt x="16055" y="3893"/>
                      <a:pt x="16286" y="3765"/>
                    </a:cubicBezTo>
                    <a:cubicBezTo>
                      <a:pt x="16814" y="4741"/>
                      <a:pt x="17080" y="5836"/>
                      <a:pt x="17060" y="6946"/>
                    </a:cubicBezTo>
                    <a:lnTo>
                      <a:pt x="17060" y="18462"/>
                    </a:lnTo>
                    <a:lnTo>
                      <a:pt x="16673" y="18238"/>
                    </a:lnTo>
                    <a:cubicBezTo>
                      <a:pt x="16770" y="17789"/>
                      <a:pt x="16586" y="17326"/>
                      <a:pt x="16208" y="17067"/>
                    </a:cubicBezTo>
                    <a:lnTo>
                      <a:pt x="16171" y="17040"/>
                    </a:lnTo>
                    <a:cubicBezTo>
                      <a:pt x="15728" y="16809"/>
                      <a:pt x="15226" y="16714"/>
                      <a:pt x="14728" y="16766"/>
                    </a:cubicBezTo>
                    <a:cubicBezTo>
                      <a:pt x="14302" y="16799"/>
                      <a:pt x="13984" y="17173"/>
                      <a:pt x="14018" y="17600"/>
                    </a:cubicBezTo>
                    <a:cubicBezTo>
                      <a:pt x="14025" y="17694"/>
                      <a:pt x="14050" y="17787"/>
                      <a:pt x="14091" y="17873"/>
                    </a:cubicBezTo>
                    <a:cubicBezTo>
                      <a:pt x="14297" y="18334"/>
                      <a:pt x="14634" y="18723"/>
                      <a:pt x="15060" y="18993"/>
                    </a:cubicBezTo>
                    <a:cubicBezTo>
                      <a:pt x="15499" y="19224"/>
                      <a:pt x="16037" y="19139"/>
                      <a:pt x="16385" y="18785"/>
                    </a:cubicBezTo>
                    <a:lnTo>
                      <a:pt x="17064" y="19179"/>
                    </a:lnTo>
                    <a:lnTo>
                      <a:pt x="17064" y="20938"/>
                    </a:lnTo>
                    <a:lnTo>
                      <a:pt x="11075" y="20938"/>
                    </a:lnTo>
                    <a:lnTo>
                      <a:pt x="11075" y="16285"/>
                    </a:lnTo>
                    <a:lnTo>
                      <a:pt x="11750" y="15896"/>
                    </a:lnTo>
                    <a:cubicBezTo>
                      <a:pt x="11961" y="16112"/>
                      <a:pt x="12249" y="16233"/>
                      <a:pt x="12551" y="16232"/>
                    </a:cubicBezTo>
                    <a:cubicBezTo>
                      <a:pt x="12737" y="16232"/>
                      <a:pt x="12920" y="16185"/>
                      <a:pt x="13085" y="16097"/>
                    </a:cubicBezTo>
                    <a:cubicBezTo>
                      <a:pt x="13506" y="15828"/>
                      <a:pt x="13840" y="15441"/>
                      <a:pt x="14044" y="14984"/>
                    </a:cubicBezTo>
                    <a:cubicBezTo>
                      <a:pt x="14228" y="14597"/>
                      <a:pt x="14065" y="14135"/>
                      <a:pt x="13679" y="13950"/>
                    </a:cubicBezTo>
                    <a:cubicBezTo>
                      <a:pt x="13593" y="13909"/>
                      <a:pt x="13500" y="13884"/>
                      <a:pt x="13405" y="13877"/>
                    </a:cubicBezTo>
                    <a:cubicBezTo>
                      <a:pt x="12908" y="13822"/>
                      <a:pt x="12406" y="13918"/>
                      <a:pt x="11964" y="14151"/>
                    </a:cubicBezTo>
                    <a:cubicBezTo>
                      <a:pt x="11951" y="14159"/>
                      <a:pt x="11938" y="14168"/>
                      <a:pt x="11927" y="14177"/>
                    </a:cubicBezTo>
                    <a:cubicBezTo>
                      <a:pt x="11549" y="14437"/>
                      <a:pt x="11365" y="14900"/>
                      <a:pt x="11462" y="15348"/>
                    </a:cubicBezTo>
                    <a:lnTo>
                      <a:pt x="11080" y="15569"/>
                    </a:lnTo>
                    <a:lnTo>
                      <a:pt x="11080" y="14101"/>
                    </a:lnTo>
                    <a:cubicBezTo>
                      <a:pt x="11061" y="12992"/>
                      <a:pt x="11327" y="11897"/>
                      <a:pt x="11854" y="10921"/>
                    </a:cubicBezTo>
                    <a:cubicBezTo>
                      <a:pt x="12499" y="11275"/>
                      <a:pt x="13298" y="11174"/>
                      <a:pt x="13835" y="10671"/>
                    </a:cubicBezTo>
                    <a:cubicBezTo>
                      <a:pt x="14643" y="9860"/>
                      <a:pt x="14874" y="8655"/>
                      <a:pt x="14939" y="8011"/>
                    </a:cubicBezTo>
                    <a:cubicBezTo>
                      <a:pt x="14982" y="7585"/>
                      <a:pt x="14673" y="7205"/>
                      <a:pt x="14247" y="7161"/>
                    </a:cubicBezTo>
                    <a:cubicBezTo>
                      <a:pt x="14195" y="7156"/>
                      <a:pt x="14143" y="7156"/>
                      <a:pt x="14091" y="7161"/>
                    </a:cubicBezTo>
                    <a:cubicBezTo>
                      <a:pt x="13445" y="7227"/>
                      <a:pt x="12244" y="7458"/>
                      <a:pt x="11436" y="8267"/>
                    </a:cubicBezTo>
                    <a:cubicBezTo>
                      <a:pt x="11423" y="8279"/>
                      <a:pt x="11412" y="8293"/>
                      <a:pt x="11402" y="8307"/>
                    </a:cubicBezTo>
                    <a:cubicBezTo>
                      <a:pt x="10852" y="8936"/>
                      <a:pt x="10838" y="9871"/>
                      <a:pt x="11368" y="10516"/>
                    </a:cubicBezTo>
                    <a:cubicBezTo>
                      <a:pt x="11118" y="10947"/>
                      <a:pt x="10919" y="11407"/>
                      <a:pt x="10777" y="11885"/>
                    </a:cubicBezTo>
                    <a:cubicBezTo>
                      <a:pt x="10635" y="11406"/>
                      <a:pt x="10436" y="10946"/>
                      <a:pt x="10185" y="10514"/>
                    </a:cubicBezTo>
                    <a:cubicBezTo>
                      <a:pt x="10716" y="9868"/>
                      <a:pt x="10699" y="8931"/>
                      <a:pt x="10147" y="8303"/>
                    </a:cubicBezTo>
                    <a:cubicBezTo>
                      <a:pt x="10136" y="8289"/>
                      <a:pt x="10125" y="8275"/>
                      <a:pt x="10113" y="8263"/>
                    </a:cubicBezTo>
                    <a:cubicBezTo>
                      <a:pt x="9305" y="7453"/>
                      <a:pt x="8100" y="7222"/>
                      <a:pt x="7458" y="7157"/>
                    </a:cubicBezTo>
                    <a:cubicBezTo>
                      <a:pt x="7033" y="7113"/>
                      <a:pt x="6652" y="7422"/>
                      <a:pt x="6608" y="7848"/>
                    </a:cubicBezTo>
                    <a:cubicBezTo>
                      <a:pt x="6603" y="7901"/>
                      <a:pt x="6603" y="7954"/>
                      <a:pt x="6608" y="8007"/>
                    </a:cubicBezTo>
                    <a:cubicBezTo>
                      <a:pt x="6675" y="8652"/>
                      <a:pt x="6905" y="9855"/>
                      <a:pt x="7723" y="10676"/>
                    </a:cubicBezTo>
                    <a:cubicBezTo>
                      <a:pt x="8262" y="11173"/>
                      <a:pt x="9058" y="11268"/>
                      <a:pt x="9699" y="10913"/>
                    </a:cubicBezTo>
                    <a:cubicBezTo>
                      <a:pt x="10222" y="11891"/>
                      <a:pt x="10485" y="12988"/>
                      <a:pt x="10461" y="14097"/>
                    </a:cubicBezTo>
                    <a:lnTo>
                      <a:pt x="10461" y="16057"/>
                    </a:lnTo>
                    <a:cubicBezTo>
                      <a:pt x="10455" y="16095"/>
                      <a:pt x="10455" y="16133"/>
                      <a:pt x="10461" y="16170"/>
                    </a:cubicBezTo>
                    <a:lnTo>
                      <a:pt x="10461" y="20945"/>
                    </a:lnTo>
                    <a:lnTo>
                      <a:pt x="4501" y="20945"/>
                    </a:lnTo>
                    <a:cubicBezTo>
                      <a:pt x="4521" y="19941"/>
                      <a:pt x="4781" y="18955"/>
                      <a:pt x="5258" y="18072"/>
                    </a:cubicBezTo>
                    <a:cubicBezTo>
                      <a:pt x="5491" y="18202"/>
                      <a:pt x="5751" y="18275"/>
                      <a:pt x="6017" y="18284"/>
                    </a:cubicBezTo>
                    <a:lnTo>
                      <a:pt x="6083" y="18284"/>
                    </a:lnTo>
                    <a:cubicBezTo>
                      <a:pt x="6515" y="18283"/>
                      <a:pt x="6930" y="18117"/>
                      <a:pt x="7243" y="17819"/>
                    </a:cubicBezTo>
                    <a:cubicBezTo>
                      <a:pt x="8051" y="17008"/>
                      <a:pt x="8281" y="15803"/>
                      <a:pt x="8348" y="15159"/>
                    </a:cubicBezTo>
                    <a:cubicBezTo>
                      <a:pt x="8391" y="14733"/>
                      <a:pt x="8082" y="14353"/>
                      <a:pt x="7656" y="14309"/>
                    </a:cubicBezTo>
                    <a:cubicBezTo>
                      <a:pt x="7604" y="14304"/>
                      <a:pt x="7551" y="14304"/>
                      <a:pt x="7498" y="14309"/>
                    </a:cubicBezTo>
                    <a:cubicBezTo>
                      <a:pt x="6854" y="14374"/>
                      <a:pt x="5653" y="14605"/>
                      <a:pt x="4843" y="15415"/>
                    </a:cubicBezTo>
                    <a:cubicBezTo>
                      <a:pt x="4831" y="15427"/>
                      <a:pt x="4820" y="15441"/>
                      <a:pt x="4811" y="15455"/>
                    </a:cubicBezTo>
                    <a:cubicBezTo>
                      <a:pt x="4262" y="16084"/>
                      <a:pt x="4248" y="17017"/>
                      <a:pt x="4777" y="17662"/>
                    </a:cubicBezTo>
                    <a:cubicBezTo>
                      <a:pt x="4526" y="18094"/>
                      <a:pt x="4327" y="18554"/>
                      <a:pt x="4186" y="19033"/>
                    </a:cubicBezTo>
                    <a:cubicBezTo>
                      <a:pt x="4044" y="18554"/>
                      <a:pt x="3846" y="18094"/>
                      <a:pt x="3594" y="17662"/>
                    </a:cubicBezTo>
                    <a:cubicBezTo>
                      <a:pt x="4124" y="17018"/>
                      <a:pt x="4110" y="16084"/>
                      <a:pt x="3562" y="15455"/>
                    </a:cubicBezTo>
                    <a:cubicBezTo>
                      <a:pt x="3551" y="15441"/>
                      <a:pt x="3540" y="15428"/>
                      <a:pt x="3528" y="15415"/>
                    </a:cubicBezTo>
                    <a:cubicBezTo>
                      <a:pt x="2718" y="14605"/>
                      <a:pt x="1515" y="14374"/>
                      <a:pt x="873" y="14309"/>
                    </a:cubicBezTo>
                    <a:cubicBezTo>
                      <a:pt x="448" y="14265"/>
                      <a:pt x="67" y="14575"/>
                      <a:pt x="23" y="15001"/>
                    </a:cubicBezTo>
                    <a:cubicBezTo>
                      <a:pt x="18" y="15053"/>
                      <a:pt x="18" y="15106"/>
                      <a:pt x="23" y="15159"/>
                    </a:cubicBezTo>
                    <a:cubicBezTo>
                      <a:pt x="90" y="15804"/>
                      <a:pt x="320" y="17008"/>
                      <a:pt x="1136" y="17827"/>
                    </a:cubicBezTo>
                    <a:cubicBezTo>
                      <a:pt x="1448" y="18119"/>
                      <a:pt x="1860" y="18281"/>
                      <a:pt x="2288" y="18279"/>
                    </a:cubicBezTo>
                    <a:lnTo>
                      <a:pt x="2354" y="18279"/>
                    </a:lnTo>
                    <a:cubicBezTo>
                      <a:pt x="2619" y="18270"/>
                      <a:pt x="2877" y="18198"/>
                      <a:pt x="3108" y="18070"/>
                    </a:cubicBezTo>
                    <a:cubicBezTo>
                      <a:pt x="3586" y="18953"/>
                      <a:pt x="3847" y="19937"/>
                      <a:pt x="3870" y="20941"/>
                    </a:cubicBezTo>
                    <a:lnTo>
                      <a:pt x="310" y="20941"/>
                    </a:lnTo>
                    <a:cubicBezTo>
                      <a:pt x="139" y="20941"/>
                      <a:pt x="0" y="21080"/>
                      <a:pt x="0" y="21251"/>
                    </a:cubicBezTo>
                    <a:cubicBezTo>
                      <a:pt x="0" y="21422"/>
                      <a:pt x="139" y="21561"/>
                      <a:pt x="310" y="21561"/>
                    </a:cubicBezTo>
                    <a:lnTo>
                      <a:pt x="21207" y="21561"/>
                    </a:lnTo>
                    <a:cubicBezTo>
                      <a:pt x="21378" y="21561"/>
                      <a:pt x="21516" y="21422"/>
                      <a:pt x="21516" y="21251"/>
                    </a:cubicBezTo>
                    <a:cubicBezTo>
                      <a:pt x="21516" y="21080"/>
                      <a:pt x="21378" y="20941"/>
                      <a:pt x="21207" y="20941"/>
                    </a:cubicBezTo>
                    <a:cubicBezTo>
                      <a:pt x="21207" y="20941"/>
                      <a:pt x="21214" y="20942"/>
                      <a:pt x="21214" y="20942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rgbClr val="FFFFFF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sp>
            <p:nvSpPr>
              <p:cNvPr id="43" name="Google Shape;1194;p40">
                <a:extLst>
                  <a:ext uri="{FF2B5EF4-FFF2-40B4-BE49-F238E27FC236}">
                    <a16:creationId xmlns:a16="http://schemas.microsoft.com/office/drawing/2014/main" id="{AD8E7901-50E1-CF88-8CDD-23E32839DC5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144913" y="5248491"/>
                <a:ext cx="520702" cy="4315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481" h="21576" extrusionOk="0">
                    <a:moveTo>
                      <a:pt x="7840" y="37"/>
                    </a:moveTo>
                    <a:cubicBezTo>
                      <a:pt x="7725" y="-14"/>
                      <a:pt x="7599" y="-12"/>
                      <a:pt x="7477" y="44"/>
                    </a:cubicBezTo>
                    <a:lnTo>
                      <a:pt x="6944" y="297"/>
                    </a:lnTo>
                    <a:cubicBezTo>
                      <a:pt x="6700" y="413"/>
                      <a:pt x="6565" y="730"/>
                      <a:pt x="6630" y="1037"/>
                    </a:cubicBezTo>
                    <a:lnTo>
                      <a:pt x="6779" y="1737"/>
                    </a:lnTo>
                    <a:cubicBezTo>
                      <a:pt x="6654" y="1858"/>
                      <a:pt x="6537" y="1991"/>
                      <a:pt x="6432" y="2137"/>
                    </a:cubicBezTo>
                    <a:lnTo>
                      <a:pt x="5871" y="1923"/>
                    </a:lnTo>
                    <a:cubicBezTo>
                      <a:pt x="5620" y="1829"/>
                      <a:pt x="5349" y="1978"/>
                      <a:pt x="5244" y="2270"/>
                    </a:cubicBezTo>
                    <a:lnTo>
                      <a:pt x="5013" y="2916"/>
                    </a:lnTo>
                    <a:cubicBezTo>
                      <a:pt x="4909" y="3207"/>
                      <a:pt x="4998" y="3547"/>
                      <a:pt x="5222" y="3709"/>
                    </a:cubicBezTo>
                    <a:lnTo>
                      <a:pt x="5734" y="4076"/>
                    </a:lnTo>
                    <a:cubicBezTo>
                      <a:pt x="5716" y="4270"/>
                      <a:pt x="5712" y="4468"/>
                      <a:pt x="5723" y="4662"/>
                    </a:cubicBezTo>
                    <a:lnTo>
                      <a:pt x="5200" y="4996"/>
                    </a:lnTo>
                    <a:cubicBezTo>
                      <a:pt x="4973" y="5144"/>
                      <a:pt x="4866" y="5474"/>
                      <a:pt x="4953" y="5769"/>
                    </a:cubicBezTo>
                    <a:lnTo>
                      <a:pt x="5162" y="6422"/>
                    </a:lnTo>
                    <a:cubicBezTo>
                      <a:pt x="5256" y="6718"/>
                      <a:pt x="5519" y="6881"/>
                      <a:pt x="5772" y="6802"/>
                    </a:cubicBezTo>
                    <a:lnTo>
                      <a:pt x="6344" y="6622"/>
                    </a:lnTo>
                    <a:cubicBezTo>
                      <a:pt x="6444" y="6773"/>
                      <a:pt x="6554" y="6913"/>
                      <a:pt x="6674" y="7041"/>
                    </a:cubicBezTo>
                    <a:lnTo>
                      <a:pt x="6504" y="7735"/>
                    </a:lnTo>
                    <a:cubicBezTo>
                      <a:pt x="6427" y="8038"/>
                      <a:pt x="6545" y="8359"/>
                      <a:pt x="6784" y="8488"/>
                    </a:cubicBezTo>
                    <a:lnTo>
                      <a:pt x="7318" y="8774"/>
                    </a:lnTo>
                    <a:cubicBezTo>
                      <a:pt x="7558" y="8903"/>
                      <a:pt x="7839" y="8796"/>
                      <a:pt x="7972" y="8521"/>
                    </a:cubicBezTo>
                    <a:lnTo>
                      <a:pt x="8274" y="7894"/>
                    </a:lnTo>
                    <a:cubicBezTo>
                      <a:pt x="8432" y="7915"/>
                      <a:pt x="8589" y="7926"/>
                      <a:pt x="8747" y="7914"/>
                    </a:cubicBezTo>
                    <a:lnTo>
                      <a:pt x="9028" y="8554"/>
                    </a:lnTo>
                    <a:cubicBezTo>
                      <a:pt x="9117" y="8759"/>
                      <a:pt x="9293" y="8888"/>
                      <a:pt x="9484" y="8887"/>
                    </a:cubicBezTo>
                    <a:cubicBezTo>
                      <a:pt x="9547" y="8888"/>
                      <a:pt x="9607" y="8875"/>
                      <a:pt x="9666" y="8847"/>
                    </a:cubicBezTo>
                    <a:lnTo>
                      <a:pt x="10210" y="8594"/>
                    </a:lnTo>
                    <a:cubicBezTo>
                      <a:pt x="10453" y="8477"/>
                      <a:pt x="10587" y="8162"/>
                      <a:pt x="10523" y="7854"/>
                    </a:cubicBezTo>
                    <a:lnTo>
                      <a:pt x="10375" y="7155"/>
                    </a:lnTo>
                    <a:cubicBezTo>
                      <a:pt x="10500" y="7031"/>
                      <a:pt x="10614" y="6895"/>
                      <a:pt x="10721" y="6748"/>
                    </a:cubicBezTo>
                    <a:lnTo>
                      <a:pt x="11288" y="6961"/>
                    </a:lnTo>
                    <a:cubicBezTo>
                      <a:pt x="11539" y="7056"/>
                      <a:pt x="11804" y="6907"/>
                      <a:pt x="11909" y="6615"/>
                    </a:cubicBezTo>
                    <a:lnTo>
                      <a:pt x="12146" y="5969"/>
                    </a:lnTo>
                    <a:cubicBezTo>
                      <a:pt x="12250" y="5678"/>
                      <a:pt x="12156" y="5338"/>
                      <a:pt x="11931" y="5175"/>
                    </a:cubicBezTo>
                    <a:lnTo>
                      <a:pt x="11425" y="4809"/>
                    </a:lnTo>
                    <a:cubicBezTo>
                      <a:pt x="11442" y="4615"/>
                      <a:pt x="11446" y="4424"/>
                      <a:pt x="11436" y="4229"/>
                    </a:cubicBezTo>
                    <a:lnTo>
                      <a:pt x="11959" y="3889"/>
                    </a:lnTo>
                    <a:cubicBezTo>
                      <a:pt x="12187" y="3739"/>
                      <a:pt x="12287" y="3404"/>
                      <a:pt x="12195" y="3110"/>
                    </a:cubicBezTo>
                    <a:lnTo>
                      <a:pt x="11986" y="2457"/>
                    </a:lnTo>
                    <a:cubicBezTo>
                      <a:pt x="11892" y="2160"/>
                      <a:pt x="11630" y="1997"/>
                      <a:pt x="11376" y="2077"/>
                    </a:cubicBezTo>
                    <a:lnTo>
                      <a:pt x="10804" y="2257"/>
                    </a:lnTo>
                    <a:cubicBezTo>
                      <a:pt x="10704" y="2105"/>
                      <a:pt x="10594" y="1965"/>
                      <a:pt x="10474" y="1837"/>
                    </a:cubicBezTo>
                    <a:lnTo>
                      <a:pt x="10650" y="1144"/>
                    </a:lnTo>
                    <a:cubicBezTo>
                      <a:pt x="10726" y="840"/>
                      <a:pt x="10604" y="519"/>
                      <a:pt x="10364" y="391"/>
                    </a:cubicBezTo>
                    <a:lnTo>
                      <a:pt x="9831" y="104"/>
                    </a:lnTo>
                    <a:cubicBezTo>
                      <a:pt x="9590" y="-24"/>
                      <a:pt x="9309" y="83"/>
                      <a:pt x="9176" y="357"/>
                    </a:cubicBezTo>
                    <a:lnTo>
                      <a:pt x="8874" y="984"/>
                    </a:lnTo>
                    <a:cubicBezTo>
                      <a:pt x="8716" y="963"/>
                      <a:pt x="8560" y="952"/>
                      <a:pt x="8401" y="964"/>
                    </a:cubicBezTo>
                    <a:lnTo>
                      <a:pt x="8120" y="331"/>
                    </a:lnTo>
                    <a:cubicBezTo>
                      <a:pt x="8059" y="191"/>
                      <a:pt x="7954" y="89"/>
                      <a:pt x="7840" y="37"/>
                    </a:cubicBezTo>
                    <a:close/>
                    <a:moveTo>
                      <a:pt x="7647" y="644"/>
                    </a:moveTo>
                    <a:lnTo>
                      <a:pt x="7928" y="1270"/>
                    </a:lnTo>
                    <a:cubicBezTo>
                      <a:pt x="8022" y="1488"/>
                      <a:pt x="8215" y="1619"/>
                      <a:pt x="8417" y="1603"/>
                    </a:cubicBezTo>
                    <a:cubicBezTo>
                      <a:pt x="8554" y="1593"/>
                      <a:pt x="8688" y="1599"/>
                      <a:pt x="8824" y="1617"/>
                    </a:cubicBezTo>
                    <a:cubicBezTo>
                      <a:pt x="9025" y="1643"/>
                      <a:pt x="9223" y="1522"/>
                      <a:pt x="9325" y="1310"/>
                    </a:cubicBezTo>
                    <a:lnTo>
                      <a:pt x="9622" y="691"/>
                    </a:lnTo>
                    <a:lnTo>
                      <a:pt x="10122" y="964"/>
                    </a:lnTo>
                    <a:lnTo>
                      <a:pt x="9952" y="1643"/>
                    </a:lnTo>
                    <a:cubicBezTo>
                      <a:pt x="9891" y="1879"/>
                      <a:pt x="9948" y="2140"/>
                      <a:pt x="10100" y="2303"/>
                    </a:cubicBezTo>
                    <a:cubicBezTo>
                      <a:pt x="10203" y="2414"/>
                      <a:pt x="10300" y="2533"/>
                      <a:pt x="10386" y="2663"/>
                    </a:cubicBezTo>
                    <a:cubicBezTo>
                      <a:pt x="10513" y="2856"/>
                      <a:pt x="10723" y="2940"/>
                      <a:pt x="10919" y="2876"/>
                    </a:cubicBezTo>
                    <a:lnTo>
                      <a:pt x="11486" y="2696"/>
                    </a:lnTo>
                    <a:lnTo>
                      <a:pt x="11684" y="3323"/>
                    </a:lnTo>
                    <a:lnTo>
                      <a:pt x="11167" y="3656"/>
                    </a:lnTo>
                    <a:cubicBezTo>
                      <a:pt x="10988" y="3771"/>
                      <a:pt x="10880" y="3997"/>
                      <a:pt x="10892" y="4243"/>
                    </a:cubicBezTo>
                    <a:cubicBezTo>
                      <a:pt x="10901" y="4410"/>
                      <a:pt x="10897" y="4583"/>
                      <a:pt x="10881" y="4749"/>
                    </a:cubicBezTo>
                    <a:cubicBezTo>
                      <a:pt x="10860" y="4992"/>
                      <a:pt x="10960" y="5224"/>
                      <a:pt x="11134" y="5349"/>
                    </a:cubicBezTo>
                    <a:lnTo>
                      <a:pt x="11640" y="5715"/>
                    </a:lnTo>
                    <a:lnTo>
                      <a:pt x="11420" y="6328"/>
                    </a:lnTo>
                    <a:lnTo>
                      <a:pt x="10864" y="6122"/>
                    </a:lnTo>
                    <a:cubicBezTo>
                      <a:pt x="10669" y="6049"/>
                      <a:pt x="10454" y="6121"/>
                      <a:pt x="10320" y="6308"/>
                    </a:cubicBezTo>
                    <a:cubicBezTo>
                      <a:pt x="10230" y="6434"/>
                      <a:pt x="10131" y="6551"/>
                      <a:pt x="10023" y="6655"/>
                    </a:cubicBezTo>
                    <a:cubicBezTo>
                      <a:pt x="9865" y="6810"/>
                      <a:pt x="9796" y="7064"/>
                      <a:pt x="9847" y="7301"/>
                    </a:cubicBezTo>
                    <a:lnTo>
                      <a:pt x="9996" y="7994"/>
                    </a:lnTo>
                    <a:lnTo>
                      <a:pt x="9484" y="8234"/>
                    </a:lnTo>
                    <a:lnTo>
                      <a:pt x="9209" y="7601"/>
                    </a:lnTo>
                    <a:cubicBezTo>
                      <a:pt x="9120" y="7395"/>
                      <a:pt x="8945" y="7268"/>
                      <a:pt x="8753" y="7268"/>
                    </a:cubicBezTo>
                    <a:lnTo>
                      <a:pt x="8720" y="7268"/>
                    </a:lnTo>
                    <a:cubicBezTo>
                      <a:pt x="8583" y="7278"/>
                      <a:pt x="8449" y="7272"/>
                      <a:pt x="8313" y="7255"/>
                    </a:cubicBezTo>
                    <a:cubicBezTo>
                      <a:pt x="8112" y="7228"/>
                      <a:pt x="7914" y="7349"/>
                      <a:pt x="7812" y="7561"/>
                    </a:cubicBezTo>
                    <a:lnTo>
                      <a:pt x="7515" y="8181"/>
                    </a:lnTo>
                    <a:lnTo>
                      <a:pt x="7010" y="7908"/>
                    </a:lnTo>
                    <a:lnTo>
                      <a:pt x="7186" y="7221"/>
                    </a:lnTo>
                    <a:cubicBezTo>
                      <a:pt x="7245" y="6986"/>
                      <a:pt x="7189" y="6732"/>
                      <a:pt x="7037" y="6568"/>
                    </a:cubicBezTo>
                    <a:cubicBezTo>
                      <a:pt x="6934" y="6458"/>
                      <a:pt x="6836" y="6339"/>
                      <a:pt x="6751" y="6208"/>
                    </a:cubicBezTo>
                    <a:cubicBezTo>
                      <a:pt x="6624" y="6016"/>
                      <a:pt x="6414" y="5932"/>
                      <a:pt x="6218" y="5995"/>
                    </a:cubicBezTo>
                    <a:lnTo>
                      <a:pt x="5651" y="6175"/>
                    </a:lnTo>
                    <a:lnTo>
                      <a:pt x="5453" y="5549"/>
                    </a:lnTo>
                    <a:cubicBezTo>
                      <a:pt x="5453" y="5549"/>
                      <a:pt x="5976" y="5215"/>
                      <a:pt x="5976" y="5215"/>
                    </a:cubicBezTo>
                    <a:cubicBezTo>
                      <a:pt x="6155" y="5100"/>
                      <a:pt x="6262" y="4868"/>
                      <a:pt x="6251" y="4622"/>
                    </a:cubicBezTo>
                    <a:cubicBezTo>
                      <a:pt x="6241" y="4455"/>
                      <a:pt x="6242" y="4289"/>
                      <a:pt x="6256" y="4123"/>
                    </a:cubicBezTo>
                    <a:cubicBezTo>
                      <a:pt x="6277" y="3880"/>
                      <a:pt x="6182" y="3647"/>
                      <a:pt x="6009" y="3523"/>
                    </a:cubicBezTo>
                    <a:lnTo>
                      <a:pt x="5497" y="3156"/>
                    </a:lnTo>
                    <a:lnTo>
                      <a:pt x="5723" y="2543"/>
                    </a:lnTo>
                    <a:lnTo>
                      <a:pt x="6284" y="2750"/>
                    </a:lnTo>
                    <a:cubicBezTo>
                      <a:pt x="6475" y="2820"/>
                      <a:pt x="6679" y="2752"/>
                      <a:pt x="6812" y="2570"/>
                    </a:cubicBezTo>
                    <a:cubicBezTo>
                      <a:pt x="6902" y="2444"/>
                      <a:pt x="7006" y="2327"/>
                      <a:pt x="7114" y="2223"/>
                    </a:cubicBezTo>
                    <a:cubicBezTo>
                      <a:pt x="7271" y="2068"/>
                      <a:pt x="7336" y="1814"/>
                      <a:pt x="7285" y="1577"/>
                    </a:cubicBezTo>
                    <a:lnTo>
                      <a:pt x="7136" y="884"/>
                    </a:lnTo>
                    <a:lnTo>
                      <a:pt x="7647" y="644"/>
                    </a:lnTo>
                    <a:close/>
                    <a:moveTo>
                      <a:pt x="8571" y="2350"/>
                    </a:moveTo>
                    <a:cubicBezTo>
                      <a:pt x="7616" y="2354"/>
                      <a:pt x="6847" y="3292"/>
                      <a:pt x="6850" y="4449"/>
                    </a:cubicBezTo>
                    <a:cubicBezTo>
                      <a:pt x="6853" y="5459"/>
                      <a:pt x="7449" y="6328"/>
                      <a:pt x="8269" y="6508"/>
                    </a:cubicBezTo>
                    <a:cubicBezTo>
                      <a:pt x="8373" y="6531"/>
                      <a:pt x="8477" y="6542"/>
                      <a:pt x="8582" y="6542"/>
                    </a:cubicBezTo>
                    <a:cubicBezTo>
                      <a:pt x="9537" y="6538"/>
                      <a:pt x="10312" y="5593"/>
                      <a:pt x="10309" y="4436"/>
                    </a:cubicBezTo>
                    <a:cubicBezTo>
                      <a:pt x="10306" y="3278"/>
                      <a:pt x="9526" y="2346"/>
                      <a:pt x="8571" y="2350"/>
                    </a:cubicBezTo>
                    <a:close/>
                    <a:moveTo>
                      <a:pt x="8577" y="2996"/>
                    </a:moveTo>
                    <a:cubicBezTo>
                      <a:pt x="8650" y="2996"/>
                      <a:pt x="8725" y="3000"/>
                      <a:pt x="8797" y="3016"/>
                    </a:cubicBezTo>
                    <a:cubicBezTo>
                      <a:pt x="9447" y="3160"/>
                      <a:pt x="9878" y="3914"/>
                      <a:pt x="9759" y="4702"/>
                    </a:cubicBezTo>
                    <a:cubicBezTo>
                      <a:pt x="9640" y="5491"/>
                      <a:pt x="9013" y="6019"/>
                      <a:pt x="8362" y="5875"/>
                    </a:cubicBezTo>
                    <a:cubicBezTo>
                      <a:pt x="7712" y="5731"/>
                      <a:pt x="7281" y="4971"/>
                      <a:pt x="7400" y="4183"/>
                    </a:cubicBezTo>
                    <a:cubicBezTo>
                      <a:pt x="7504" y="3495"/>
                      <a:pt x="8000" y="2998"/>
                      <a:pt x="8577" y="2996"/>
                    </a:cubicBezTo>
                    <a:close/>
                    <a:moveTo>
                      <a:pt x="15984" y="6455"/>
                    </a:moveTo>
                    <a:cubicBezTo>
                      <a:pt x="15735" y="6496"/>
                      <a:pt x="15520" y="6701"/>
                      <a:pt x="15429" y="7001"/>
                    </a:cubicBezTo>
                    <a:lnTo>
                      <a:pt x="15071" y="8181"/>
                    </a:lnTo>
                    <a:cubicBezTo>
                      <a:pt x="15052" y="8252"/>
                      <a:pt x="15000" y="8301"/>
                      <a:pt x="14939" y="8308"/>
                    </a:cubicBezTo>
                    <a:cubicBezTo>
                      <a:pt x="14664" y="8333"/>
                      <a:pt x="14393" y="8385"/>
                      <a:pt x="14125" y="8468"/>
                    </a:cubicBezTo>
                    <a:cubicBezTo>
                      <a:pt x="14064" y="8486"/>
                      <a:pt x="13998" y="8455"/>
                      <a:pt x="13960" y="8394"/>
                    </a:cubicBezTo>
                    <a:lnTo>
                      <a:pt x="13317" y="7421"/>
                    </a:lnTo>
                    <a:cubicBezTo>
                      <a:pt x="13099" y="7088"/>
                      <a:pt x="12709" y="6999"/>
                      <a:pt x="12410" y="7221"/>
                    </a:cubicBezTo>
                    <a:lnTo>
                      <a:pt x="11568" y="7848"/>
                    </a:lnTo>
                    <a:cubicBezTo>
                      <a:pt x="11269" y="8073"/>
                      <a:pt x="11157" y="8539"/>
                      <a:pt x="11304" y="8927"/>
                    </a:cubicBezTo>
                    <a:lnTo>
                      <a:pt x="11733" y="10054"/>
                    </a:lnTo>
                    <a:cubicBezTo>
                      <a:pt x="11760" y="10122"/>
                      <a:pt x="11751" y="10202"/>
                      <a:pt x="11711" y="10260"/>
                    </a:cubicBezTo>
                    <a:cubicBezTo>
                      <a:pt x="11529" y="10514"/>
                      <a:pt x="11369" y="10791"/>
                      <a:pt x="11227" y="11080"/>
                    </a:cubicBezTo>
                    <a:cubicBezTo>
                      <a:pt x="11195" y="11144"/>
                      <a:pt x="11135" y="11176"/>
                      <a:pt x="11073" y="11167"/>
                    </a:cubicBezTo>
                    <a:lnTo>
                      <a:pt x="10051" y="11020"/>
                    </a:lnTo>
                    <a:cubicBezTo>
                      <a:pt x="9700" y="10970"/>
                      <a:pt x="9377" y="11249"/>
                      <a:pt x="9297" y="11666"/>
                    </a:cubicBezTo>
                    <a:lnTo>
                      <a:pt x="9066" y="12833"/>
                    </a:lnTo>
                    <a:cubicBezTo>
                      <a:pt x="8985" y="13248"/>
                      <a:pt x="9170" y="13670"/>
                      <a:pt x="9501" y="13819"/>
                    </a:cubicBezTo>
                    <a:lnTo>
                      <a:pt x="10468" y="14252"/>
                    </a:lnTo>
                    <a:cubicBezTo>
                      <a:pt x="10526" y="14278"/>
                      <a:pt x="10566" y="14339"/>
                      <a:pt x="10573" y="14412"/>
                    </a:cubicBezTo>
                    <a:cubicBezTo>
                      <a:pt x="10592" y="14747"/>
                      <a:pt x="10636" y="15079"/>
                      <a:pt x="10705" y="15405"/>
                    </a:cubicBezTo>
                    <a:cubicBezTo>
                      <a:pt x="10718" y="15483"/>
                      <a:pt x="10694" y="15567"/>
                      <a:pt x="10639" y="15612"/>
                    </a:cubicBezTo>
                    <a:lnTo>
                      <a:pt x="9842" y="16385"/>
                    </a:lnTo>
                    <a:cubicBezTo>
                      <a:pt x="9570" y="16652"/>
                      <a:pt x="9503" y="17120"/>
                      <a:pt x="9682" y="17484"/>
                    </a:cubicBezTo>
                    <a:lnTo>
                      <a:pt x="10194" y="18504"/>
                    </a:lnTo>
                    <a:cubicBezTo>
                      <a:pt x="10378" y="18869"/>
                      <a:pt x="10759" y="19011"/>
                      <a:pt x="11079" y="18830"/>
                    </a:cubicBezTo>
                    <a:lnTo>
                      <a:pt x="12014" y="18304"/>
                    </a:lnTo>
                    <a:cubicBezTo>
                      <a:pt x="12069" y="18272"/>
                      <a:pt x="12132" y="18283"/>
                      <a:pt x="12179" y="18331"/>
                    </a:cubicBezTo>
                    <a:cubicBezTo>
                      <a:pt x="12386" y="18551"/>
                      <a:pt x="12608" y="18745"/>
                      <a:pt x="12844" y="18917"/>
                    </a:cubicBezTo>
                    <a:cubicBezTo>
                      <a:pt x="12898" y="18957"/>
                      <a:pt x="12929" y="19034"/>
                      <a:pt x="12921" y="19110"/>
                    </a:cubicBezTo>
                    <a:lnTo>
                      <a:pt x="12800" y="20356"/>
                    </a:lnTo>
                    <a:cubicBezTo>
                      <a:pt x="12760" y="20782"/>
                      <a:pt x="12990" y="21178"/>
                      <a:pt x="13333" y="21276"/>
                    </a:cubicBezTo>
                    <a:lnTo>
                      <a:pt x="14290" y="21556"/>
                    </a:lnTo>
                    <a:cubicBezTo>
                      <a:pt x="14343" y="21571"/>
                      <a:pt x="14396" y="21576"/>
                      <a:pt x="14450" y="21576"/>
                    </a:cubicBezTo>
                    <a:cubicBezTo>
                      <a:pt x="14742" y="21575"/>
                      <a:pt x="15004" y="21355"/>
                      <a:pt x="15104" y="21023"/>
                    </a:cubicBezTo>
                    <a:lnTo>
                      <a:pt x="15456" y="19843"/>
                    </a:lnTo>
                    <a:cubicBezTo>
                      <a:pt x="15477" y="19773"/>
                      <a:pt x="15533" y="19725"/>
                      <a:pt x="15594" y="19717"/>
                    </a:cubicBezTo>
                    <a:cubicBezTo>
                      <a:pt x="15869" y="19693"/>
                      <a:pt x="16140" y="19640"/>
                      <a:pt x="16407" y="19557"/>
                    </a:cubicBezTo>
                    <a:cubicBezTo>
                      <a:pt x="16468" y="19539"/>
                      <a:pt x="16530" y="19563"/>
                      <a:pt x="16567" y="19623"/>
                    </a:cubicBezTo>
                    <a:lnTo>
                      <a:pt x="17205" y="20610"/>
                    </a:lnTo>
                    <a:cubicBezTo>
                      <a:pt x="17422" y="20943"/>
                      <a:pt x="17813" y="21024"/>
                      <a:pt x="18112" y="20803"/>
                    </a:cubicBezTo>
                    <a:lnTo>
                      <a:pt x="18959" y="20183"/>
                    </a:lnTo>
                    <a:cubicBezTo>
                      <a:pt x="19257" y="19958"/>
                      <a:pt x="19369" y="19498"/>
                      <a:pt x="19223" y="19110"/>
                    </a:cubicBezTo>
                    <a:lnTo>
                      <a:pt x="18794" y="17971"/>
                    </a:lnTo>
                    <a:cubicBezTo>
                      <a:pt x="18768" y="17902"/>
                      <a:pt x="18776" y="17822"/>
                      <a:pt x="18816" y="17764"/>
                    </a:cubicBezTo>
                    <a:cubicBezTo>
                      <a:pt x="18996" y="17513"/>
                      <a:pt x="19159" y="17243"/>
                      <a:pt x="19300" y="16958"/>
                    </a:cubicBezTo>
                    <a:cubicBezTo>
                      <a:pt x="19333" y="16891"/>
                      <a:pt x="19390" y="16853"/>
                      <a:pt x="19454" y="16858"/>
                    </a:cubicBezTo>
                    <a:lnTo>
                      <a:pt x="20477" y="17004"/>
                    </a:lnTo>
                    <a:cubicBezTo>
                      <a:pt x="20828" y="17054"/>
                      <a:pt x="21156" y="16775"/>
                      <a:pt x="21236" y="16358"/>
                    </a:cubicBezTo>
                    <a:lnTo>
                      <a:pt x="21461" y="15192"/>
                    </a:lnTo>
                    <a:cubicBezTo>
                      <a:pt x="21543" y="14775"/>
                      <a:pt x="21358" y="14348"/>
                      <a:pt x="21027" y="14199"/>
                    </a:cubicBezTo>
                    <a:lnTo>
                      <a:pt x="20059" y="13766"/>
                    </a:lnTo>
                    <a:cubicBezTo>
                      <a:pt x="20002" y="13740"/>
                      <a:pt x="19961" y="13679"/>
                      <a:pt x="19954" y="13606"/>
                    </a:cubicBezTo>
                    <a:cubicBezTo>
                      <a:pt x="19934" y="13271"/>
                      <a:pt x="19891" y="12938"/>
                      <a:pt x="19822" y="12613"/>
                    </a:cubicBezTo>
                    <a:cubicBezTo>
                      <a:pt x="19808" y="12538"/>
                      <a:pt x="19828" y="12460"/>
                      <a:pt x="19877" y="12413"/>
                    </a:cubicBezTo>
                    <a:lnTo>
                      <a:pt x="20686" y="11640"/>
                    </a:lnTo>
                    <a:cubicBezTo>
                      <a:pt x="20958" y="11373"/>
                      <a:pt x="21026" y="10904"/>
                      <a:pt x="20845" y="10540"/>
                    </a:cubicBezTo>
                    <a:lnTo>
                      <a:pt x="20334" y="9514"/>
                    </a:lnTo>
                    <a:cubicBezTo>
                      <a:pt x="20149" y="9150"/>
                      <a:pt x="19768" y="9014"/>
                      <a:pt x="19448" y="9194"/>
                    </a:cubicBezTo>
                    <a:lnTo>
                      <a:pt x="18519" y="9720"/>
                    </a:lnTo>
                    <a:cubicBezTo>
                      <a:pt x="18464" y="9752"/>
                      <a:pt x="18395" y="9742"/>
                      <a:pt x="18349" y="9694"/>
                    </a:cubicBezTo>
                    <a:cubicBezTo>
                      <a:pt x="18141" y="9475"/>
                      <a:pt x="17919" y="9280"/>
                      <a:pt x="17683" y="9107"/>
                    </a:cubicBezTo>
                    <a:cubicBezTo>
                      <a:pt x="17628" y="9067"/>
                      <a:pt x="17603" y="8991"/>
                      <a:pt x="17612" y="8914"/>
                    </a:cubicBezTo>
                    <a:lnTo>
                      <a:pt x="17727" y="7668"/>
                    </a:lnTo>
                    <a:cubicBezTo>
                      <a:pt x="17768" y="7243"/>
                      <a:pt x="17543" y="6845"/>
                      <a:pt x="17199" y="6748"/>
                    </a:cubicBezTo>
                    <a:lnTo>
                      <a:pt x="16243" y="6468"/>
                    </a:lnTo>
                    <a:cubicBezTo>
                      <a:pt x="16157" y="6444"/>
                      <a:pt x="16067" y="6441"/>
                      <a:pt x="15984" y="6455"/>
                    </a:cubicBezTo>
                    <a:close/>
                    <a:moveTo>
                      <a:pt x="16116" y="7088"/>
                    </a:moveTo>
                    <a:lnTo>
                      <a:pt x="17073" y="7368"/>
                    </a:lnTo>
                    <a:cubicBezTo>
                      <a:pt x="17153" y="7392"/>
                      <a:pt x="17209" y="7488"/>
                      <a:pt x="17199" y="7588"/>
                    </a:cubicBezTo>
                    <a:lnTo>
                      <a:pt x="17078" y="8827"/>
                    </a:lnTo>
                    <a:cubicBezTo>
                      <a:pt x="17046" y="9155"/>
                      <a:pt x="17176" y="9475"/>
                      <a:pt x="17408" y="9647"/>
                    </a:cubicBezTo>
                    <a:cubicBezTo>
                      <a:pt x="17619" y="9800"/>
                      <a:pt x="17817" y="9978"/>
                      <a:pt x="18002" y="10174"/>
                    </a:cubicBezTo>
                    <a:cubicBezTo>
                      <a:pt x="18207" y="10389"/>
                      <a:pt x="18499" y="10434"/>
                      <a:pt x="18745" y="10294"/>
                    </a:cubicBezTo>
                    <a:lnTo>
                      <a:pt x="19674" y="9774"/>
                    </a:lnTo>
                    <a:cubicBezTo>
                      <a:pt x="19749" y="9732"/>
                      <a:pt x="19840" y="9762"/>
                      <a:pt x="19883" y="9847"/>
                    </a:cubicBezTo>
                    <a:lnTo>
                      <a:pt x="20394" y="10867"/>
                    </a:lnTo>
                    <a:cubicBezTo>
                      <a:pt x="20437" y="10953"/>
                      <a:pt x="20419" y="11062"/>
                      <a:pt x="20356" y="11127"/>
                    </a:cubicBezTo>
                    <a:lnTo>
                      <a:pt x="19553" y="11900"/>
                    </a:lnTo>
                    <a:cubicBezTo>
                      <a:pt x="19339" y="12103"/>
                      <a:pt x="19241" y="12446"/>
                      <a:pt x="19305" y="12766"/>
                    </a:cubicBezTo>
                    <a:cubicBezTo>
                      <a:pt x="19365" y="13056"/>
                      <a:pt x="19404" y="13348"/>
                      <a:pt x="19421" y="13646"/>
                    </a:cubicBezTo>
                    <a:cubicBezTo>
                      <a:pt x="19441" y="13974"/>
                      <a:pt x="19622" y="14259"/>
                      <a:pt x="19877" y="14372"/>
                    </a:cubicBezTo>
                    <a:lnTo>
                      <a:pt x="20840" y="14805"/>
                    </a:lnTo>
                    <a:cubicBezTo>
                      <a:pt x="20919" y="14839"/>
                      <a:pt x="20964" y="14939"/>
                      <a:pt x="20944" y="15038"/>
                    </a:cubicBezTo>
                    <a:lnTo>
                      <a:pt x="20719" y="16205"/>
                    </a:lnTo>
                    <a:cubicBezTo>
                      <a:pt x="20700" y="16302"/>
                      <a:pt x="20619" y="16370"/>
                      <a:pt x="20537" y="16358"/>
                    </a:cubicBezTo>
                    <a:lnTo>
                      <a:pt x="19520" y="16211"/>
                    </a:lnTo>
                    <a:cubicBezTo>
                      <a:pt x="19247" y="16175"/>
                      <a:pt x="18978" y="16338"/>
                      <a:pt x="18838" y="16625"/>
                    </a:cubicBezTo>
                    <a:cubicBezTo>
                      <a:pt x="18713" y="16881"/>
                      <a:pt x="18570" y="17119"/>
                      <a:pt x="18409" y="17344"/>
                    </a:cubicBezTo>
                    <a:cubicBezTo>
                      <a:pt x="18233" y="17594"/>
                      <a:pt x="18196" y="17946"/>
                      <a:pt x="18310" y="18244"/>
                    </a:cubicBezTo>
                    <a:lnTo>
                      <a:pt x="18739" y="19383"/>
                    </a:lnTo>
                    <a:cubicBezTo>
                      <a:pt x="18774" y="19475"/>
                      <a:pt x="18748" y="19582"/>
                      <a:pt x="18679" y="19637"/>
                    </a:cubicBezTo>
                    <a:lnTo>
                      <a:pt x="17832" y="20256"/>
                    </a:lnTo>
                    <a:cubicBezTo>
                      <a:pt x="17762" y="20307"/>
                      <a:pt x="17674" y="20293"/>
                      <a:pt x="17623" y="20217"/>
                    </a:cubicBezTo>
                    <a:lnTo>
                      <a:pt x="16985" y="19230"/>
                    </a:lnTo>
                    <a:cubicBezTo>
                      <a:pt x="16817" y="18970"/>
                      <a:pt x="16540" y="18852"/>
                      <a:pt x="16276" y="18930"/>
                    </a:cubicBezTo>
                    <a:cubicBezTo>
                      <a:pt x="16038" y="19004"/>
                      <a:pt x="15794" y="19050"/>
                      <a:pt x="15550" y="19070"/>
                    </a:cubicBezTo>
                    <a:cubicBezTo>
                      <a:pt x="15278" y="19096"/>
                      <a:pt x="15048" y="19313"/>
                      <a:pt x="14956" y="19623"/>
                    </a:cubicBezTo>
                    <a:lnTo>
                      <a:pt x="14598" y="20803"/>
                    </a:lnTo>
                    <a:cubicBezTo>
                      <a:pt x="14570" y="20897"/>
                      <a:pt x="14492" y="20944"/>
                      <a:pt x="14411" y="20923"/>
                    </a:cubicBezTo>
                    <a:lnTo>
                      <a:pt x="13454" y="20650"/>
                    </a:lnTo>
                    <a:cubicBezTo>
                      <a:pt x="13374" y="20625"/>
                      <a:pt x="13318" y="20530"/>
                      <a:pt x="13328" y="20430"/>
                    </a:cubicBezTo>
                    <a:lnTo>
                      <a:pt x="13449" y="19190"/>
                    </a:lnTo>
                    <a:cubicBezTo>
                      <a:pt x="13482" y="18862"/>
                      <a:pt x="13352" y="18542"/>
                      <a:pt x="13119" y="18371"/>
                    </a:cubicBezTo>
                    <a:cubicBezTo>
                      <a:pt x="12909" y="18216"/>
                      <a:pt x="12710" y="18040"/>
                      <a:pt x="12525" y="17844"/>
                    </a:cubicBezTo>
                    <a:cubicBezTo>
                      <a:pt x="12400" y="17713"/>
                      <a:pt x="12240" y="17637"/>
                      <a:pt x="12074" y="17637"/>
                    </a:cubicBezTo>
                    <a:cubicBezTo>
                      <a:pt x="11974" y="17638"/>
                      <a:pt x="11874" y="17666"/>
                      <a:pt x="11783" y="17717"/>
                    </a:cubicBezTo>
                    <a:lnTo>
                      <a:pt x="10853" y="18244"/>
                    </a:lnTo>
                    <a:cubicBezTo>
                      <a:pt x="10779" y="18285"/>
                      <a:pt x="10688" y="18255"/>
                      <a:pt x="10644" y="18171"/>
                    </a:cubicBezTo>
                    <a:lnTo>
                      <a:pt x="10133" y="17151"/>
                    </a:lnTo>
                    <a:cubicBezTo>
                      <a:pt x="10090" y="17065"/>
                      <a:pt x="10107" y="16955"/>
                      <a:pt x="10172" y="16891"/>
                    </a:cubicBezTo>
                    <a:lnTo>
                      <a:pt x="10974" y="16111"/>
                    </a:lnTo>
                    <a:cubicBezTo>
                      <a:pt x="11188" y="15907"/>
                      <a:pt x="11286" y="15572"/>
                      <a:pt x="11222" y="15252"/>
                    </a:cubicBezTo>
                    <a:cubicBezTo>
                      <a:pt x="11162" y="14961"/>
                      <a:pt x="11119" y="14664"/>
                      <a:pt x="11101" y="14365"/>
                    </a:cubicBezTo>
                    <a:cubicBezTo>
                      <a:pt x="11081" y="14038"/>
                      <a:pt x="10905" y="13758"/>
                      <a:pt x="10650" y="13646"/>
                    </a:cubicBezTo>
                    <a:lnTo>
                      <a:pt x="9688" y="13212"/>
                    </a:lnTo>
                    <a:cubicBezTo>
                      <a:pt x="9610" y="13176"/>
                      <a:pt x="9564" y="13078"/>
                      <a:pt x="9583" y="12979"/>
                    </a:cubicBezTo>
                    <a:lnTo>
                      <a:pt x="9814" y="11813"/>
                    </a:lnTo>
                    <a:cubicBezTo>
                      <a:pt x="9833" y="11715"/>
                      <a:pt x="9908" y="11648"/>
                      <a:pt x="9990" y="11660"/>
                    </a:cubicBezTo>
                    <a:lnTo>
                      <a:pt x="11007" y="11806"/>
                    </a:lnTo>
                    <a:cubicBezTo>
                      <a:pt x="11278" y="11847"/>
                      <a:pt x="11544" y="11690"/>
                      <a:pt x="11684" y="11406"/>
                    </a:cubicBezTo>
                    <a:cubicBezTo>
                      <a:pt x="11810" y="11150"/>
                      <a:pt x="11957" y="10906"/>
                      <a:pt x="12118" y="10680"/>
                    </a:cubicBezTo>
                    <a:cubicBezTo>
                      <a:pt x="12294" y="10430"/>
                      <a:pt x="12331" y="10079"/>
                      <a:pt x="12217" y="9780"/>
                    </a:cubicBezTo>
                    <a:lnTo>
                      <a:pt x="11788" y="8654"/>
                    </a:lnTo>
                    <a:cubicBezTo>
                      <a:pt x="11753" y="8562"/>
                      <a:pt x="11778" y="8455"/>
                      <a:pt x="11849" y="8401"/>
                    </a:cubicBezTo>
                    <a:lnTo>
                      <a:pt x="12690" y="7768"/>
                    </a:lnTo>
                    <a:cubicBezTo>
                      <a:pt x="12760" y="7716"/>
                      <a:pt x="12848" y="7737"/>
                      <a:pt x="12899" y="7814"/>
                    </a:cubicBezTo>
                    <a:lnTo>
                      <a:pt x="13542" y="8781"/>
                    </a:lnTo>
                    <a:cubicBezTo>
                      <a:pt x="13710" y="9042"/>
                      <a:pt x="13987" y="9161"/>
                      <a:pt x="14252" y="9081"/>
                    </a:cubicBezTo>
                    <a:cubicBezTo>
                      <a:pt x="14490" y="9008"/>
                      <a:pt x="14733" y="8961"/>
                      <a:pt x="14978" y="8941"/>
                    </a:cubicBezTo>
                    <a:cubicBezTo>
                      <a:pt x="15248" y="8916"/>
                      <a:pt x="15480" y="8704"/>
                      <a:pt x="15572" y="8394"/>
                    </a:cubicBezTo>
                    <a:lnTo>
                      <a:pt x="15929" y="7215"/>
                    </a:lnTo>
                    <a:cubicBezTo>
                      <a:pt x="15956" y="7120"/>
                      <a:pt x="16035" y="7064"/>
                      <a:pt x="16116" y="7088"/>
                    </a:cubicBezTo>
                    <a:close/>
                    <a:moveTo>
                      <a:pt x="5343" y="8568"/>
                    </a:moveTo>
                    <a:cubicBezTo>
                      <a:pt x="5065" y="8474"/>
                      <a:pt x="4772" y="8650"/>
                      <a:pt x="4661" y="8974"/>
                    </a:cubicBezTo>
                    <a:lnTo>
                      <a:pt x="4381" y="9794"/>
                    </a:lnTo>
                    <a:cubicBezTo>
                      <a:pt x="4376" y="9809"/>
                      <a:pt x="4367" y="9819"/>
                      <a:pt x="4354" y="9820"/>
                    </a:cubicBezTo>
                    <a:cubicBezTo>
                      <a:pt x="4154" y="9827"/>
                      <a:pt x="3955" y="9857"/>
                      <a:pt x="3760" y="9907"/>
                    </a:cubicBezTo>
                    <a:cubicBezTo>
                      <a:pt x="3745" y="9910"/>
                      <a:pt x="3729" y="9902"/>
                      <a:pt x="3721" y="9887"/>
                    </a:cubicBezTo>
                    <a:lnTo>
                      <a:pt x="3292" y="9174"/>
                    </a:lnTo>
                    <a:cubicBezTo>
                      <a:pt x="3122" y="8893"/>
                      <a:pt x="2801" y="8811"/>
                      <a:pt x="2550" y="8981"/>
                    </a:cubicBezTo>
                    <a:lnTo>
                      <a:pt x="1939" y="9394"/>
                    </a:lnTo>
                    <a:cubicBezTo>
                      <a:pt x="1688" y="9566"/>
                      <a:pt x="1581" y="9943"/>
                      <a:pt x="1692" y="10267"/>
                    </a:cubicBezTo>
                    <a:lnTo>
                      <a:pt x="1978" y="11087"/>
                    </a:lnTo>
                    <a:cubicBezTo>
                      <a:pt x="1985" y="11100"/>
                      <a:pt x="1985" y="11113"/>
                      <a:pt x="1978" y="11127"/>
                    </a:cubicBezTo>
                    <a:cubicBezTo>
                      <a:pt x="1840" y="11304"/>
                      <a:pt x="1713" y="11502"/>
                      <a:pt x="1604" y="11706"/>
                    </a:cubicBezTo>
                    <a:cubicBezTo>
                      <a:pt x="1596" y="11720"/>
                      <a:pt x="1584" y="11722"/>
                      <a:pt x="1571" y="11720"/>
                    </a:cubicBezTo>
                    <a:lnTo>
                      <a:pt x="851" y="11580"/>
                    </a:lnTo>
                    <a:cubicBezTo>
                      <a:pt x="564" y="11524"/>
                      <a:pt x="290" y="11741"/>
                      <a:pt x="213" y="12080"/>
                    </a:cubicBezTo>
                    <a:lnTo>
                      <a:pt x="20" y="12899"/>
                    </a:lnTo>
                    <a:cubicBezTo>
                      <a:pt x="-57" y="13236"/>
                      <a:pt x="89" y="13591"/>
                      <a:pt x="356" y="13726"/>
                    </a:cubicBezTo>
                    <a:lnTo>
                      <a:pt x="1027" y="14065"/>
                    </a:lnTo>
                    <a:cubicBezTo>
                      <a:pt x="1039" y="14071"/>
                      <a:pt x="1048" y="14082"/>
                      <a:pt x="1049" y="14099"/>
                    </a:cubicBezTo>
                    <a:cubicBezTo>
                      <a:pt x="1055" y="14342"/>
                      <a:pt x="1079" y="14587"/>
                      <a:pt x="1120" y="14825"/>
                    </a:cubicBezTo>
                    <a:cubicBezTo>
                      <a:pt x="1123" y="14843"/>
                      <a:pt x="1116" y="14856"/>
                      <a:pt x="1104" y="14865"/>
                    </a:cubicBezTo>
                    <a:lnTo>
                      <a:pt x="515" y="15392"/>
                    </a:lnTo>
                    <a:cubicBezTo>
                      <a:pt x="285" y="15600"/>
                      <a:pt x="218" y="15979"/>
                      <a:pt x="356" y="16285"/>
                    </a:cubicBezTo>
                    <a:lnTo>
                      <a:pt x="697" y="17031"/>
                    </a:lnTo>
                    <a:cubicBezTo>
                      <a:pt x="838" y="17337"/>
                      <a:pt x="1145" y="17466"/>
                      <a:pt x="1411" y="17331"/>
                    </a:cubicBezTo>
                    <a:lnTo>
                      <a:pt x="2088" y="16984"/>
                    </a:lnTo>
                    <a:cubicBezTo>
                      <a:pt x="2098" y="16976"/>
                      <a:pt x="2110" y="16976"/>
                      <a:pt x="2121" y="16984"/>
                    </a:cubicBezTo>
                    <a:cubicBezTo>
                      <a:pt x="2266" y="17151"/>
                      <a:pt x="2421" y="17305"/>
                      <a:pt x="2588" y="17438"/>
                    </a:cubicBezTo>
                    <a:cubicBezTo>
                      <a:pt x="2601" y="17448"/>
                      <a:pt x="2608" y="17466"/>
                      <a:pt x="2605" y="17484"/>
                    </a:cubicBezTo>
                    <a:lnTo>
                      <a:pt x="2495" y="18357"/>
                    </a:lnTo>
                    <a:cubicBezTo>
                      <a:pt x="2449" y="18703"/>
                      <a:pt x="2624" y="19041"/>
                      <a:pt x="2902" y="19137"/>
                    </a:cubicBezTo>
                    <a:lnTo>
                      <a:pt x="3573" y="19363"/>
                    </a:lnTo>
                    <a:cubicBezTo>
                      <a:pt x="3623" y="19379"/>
                      <a:pt x="3675" y="19390"/>
                      <a:pt x="3727" y="19390"/>
                    </a:cubicBezTo>
                    <a:cubicBezTo>
                      <a:pt x="3959" y="19392"/>
                      <a:pt x="4165" y="19224"/>
                      <a:pt x="4255" y="18964"/>
                    </a:cubicBezTo>
                    <a:lnTo>
                      <a:pt x="4535" y="18137"/>
                    </a:lnTo>
                    <a:cubicBezTo>
                      <a:pt x="4539" y="18122"/>
                      <a:pt x="4549" y="18112"/>
                      <a:pt x="4562" y="18111"/>
                    </a:cubicBezTo>
                    <a:cubicBezTo>
                      <a:pt x="4762" y="18103"/>
                      <a:pt x="4961" y="18073"/>
                      <a:pt x="5156" y="18024"/>
                    </a:cubicBezTo>
                    <a:cubicBezTo>
                      <a:pt x="5170" y="18021"/>
                      <a:pt x="5187" y="18030"/>
                      <a:pt x="5195" y="18044"/>
                    </a:cubicBezTo>
                    <a:lnTo>
                      <a:pt x="5624" y="18764"/>
                    </a:lnTo>
                    <a:cubicBezTo>
                      <a:pt x="5793" y="19045"/>
                      <a:pt x="6109" y="19125"/>
                      <a:pt x="6361" y="18957"/>
                    </a:cubicBezTo>
                    <a:lnTo>
                      <a:pt x="6977" y="18544"/>
                    </a:lnTo>
                    <a:cubicBezTo>
                      <a:pt x="7227" y="18371"/>
                      <a:pt x="7329" y="18000"/>
                      <a:pt x="7219" y="17677"/>
                    </a:cubicBezTo>
                    <a:lnTo>
                      <a:pt x="6944" y="16858"/>
                    </a:lnTo>
                    <a:cubicBezTo>
                      <a:pt x="6937" y="16843"/>
                      <a:pt x="6937" y="16826"/>
                      <a:pt x="6944" y="16811"/>
                    </a:cubicBezTo>
                    <a:cubicBezTo>
                      <a:pt x="7081" y="16634"/>
                      <a:pt x="7203" y="16442"/>
                      <a:pt x="7312" y="16238"/>
                    </a:cubicBezTo>
                    <a:cubicBezTo>
                      <a:pt x="7320" y="16223"/>
                      <a:pt x="7336" y="16211"/>
                      <a:pt x="7350" y="16211"/>
                    </a:cubicBezTo>
                    <a:lnTo>
                      <a:pt x="8071" y="16351"/>
                    </a:lnTo>
                    <a:cubicBezTo>
                      <a:pt x="8357" y="16407"/>
                      <a:pt x="8631" y="16190"/>
                      <a:pt x="8709" y="15851"/>
                    </a:cubicBezTo>
                    <a:lnTo>
                      <a:pt x="8896" y="15038"/>
                    </a:lnTo>
                    <a:cubicBezTo>
                      <a:pt x="8971" y="14698"/>
                      <a:pt x="8825" y="14343"/>
                      <a:pt x="8555" y="14212"/>
                    </a:cubicBezTo>
                    <a:lnTo>
                      <a:pt x="7878" y="13872"/>
                    </a:lnTo>
                    <a:cubicBezTo>
                      <a:pt x="7866" y="13866"/>
                      <a:pt x="7857" y="13849"/>
                      <a:pt x="7856" y="13832"/>
                    </a:cubicBezTo>
                    <a:cubicBezTo>
                      <a:pt x="7850" y="13589"/>
                      <a:pt x="7826" y="13351"/>
                      <a:pt x="7785" y="13113"/>
                    </a:cubicBezTo>
                    <a:cubicBezTo>
                      <a:pt x="7782" y="13095"/>
                      <a:pt x="7789" y="13076"/>
                      <a:pt x="7801" y="13066"/>
                    </a:cubicBezTo>
                    <a:lnTo>
                      <a:pt x="8395" y="12539"/>
                    </a:lnTo>
                    <a:cubicBezTo>
                      <a:pt x="8625" y="12331"/>
                      <a:pt x="8692" y="11952"/>
                      <a:pt x="8555" y="11646"/>
                    </a:cubicBezTo>
                    <a:lnTo>
                      <a:pt x="8214" y="10907"/>
                    </a:lnTo>
                    <a:cubicBezTo>
                      <a:pt x="8073" y="10600"/>
                      <a:pt x="7761" y="10471"/>
                      <a:pt x="7493" y="10607"/>
                    </a:cubicBezTo>
                    <a:lnTo>
                      <a:pt x="6823" y="10947"/>
                    </a:lnTo>
                    <a:cubicBezTo>
                      <a:pt x="6812" y="10955"/>
                      <a:pt x="6800" y="10955"/>
                      <a:pt x="6790" y="10947"/>
                    </a:cubicBezTo>
                    <a:cubicBezTo>
                      <a:pt x="6644" y="10780"/>
                      <a:pt x="6484" y="10627"/>
                      <a:pt x="6317" y="10493"/>
                    </a:cubicBezTo>
                    <a:cubicBezTo>
                      <a:pt x="6304" y="10484"/>
                      <a:pt x="6297" y="10471"/>
                      <a:pt x="6300" y="10454"/>
                    </a:cubicBezTo>
                    <a:lnTo>
                      <a:pt x="6416" y="9574"/>
                    </a:lnTo>
                    <a:cubicBezTo>
                      <a:pt x="6461" y="9228"/>
                      <a:pt x="6286" y="8897"/>
                      <a:pt x="6009" y="8801"/>
                    </a:cubicBezTo>
                    <a:lnTo>
                      <a:pt x="5343" y="8568"/>
                    </a:lnTo>
                    <a:close/>
                    <a:moveTo>
                      <a:pt x="5195" y="9181"/>
                    </a:moveTo>
                    <a:lnTo>
                      <a:pt x="5860" y="9414"/>
                    </a:lnTo>
                    <a:cubicBezTo>
                      <a:pt x="5879" y="9420"/>
                      <a:pt x="5892" y="9444"/>
                      <a:pt x="5888" y="9467"/>
                    </a:cubicBezTo>
                    <a:lnTo>
                      <a:pt x="5772" y="10340"/>
                    </a:lnTo>
                    <a:cubicBezTo>
                      <a:pt x="5737" y="10608"/>
                      <a:pt x="5834" y="10877"/>
                      <a:pt x="6020" y="11027"/>
                    </a:cubicBezTo>
                    <a:cubicBezTo>
                      <a:pt x="6161" y="11140"/>
                      <a:pt x="6297" y="11266"/>
                      <a:pt x="6421" y="11406"/>
                    </a:cubicBezTo>
                    <a:cubicBezTo>
                      <a:pt x="6584" y="11591"/>
                      <a:pt x="6821" y="11645"/>
                      <a:pt x="7026" y="11540"/>
                    </a:cubicBezTo>
                    <a:lnTo>
                      <a:pt x="7697" y="11200"/>
                    </a:lnTo>
                    <a:cubicBezTo>
                      <a:pt x="7714" y="11192"/>
                      <a:pt x="7737" y="11201"/>
                      <a:pt x="7746" y="11220"/>
                    </a:cubicBezTo>
                    <a:lnTo>
                      <a:pt x="8087" y="11960"/>
                    </a:lnTo>
                    <a:cubicBezTo>
                      <a:pt x="8097" y="11980"/>
                      <a:pt x="8092" y="12005"/>
                      <a:pt x="8076" y="12020"/>
                    </a:cubicBezTo>
                    <a:lnTo>
                      <a:pt x="7488" y="12539"/>
                    </a:lnTo>
                    <a:cubicBezTo>
                      <a:pt x="7306" y="12698"/>
                      <a:pt x="7217" y="12974"/>
                      <a:pt x="7263" y="13239"/>
                    </a:cubicBezTo>
                    <a:cubicBezTo>
                      <a:pt x="7297" y="13441"/>
                      <a:pt x="7318" y="13646"/>
                      <a:pt x="7323" y="13852"/>
                    </a:cubicBezTo>
                    <a:cubicBezTo>
                      <a:pt x="7331" y="14122"/>
                      <a:pt x="7470" y="14361"/>
                      <a:pt x="7675" y="14465"/>
                    </a:cubicBezTo>
                    <a:lnTo>
                      <a:pt x="8351" y="14805"/>
                    </a:lnTo>
                    <a:cubicBezTo>
                      <a:pt x="8370" y="14814"/>
                      <a:pt x="8379" y="14835"/>
                      <a:pt x="8373" y="14859"/>
                    </a:cubicBezTo>
                    <a:cubicBezTo>
                      <a:pt x="8373" y="14859"/>
                      <a:pt x="8186" y="15678"/>
                      <a:pt x="8186" y="15678"/>
                    </a:cubicBezTo>
                    <a:cubicBezTo>
                      <a:pt x="8181" y="15700"/>
                      <a:pt x="8161" y="15715"/>
                      <a:pt x="8142" y="15712"/>
                    </a:cubicBezTo>
                    <a:lnTo>
                      <a:pt x="7422" y="15578"/>
                    </a:lnTo>
                    <a:cubicBezTo>
                      <a:pt x="7199" y="15537"/>
                      <a:pt x="6978" y="15655"/>
                      <a:pt x="6856" y="15885"/>
                    </a:cubicBezTo>
                    <a:cubicBezTo>
                      <a:pt x="6763" y="16057"/>
                      <a:pt x="6658" y="16221"/>
                      <a:pt x="6542" y="16371"/>
                    </a:cubicBezTo>
                    <a:cubicBezTo>
                      <a:pt x="6392" y="16569"/>
                      <a:pt x="6347" y="16856"/>
                      <a:pt x="6432" y="17104"/>
                    </a:cubicBezTo>
                    <a:lnTo>
                      <a:pt x="6713" y="17924"/>
                    </a:lnTo>
                    <a:cubicBezTo>
                      <a:pt x="6721" y="17946"/>
                      <a:pt x="6713" y="17972"/>
                      <a:pt x="6696" y="17984"/>
                    </a:cubicBezTo>
                    <a:lnTo>
                      <a:pt x="6086" y="18397"/>
                    </a:lnTo>
                    <a:cubicBezTo>
                      <a:pt x="6070" y="18408"/>
                      <a:pt x="6047" y="18402"/>
                      <a:pt x="6036" y="18384"/>
                    </a:cubicBezTo>
                    <a:lnTo>
                      <a:pt x="5607" y="17664"/>
                    </a:lnTo>
                    <a:cubicBezTo>
                      <a:pt x="5477" y="17444"/>
                      <a:pt x="5254" y="17337"/>
                      <a:pt x="5035" y="17391"/>
                    </a:cubicBezTo>
                    <a:cubicBezTo>
                      <a:pt x="4869" y="17433"/>
                      <a:pt x="4699" y="17458"/>
                      <a:pt x="4529" y="17464"/>
                    </a:cubicBezTo>
                    <a:cubicBezTo>
                      <a:pt x="4307" y="17475"/>
                      <a:pt x="4114" y="17641"/>
                      <a:pt x="4029" y="17891"/>
                    </a:cubicBezTo>
                    <a:lnTo>
                      <a:pt x="3749" y="18710"/>
                    </a:lnTo>
                    <a:cubicBezTo>
                      <a:pt x="3742" y="18732"/>
                      <a:pt x="3723" y="18750"/>
                      <a:pt x="3705" y="18744"/>
                    </a:cubicBezTo>
                    <a:lnTo>
                      <a:pt x="3039" y="18510"/>
                    </a:lnTo>
                    <a:cubicBezTo>
                      <a:pt x="3020" y="18504"/>
                      <a:pt x="3008" y="18481"/>
                      <a:pt x="3012" y="18457"/>
                    </a:cubicBezTo>
                    <a:lnTo>
                      <a:pt x="3127" y="17584"/>
                    </a:lnTo>
                    <a:cubicBezTo>
                      <a:pt x="3163" y="17317"/>
                      <a:pt x="3066" y="17048"/>
                      <a:pt x="2880" y="16898"/>
                    </a:cubicBezTo>
                    <a:cubicBezTo>
                      <a:pt x="2738" y="16785"/>
                      <a:pt x="2602" y="16659"/>
                      <a:pt x="2478" y="16518"/>
                    </a:cubicBezTo>
                    <a:cubicBezTo>
                      <a:pt x="2316" y="16333"/>
                      <a:pt x="2079" y="16280"/>
                      <a:pt x="1873" y="16385"/>
                    </a:cubicBezTo>
                    <a:lnTo>
                      <a:pt x="1197" y="16724"/>
                    </a:lnTo>
                    <a:cubicBezTo>
                      <a:pt x="1179" y="16733"/>
                      <a:pt x="1162" y="16725"/>
                      <a:pt x="1153" y="16704"/>
                    </a:cubicBezTo>
                    <a:lnTo>
                      <a:pt x="812" y="15965"/>
                    </a:lnTo>
                    <a:cubicBezTo>
                      <a:pt x="803" y="15943"/>
                      <a:pt x="808" y="15920"/>
                      <a:pt x="823" y="15905"/>
                    </a:cubicBezTo>
                    <a:lnTo>
                      <a:pt x="1411" y="15385"/>
                    </a:lnTo>
                    <a:cubicBezTo>
                      <a:pt x="1593" y="15227"/>
                      <a:pt x="1682" y="14950"/>
                      <a:pt x="1637" y="14685"/>
                    </a:cubicBezTo>
                    <a:cubicBezTo>
                      <a:pt x="1602" y="14483"/>
                      <a:pt x="1582" y="14279"/>
                      <a:pt x="1576" y="14072"/>
                    </a:cubicBezTo>
                    <a:cubicBezTo>
                      <a:pt x="1569" y="13803"/>
                      <a:pt x="1430" y="13563"/>
                      <a:pt x="1225" y="13459"/>
                    </a:cubicBezTo>
                    <a:lnTo>
                      <a:pt x="548" y="13119"/>
                    </a:lnTo>
                    <a:cubicBezTo>
                      <a:pt x="530" y="13110"/>
                      <a:pt x="521" y="13089"/>
                      <a:pt x="526" y="13066"/>
                    </a:cubicBezTo>
                    <a:lnTo>
                      <a:pt x="719" y="12246"/>
                    </a:lnTo>
                    <a:cubicBezTo>
                      <a:pt x="724" y="12224"/>
                      <a:pt x="738" y="12210"/>
                      <a:pt x="757" y="12213"/>
                    </a:cubicBezTo>
                    <a:lnTo>
                      <a:pt x="1477" y="12353"/>
                    </a:lnTo>
                    <a:cubicBezTo>
                      <a:pt x="1699" y="12396"/>
                      <a:pt x="1921" y="12274"/>
                      <a:pt x="2044" y="12046"/>
                    </a:cubicBezTo>
                    <a:cubicBezTo>
                      <a:pt x="2137" y="11874"/>
                      <a:pt x="2241" y="11716"/>
                      <a:pt x="2357" y="11566"/>
                    </a:cubicBezTo>
                    <a:cubicBezTo>
                      <a:pt x="2508" y="11368"/>
                      <a:pt x="2552" y="11076"/>
                      <a:pt x="2467" y="10827"/>
                    </a:cubicBezTo>
                    <a:lnTo>
                      <a:pt x="2181" y="10014"/>
                    </a:lnTo>
                    <a:cubicBezTo>
                      <a:pt x="2175" y="9991"/>
                      <a:pt x="2186" y="9960"/>
                      <a:pt x="2203" y="9947"/>
                    </a:cubicBezTo>
                    <a:lnTo>
                      <a:pt x="2808" y="9534"/>
                    </a:lnTo>
                    <a:cubicBezTo>
                      <a:pt x="2825" y="9522"/>
                      <a:pt x="2847" y="9528"/>
                      <a:pt x="2858" y="9547"/>
                    </a:cubicBezTo>
                    <a:lnTo>
                      <a:pt x="3292" y="10260"/>
                    </a:lnTo>
                    <a:cubicBezTo>
                      <a:pt x="3423" y="10480"/>
                      <a:pt x="3645" y="10587"/>
                      <a:pt x="3864" y="10533"/>
                    </a:cubicBezTo>
                    <a:cubicBezTo>
                      <a:pt x="4030" y="10491"/>
                      <a:pt x="4200" y="10466"/>
                      <a:pt x="4370" y="10460"/>
                    </a:cubicBezTo>
                    <a:cubicBezTo>
                      <a:pt x="4593" y="10449"/>
                      <a:pt x="4787" y="10277"/>
                      <a:pt x="4870" y="10027"/>
                    </a:cubicBezTo>
                    <a:lnTo>
                      <a:pt x="5151" y="9214"/>
                    </a:lnTo>
                    <a:cubicBezTo>
                      <a:pt x="5158" y="9193"/>
                      <a:pt x="5176" y="9176"/>
                      <a:pt x="5195" y="9181"/>
                    </a:cubicBezTo>
                    <a:close/>
                    <a:moveTo>
                      <a:pt x="15264" y="10627"/>
                    </a:moveTo>
                    <a:cubicBezTo>
                      <a:pt x="13721" y="10627"/>
                      <a:pt x="12470" y="12142"/>
                      <a:pt x="12470" y="14012"/>
                    </a:cubicBezTo>
                    <a:cubicBezTo>
                      <a:pt x="12470" y="15882"/>
                      <a:pt x="13721" y="17398"/>
                      <a:pt x="15264" y="17398"/>
                    </a:cubicBezTo>
                    <a:cubicBezTo>
                      <a:pt x="16807" y="17398"/>
                      <a:pt x="18057" y="15882"/>
                      <a:pt x="18057" y="14012"/>
                    </a:cubicBezTo>
                    <a:cubicBezTo>
                      <a:pt x="18057" y="12142"/>
                      <a:pt x="16807" y="10627"/>
                      <a:pt x="15264" y="10627"/>
                    </a:cubicBezTo>
                    <a:close/>
                    <a:moveTo>
                      <a:pt x="15264" y="11273"/>
                    </a:moveTo>
                    <a:cubicBezTo>
                      <a:pt x="16513" y="11273"/>
                      <a:pt x="17529" y="12499"/>
                      <a:pt x="17529" y="14012"/>
                    </a:cubicBezTo>
                    <a:cubicBezTo>
                      <a:pt x="17529" y="15526"/>
                      <a:pt x="16513" y="16751"/>
                      <a:pt x="15264" y="16751"/>
                    </a:cubicBezTo>
                    <a:cubicBezTo>
                      <a:pt x="14015" y="16751"/>
                      <a:pt x="13004" y="15526"/>
                      <a:pt x="13004" y="14012"/>
                    </a:cubicBezTo>
                    <a:cubicBezTo>
                      <a:pt x="13004" y="12499"/>
                      <a:pt x="14015" y="11273"/>
                      <a:pt x="15264" y="11273"/>
                    </a:cubicBezTo>
                    <a:close/>
                    <a:moveTo>
                      <a:pt x="4546" y="11466"/>
                    </a:moveTo>
                    <a:cubicBezTo>
                      <a:pt x="4020" y="11439"/>
                      <a:pt x="3485" y="11654"/>
                      <a:pt x="3067" y="12120"/>
                    </a:cubicBezTo>
                    <a:cubicBezTo>
                      <a:pt x="3064" y="12123"/>
                      <a:pt x="3064" y="12129"/>
                      <a:pt x="3061" y="12133"/>
                    </a:cubicBezTo>
                    <a:cubicBezTo>
                      <a:pt x="2225" y="13069"/>
                      <a:pt x="2168" y="14651"/>
                      <a:pt x="2940" y="15665"/>
                    </a:cubicBezTo>
                    <a:cubicBezTo>
                      <a:pt x="3713" y="16679"/>
                      <a:pt x="5018" y="16741"/>
                      <a:pt x="5855" y="15805"/>
                    </a:cubicBezTo>
                    <a:cubicBezTo>
                      <a:pt x="6691" y="14869"/>
                      <a:pt x="6743" y="13287"/>
                      <a:pt x="5970" y="12273"/>
                    </a:cubicBezTo>
                    <a:cubicBezTo>
                      <a:pt x="5586" y="11766"/>
                      <a:pt x="5072" y="11494"/>
                      <a:pt x="4546" y="11466"/>
                    </a:cubicBezTo>
                    <a:close/>
                    <a:moveTo>
                      <a:pt x="4513" y="12100"/>
                    </a:moveTo>
                    <a:cubicBezTo>
                      <a:pt x="4904" y="12113"/>
                      <a:pt x="5290" y="12307"/>
                      <a:pt x="5580" y="12679"/>
                    </a:cubicBezTo>
                    <a:cubicBezTo>
                      <a:pt x="6160" y="13424"/>
                      <a:pt x="6134" y="14602"/>
                      <a:pt x="5519" y="15305"/>
                    </a:cubicBezTo>
                    <a:cubicBezTo>
                      <a:pt x="5512" y="15314"/>
                      <a:pt x="5505" y="15323"/>
                      <a:pt x="5497" y="15332"/>
                    </a:cubicBezTo>
                    <a:cubicBezTo>
                      <a:pt x="4883" y="16034"/>
                      <a:pt x="3916" y="15996"/>
                      <a:pt x="3336" y="15252"/>
                    </a:cubicBezTo>
                    <a:cubicBezTo>
                      <a:pt x="2756" y="14507"/>
                      <a:pt x="2782" y="13335"/>
                      <a:pt x="3397" y="12633"/>
                    </a:cubicBezTo>
                    <a:cubicBezTo>
                      <a:pt x="3404" y="12624"/>
                      <a:pt x="3411" y="12615"/>
                      <a:pt x="3419" y="12606"/>
                    </a:cubicBezTo>
                    <a:cubicBezTo>
                      <a:pt x="3726" y="12255"/>
                      <a:pt x="4122" y="12086"/>
                      <a:pt x="4513" y="121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rgbClr val="FFFFFF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A414ABFE-0762-0299-CB8C-B79332DF7811}"/>
                  </a:ext>
                </a:extLst>
              </p:cNvPr>
              <p:cNvGrpSpPr/>
              <p:nvPr/>
            </p:nvGrpSpPr>
            <p:grpSpPr>
              <a:xfrm>
                <a:off x="8063763" y="5134046"/>
                <a:ext cx="618056" cy="618056"/>
                <a:chOff x="12264617" y="3634638"/>
                <a:chExt cx="533927" cy="533927"/>
              </a:xfrm>
            </p:grpSpPr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283634DC-802A-626F-660C-DA2665748466}"/>
                    </a:ext>
                  </a:extLst>
                </p:cNvPr>
                <p:cNvSpPr/>
                <p:nvPr/>
              </p:nvSpPr>
              <p:spPr>
                <a:xfrm>
                  <a:off x="12264617" y="3634638"/>
                  <a:ext cx="533927" cy="533927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-Regular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L-Shape 24">
                  <a:extLst>
                    <a:ext uri="{FF2B5EF4-FFF2-40B4-BE49-F238E27FC236}">
                      <a16:creationId xmlns:a16="http://schemas.microsoft.com/office/drawing/2014/main" id="{C5E3C897-E486-33E9-8624-0A44C04A0BAC}"/>
                    </a:ext>
                  </a:extLst>
                </p:cNvPr>
                <p:cNvSpPr/>
                <p:nvPr/>
              </p:nvSpPr>
              <p:spPr>
                <a:xfrm rot="8100000" flipH="1">
                  <a:off x="12477376" y="3812738"/>
                  <a:ext cx="184909" cy="184909"/>
                </a:xfrm>
                <a:prstGeom prst="corner">
                  <a:avLst>
                    <a:gd name="adj1" fmla="val 17364"/>
                    <a:gd name="adj2" fmla="val 17364"/>
                  </a:avLst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endParaRPr>
                </a:p>
              </p:txBody>
            </p:sp>
          </p:grp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288489F0-5D2B-75C8-54F4-EF166D3DADD6}"/>
                  </a:ext>
                </a:extLst>
              </p:cNvPr>
              <p:cNvSpPr/>
              <p:nvPr/>
            </p:nvSpPr>
            <p:spPr>
              <a:xfrm>
                <a:off x="7176101" y="2235420"/>
                <a:ext cx="2392804" cy="2392804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84452E47-811E-2F10-9E38-404C5E3B7C84}"/>
                  </a:ext>
                </a:extLst>
              </p:cNvPr>
              <p:cNvSpPr/>
              <p:nvPr/>
            </p:nvSpPr>
            <p:spPr>
              <a:xfrm>
                <a:off x="7380324" y="2452092"/>
                <a:ext cx="1963083" cy="196308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5576163C-4792-717E-59EB-71DFFC59A4D8}"/>
                  </a:ext>
                </a:extLst>
              </p:cNvPr>
              <p:cNvSpPr txBox="1"/>
              <p:nvPr/>
            </p:nvSpPr>
            <p:spPr>
              <a:xfrm>
                <a:off x="7178686" y="3541622"/>
                <a:ext cx="2387634" cy="4631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120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lignment</a:t>
                </a: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B33AC97C-6739-24EA-F0EE-BE1AE5EBC112}"/>
                  </a:ext>
                </a:extLst>
              </p:cNvPr>
              <p:cNvSpPr/>
              <p:nvPr/>
            </p:nvSpPr>
            <p:spPr>
              <a:xfrm>
                <a:off x="8007264" y="2825646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pic>
            <p:nvPicPr>
              <p:cNvPr id="58" name="Graphic 57" descr="Triangle Ruler outline">
                <a:extLst>
                  <a:ext uri="{FF2B5EF4-FFF2-40B4-BE49-F238E27FC236}">
                    <a16:creationId xmlns:a16="http://schemas.microsoft.com/office/drawing/2014/main" id="{0D9A9B64-0F4F-6FAC-03FE-919E0EA1DA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180948" y="2933689"/>
                <a:ext cx="451893" cy="451893"/>
              </a:xfrm>
              <a:prstGeom prst="rect">
                <a:avLst/>
              </a:prstGeom>
            </p:spPr>
          </p:pic>
        </p:grpSp>
        <p:pic>
          <p:nvPicPr>
            <p:cNvPr id="66" name="Picture Placeholder 11">
              <a:extLst>
                <a:ext uri="{FF2B5EF4-FFF2-40B4-BE49-F238E27FC236}">
                  <a16:creationId xmlns:a16="http://schemas.microsoft.com/office/drawing/2014/main" id="{16B82A4C-AAD5-BF61-C542-7BC7C154C9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 amt="55000"/>
            </a:blip>
            <a:srcRect l="42126" r="27"/>
            <a:stretch/>
          </p:blipFill>
          <p:spPr>
            <a:xfrm>
              <a:off x="5135467" y="0"/>
              <a:ext cx="7056533" cy="6858000"/>
            </a:xfrm>
            <a:prstGeom prst="rect">
              <a:avLst/>
            </a:prstGeom>
            <a:noFill/>
          </p:spPr>
        </p:pic>
      </p:grp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DE28C36-34EB-83FA-F481-3E1DC1F0B55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634D7D8-E204-DE55-DE3E-C5EEB8F51A57}"/>
              </a:ext>
            </a:extLst>
          </p:cNvPr>
          <p:cNvGrpSpPr/>
          <p:nvPr/>
        </p:nvGrpSpPr>
        <p:grpSpPr>
          <a:xfrm>
            <a:off x="643854" y="2414503"/>
            <a:ext cx="4397561" cy="2363444"/>
            <a:chOff x="643854" y="2056730"/>
            <a:chExt cx="4397561" cy="2363444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A1F09CD-4C44-3F3D-44B9-1DB248A9F145}"/>
                </a:ext>
              </a:extLst>
            </p:cNvPr>
            <p:cNvGrpSpPr/>
            <p:nvPr/>
          </p:nvGrpSpPr>
          <p:grpSpPr>
            <a:xfrm>
              <a:off x="643854" y="2056730"/>
              <a:ext cx="4397561" cy="2363444"/>
              <a:chOff x="643854" y="2015235"/>
              <a:chExt cx="4397561" cy="2363444"/>
            </a:xfrm>
          </p:grpSpPr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9EB95E92-2E29-C55E-3483-94E6925511DA}"/>
                  </a:ext>
                </a:extLst>
              </p:cNvPr>
              <p:cNvSpPr txBox="1"/>
              <p:nvPr/>
            </p:nvSpPr>
            <p:spPr>
              <a:xfrm>
                <a:off x="692283" y="3213232"/>
                <a:ext cx="4285508" cy="1165447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Con base </a:t>
                </a:r>
                <a:r>
                  <a:rPr kumimoji="0" lang="en-GB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en</a:t>
                </a:r>
                <a:r>
                  <a:rPr kumimoji="0" lang="en-GB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 </a:t>
                </a:r>
                <a:r>
                  <a:rPr kumimoji="0" lang="en-GB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los</a:t>
                </a:r>
                <a:r>
                  <a:rPr kumimoji="0" lang="en-GB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 </a:t>
                </a:r>
                <a:r>
                  <a:rPr kumimoji="0" lang="en-GB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hallazgos</a:t>
                </a:r>
                <a:r>
                  <a:rPr kumimoji="0" lang="en-GB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 de la </a:t>
                </a:r>
                <a:r>
                  <a:rPr kumimoji="0" lang="en-GB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competencia</a:t>
                </a:r>
                <a:r>
                  <a:rPr kumimoji="0" lang="en-GB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, </a:t>
                </a:r>
                <a:r>
                  <a:rPr kumimoji="0" lang="en-GB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aprendizajes</a:t>
                </a:r>
                <a:r>
                  <a:rPr kumimoji="0" lang="en-GB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 y </a:t>
                </a:r>
                <a:r>
                  <a:rPr kumimoji="0" lang="en-GB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estrategia</a:t>
                </a:r>
                <a:r>
                  <a:rPr kumimoji="0" lang="en-GB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, </a:t>
                </a:r>
                <a:r>
                  <a:rPr kumimoji="0" lang="en-GB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activar</a:t>
                </a:r>
                <a:r>
                  <a:rPr kumimoji="0" lang="en-GB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 para </a:t>
                </a:r>
                <a:r>
                  <a:rPr kumimoji="0" lang="en-GB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alcanzar</a:t>
                </a:r>
                <a:r>
                  <a:rPr kumimoji="0" lang="en-GB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 </a:t>
                </a:r>
                <a:r>
                  <a:rPr kumimoji="0" lang="en-GB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los</a:t>
                </a:r>
                <a:r>
                  <a:rPr kumimoji="0" lang="en-GB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 </a:t>
                </a:r>
                <a:r>
                  <a:rPr kumimoji="0" lang="en-GB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objetivos</a:t>
                </a:r>
                <a:r>
                  <a:rPr kumimoji="0" lang="en-GB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 de </a:t>
                </a:r>
                <a:r>
                  <a:rPr kumimoji="0" lang="en-GB" sz="16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negocio</a:t>
                </a:r>
                <a:r>
                  <a:rPr kumimoji="0" lang="en-GB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.  </a:t>
                </a:r>
              </a:p>
            </p:txBody>
          </p:sp>
          <p:cxnSp>
            <p:nvCxnSpPr>
              <p:cNvPr id="6" name="Straight Connector 5">
                <a:extLst>
                  <a:ext uri="{FF2B5EF4-FFF2-40B4-BE49-F238E27FC236}">
                    <a16:creationId xmlns:a16="http://schemas.microsoft.com/office/drawing/2014/main" id="{14A38A3E-D8F8-B41D-87A0-045CA93DB798}"/>
                  </a:ext>
                </a:extLst>
              </p:cNvPr>
              <p:cNvCxnSpPr/>
              <p:nvPr/>
            </p:nvCxnSpPr>
            <p:spPr>
              <a:xfrm>
                <a:off x="776541" y="2987486"/>
                <a:ext cx="4264874" cy="0"/>
              </a:xfrm>
              <a:prstGeom prst="line">
                <a:avLst/>
              </a:prstGeom>
              <a:ln w="12700">
                <a:gradFill flip="none" rotWithShape="1">
                  <a:gsLst>
                    <a:gs pos="0">
                      <a:schemeClr val="accent2"/>
                    </a:gs>
                    <a:gs pos="99000">
                      <a:schemeClr val="tx2"/>
                    </a:gs>
                  </a:gsLst>
                  <a:lin ang="0" scaled="1"/>
                  <a:tileRect/>
                </a:gra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48970D3F-F51E-0E8A-E1A8-DF586CFBB78D}"/>
                  </a:ext>
                </a:extLst>
              </p:cNvPr>
              <p:cNvSpPr txBox="1"/>
              <p:nvPr/>
            </p:nvSpPr>
            <p:spPr>
              <a:xfrm>
                <a:off x="643854" y="2015235"/>
                <a:ext cx="4285508" cy="923330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5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Thin" pitchFamily="2" charset="77"/>
                    <a:ea typeface="+mn-ea"/>
                    <a:cs typeface="Poppins Thin" pitchFamily="2" charset="77"/>
                  </a:rPr>
                  <a:t>04 -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FDC1B048-AC99-8492-B011-7DE3281CEC57}"/>
                </a:ext>
              </a:extLst>
            </p:cNvPr>
            <p:cNvGrpSpPr/>
            <p:nvPr/>
          </p:nvGrpSpPr>
          <p:grpSpPr>
            <a:xfrm>
              <a:off x="2119748" y="2153058"/>
              <a:ext cx="2810308" cy="598067"/>
              <a:chOff x="1940295" y="2112018"/>
              <a:chExt cx="2810308" cy="598067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9815F8F1-D5E3-F328-44A2-0E5EFD87C078}"/>
                  </a:ext>
                </a:extLst>
              </p:cNvPr>
              <p:cNvSpPr/>
              <p:nvPr/>
            </p:nvSpPr>
            <p:spPr>
              <a:xfrm>
                <a:off x="1940295" y="2112018"/>
                <a:ext cx="598067" cy="598067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109399FD-F17A-50ED-ADB6-C05B139A9B2E}"/>
                  </a:ext>
                </a:extLst>
              </p:cNvPr>
              <p:cNvSpPr txBox="1"/>
              <p:nvPr/>
            </p:nvSpPr>
            <p:spPr>
              <a:xfrm>
                <a:off x="2568595" y="2149441"/>
                <a:ext cx="2182008" cy="523220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8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28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</p:grpSp>
      <p:sp>
        <p:nvSpPr>
          <p:cNvPr id="70" name="Freeform 69">
            <a:extLst>
              <a:ext uri="{FF2B5EF4-FFF2-40B4-BE49-F238E27FC236}">
                <a16:creationId xmlns:a16="http://schemas.microsoft.com/office/drawing/2014/main" id="{3511576A-9390-6845-D534-03D5E90CE53E}"/>
              </a:ext>
            </a:extLst>
          </p:cNvPr>
          <p:cNvSpPr/>
          <p:nvPr/>
        </p:nvSpPr>
        <p:spPr>
          <a:xfrm>
            <a:off x="8424327" y="3489415"/>
            <a:ext cx="2981618" cy="2977539"/>
          </a:xfrm>
          <a:custGeom>
            <a:avLst/>
            <a:gdLst>
              <a:gd name="connsiteX0" fmla="*/ 2222810 w 2981618"/>
              <a:gd name="connsiteY0" fmla="*/ 0 h 2977539"/>
              <a:gd name="connsiteX1" fmla="*/ 2704080 w 2981618"/>
              <a:gd name="connsiteY1" fmla="*/ 0 h 2977539"/>
              <a:gd name="connsiteX2" fmla="*/ 2704080 w 2981618"/>
              <a:gd name="connsiteY2" fmla="*/ 5 h 2977539"/>
              <a:gd name="connsiteX3" fmla="*/ 2981618 w 2981618"/>
              <a:gd name="connsiteY3" fmla="*/ 5 h 2977539"/>
              <a:gd name="connsiteX4" fmla="*/ 1 w 2981618"/>
              <a:gd name="connsiteY4" fmla="*/ 2977539 h 2977539"/>
              <a:gd name="connsiteX5" fmla="*/ 1 w 2981618"/>
              <a:gd name="connsiteY5" fmla="*/ 2569291 h 2977539"/>
              <a:gd name="connsiteX6" fmla="*/ 0 w 2981618"/>
              <a:gd name="connsiteY6" fmla="*/ 2569291 h 2977539"/>
              <a:gd name="connsiteX7" fmla="*/ 0 w 2981618"/>
              <a:gd name="connsiteY7" fmla="*/ 2257947 h 2977539"/>
              <a:gd name="connsiteX8" fmla="*/ 15254 w 2981618"/>
              <a:gd name="connsiteY8" fmla="*/ 2256409 h 2977539"/>
              <a:gd name="connsiteX9" fmla="*/ 262002 w 2981618"/>
              <a:gd name="connsiteY9" fmla="*/ 1953659 h 2977539"/>
              <a:gd name="connsiteX10" fmla="*/ 15254 w 2981618"/>
              <a:gd name="connsiteY10" fmla="*/ 1650910 h 2977539"/>
              <a:gd name="connsiteX11" fmla="*/ 0 w 2981618"/>
              <a:gd name="connsiteY11" fmla="*/ 1649372 h 2977539"/>
              <a:gd name="connsiteX12" fmla="*/ 0 w 2981618"/>
              <a:gd name="connsiteY12" fmla="*/ 1454933 h 2977539"/>
              <a:gd name="connsiteX13" fmla="*/ 1 w 2981618"/>
              <a:gd name="connsiteY13" fmla="*/ 1454933 h 2977539"/>
              <a:gd name="connsiteX14" fmla="*/ 1 w 2981618"/>
              <a:gd name="connsiteY14" fmla="*/ 1242935 h 2977539"/>
              <a:gd name="connsiteX15" fmla="*/ 85441 w 2981618"/>
              <a:gd name="connsiteY15" fmla="*/ 1238621 h 2977539"/>
              <a:gd name="connsiteX16" fmla="*/ 1245251 w 2981618"/>
              <a:gd name="connsiteY16" fmla="*/ 78810 h 2977539"/>
              <a:gd name="connsiteX17" fmla="*/ 1249231 w 2981618"/>
              <a:gd name="connsiteY17" fmla="*/ 4 h 2977539"/>
              <a:gd name="connsiteX18" fmla="*/ 1557915 w 2981618"/>
              <a:gd name="connsiteY18" fmla="*/ 4 h 2977539"/>
              <a:gd name="connsiteX19" fmla="*/ 1557915 w 2981618"/>
              <a:gd name="connsiteY19" fmla="*/ 5 h 2977539"/>
              <a:gd name="connsiteX20" fmla="*/ 1619045 w 2981618"/>
              <a:gd name="connsiteY20" fmla="*/ 5 h 2977539"/>
              <a:gd name="connsiteX21" fmla="*/ 1636184 w 2981618"/>
              <a:gd name="connsiteY21" fmla="*/ 55217 h 2977539"/>
              <a:gd name="connsiteX22" fmla="*/ 1920927 w 2981618"/>
              <a:gd name="connsiteY22" fmla="*/ 243957 h 2977539"/>
              <a:gd name="connsiteX23" fmla="*/ 2205670 w 2981618"/>
              <a:gd name="connsiteY23" fmla="*/ 55217 h 29775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981618" h="2977539">
                <a:moveTo>
                  <a:pt x="2222810" y="0"/>
                </a:moveTo>
                <a:lnTo>
                  <a:pt x="2704080" y="0"/>
                </a:lnTo>
                <a:lnTo>
                  <a:pt x="2704080" y="5"/>
                </a:lnTo>
                <a:lnTo>
                  <a:pt x="2981618" y="5"/>
                </a:lnTo>
                <a:cubicBezTo>
                  <a:pt x="2981618" y="1644453"/>
                  <a:pt x="1646703" y="2977539"/>
                  <a:pt x="1" y="2977539"/>
                </a:cubicBezTo>
                <a:lnTo>
                  <a:pt x="1" y="2569291"/>
                </a:lnTo>
                <a:lnTo>
                  <a:pt x="0" y="2569291"/>
                </a:lnTo>
                <a:lnTo>
                  <a:pt x="0" y="2257947"/>
                </a:lnTo>
                <a:lnTo>
                  <a:pt x="15254" y="2256409"/>
                </a:lnTo>
                <a:cubicBezTo>
                  <a:pt x="156072" y="2227593"/>
                  <a:pt x="262002" y="2102996"/>
                  <a:pt x="262002" y="1953659"/>
                </a:cubicBezTo>
                <a:cubicBezTo>
                  <a:pt x="262002" y="1804322"/>
                  <a:pt x="156072" y="1679725"/>
                  <a:pt x="15254" y="1650910"/>
                </a:cubicBezTo>
                <a:lnTo>
                  <a:pt x="0" y="1649372"/>
                </a:lnTo>
                <a:lnTo>
                  <a:pt x="0" y="1454933"/>
                </a:lnTo>
                <a:lnTo>
                  <a:pt x="1" y="1454933"/>
                </a:lnTo>
                <a:lnTo>
                  <a:pt x="1" y="1242935"/>
                </a:lnTo>
                <a:lnTo>
                  <a:pt x="85441" y="1238621"/>
                </a:lnTo>
                <a:cubicBezTo>
                  <a:pt x="696977" y="1176517"/>
                  <a:pt x="1183146" y="690345"/>
                  <a:pt x="1245251" y="78810"/>
                </a:cubicBezTo>
                <a:lnTo>
                  <a:pt x="1249231" y="4"/>
                </a:lnTo>
                <a:lnTo>
                  <a:pt x="1557915" y="4"/>
                </a:lnTo>
                <a:lnTo>
                  <a:pt x="1557915" y="5"/>
                </a:lnTo>
                <a:lnTo>
                  <a:pt x="1619045" y="5"/>
                </a:lnTo>
                <a:lnTo>
                  <a:pt x="1636184" y="55217"/>
                </a:lnTo>
                <a:cubicBezTo>
                  <a:pt x="1683097" y="166131"/>
                  <a:pt x="1792924" y="243957"/>
                  <a:pt x="1920927" y="243957"/>
                </a:cubicBezTo>
                <a:cubicBezTo>
                  <a:pt x="2048930" y="243957"/>
                  <a:pt x="2158757" y="166131"/>
                  <a:pt x="2205670" y="55217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ADBBEF-7F39-37F3-F778-91B658E1DDAF}"/>
              </a:ext>
            </a:extLst>
          </p:cNvPr>
          <p:cNvSpPr/>
          <p:nvPr/>
        </p:nvSpPr>
        <p:spPr>
          <a:xfrm rot="18914344">
            <a:off x="8391559" y="4040115"/>
            <a:ext cx="2173304" cy="1018669"/>
          </a:xfrm>
          <a:prstGeom prst="rect">
            <a:avLst/>
          </a:prstGeom>
        </p:spPr>
        <p:txBody>
          <a:bodyPr wrap="none" anchor="ctr">
            <a:prstTxWarp prst="textArchDown">
              <a:avLst>
                <a:gd name="adj" fmla="val 976732"/>
              </a:avLst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ctivación</a:t>
            </a:r>
            <a:endParaRPr kumimoji="0" lang="en-GB" sz="2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12002B5-78BE-7F17-0E3F-224E16676B5A}"/>
              </a:ext>
            </a:extLst>
          </p:cNvPr>
          <p:cNvSpPr/>
          <p:nvPr/>
        </p:nvSpPr>
        <p:spPr>
          <a:xfrm>
            <a:off x="8424329" y="3489415"/>
            <a:ext cx="2981616" cy="2977539"/>
          </a:xfrm>
          <a:custGeom>
            <a:avLst/>
            <a:gdLst>
              <a:gd name="connsiteX0" fmla="*/ 2334766 w 2575762"/>
              <a:gd name="connsiteY0" fmla="*/ 0 h 2572239"/>
              <a:gd name="connsiteX1" fmla="*/ 2336002 w 2575762"/>
              <a:gd name="connsiteY1" fmla="*/ 0 h 2572239"/>
              <a:gd name="connsiteX2" fmla="*/ 2336002 w 2575762"/>
              <a:gd name="connsiteY2" fmla="*/ 4 h 2572239"/>
              <a:gd name="connsiteX3" fmla="*/ 2575762 w 2575762"/>
              <a:gd name="connsiteY3" fmla="*/ 4 h 2572239"/>
              <a:gd name="connsiteX4" fmla="*/ 0 w 2575762"/>
              <a:gd name="connsiteY4" fmla="*/ 2572239 h 2572239"/>
              <a:gd name="connsiteX5" fmla="*/ 0 w 2575762"/>
              <a:gd name="connsiteY5" fmla="*/ 2328177 h 2572239"/>
              <a:gd name="connsiteX6" fmla="*/ 195537 w 2575762"/>
              <a:gd name="connsiteY6" fmla="*/ 2318304 h 2572239"/>
              <a:gd name="connsiteX7" fmla="*/ 2325243 w 2575762"/>
              <a:gd name="connsiteY7" fmla="*/ 188598 h 2572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75762" h="2572239">
                <a:moveTo>
                  <a:pt x="2334766" y="0"/>
                </a:moveTo>
                <a:lnTo>
                  <a:pt x="2336002" y="0"/>
                </a:lnTo>
                <a:lnTo>
                  <a:pt x="2336002" y="4"/>
                </a:lnTo>
                <a:lnTo>
                  <a:pt x="2575762" y="4"/>
                </a:lnTo>
                <a:cubicBezTo>
                  <a:pt x="2575762" y="1420611"/>
                  <a:pt x="1422554" y="2572239"/>
                  <a:pt x="0" y="2572239"/>
                </a:cubicBezTo>
                <a:lnTo>
                  <a:pt x="0" y="2328177"/>
                </a:lnTo>
                <a:lnTo>
                  <a:pt x="195537" y="2318304"/>
                </a:lnTo>
                <a:cubicBezTo>
                  <a:pt x="1318470" y="2204264"/>
                  <a:pt x="2211203" y="1311532"/>
                  <a:pt x="2325243" y="18859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9E449DF-CAF0-7B5D-9A1B-ED7FB05810AD}"/>
              </a:ext>
            </a:extLst>
          </p:cNvPr>
          <p:cNvSpPr/>
          <p:nvPr/>
        </p:nvSpPr>
        <p:spPr>
          <a:xfrm>
            <a:off x="10067322" y="5111810"/>
            <a:ext cx="719047" cy="71904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3" name="Google Shape;1194;p40">
            <a:extLst>
              <a:ext uri="{FF2B5EF4-FFF2-40B4-BE49-F238E27FC236}">
                <a16:creationId xmlns:a16="http://schemas.microsoft.com/office/drawing/2014/main" id="{3578A44E-C475-F87F-2B5B-0DCC4BC12A63}"/>
              </a:ext>
            </a:extLst>
          </p:cNvPr>
          <p:cNvSpPr>
            <a:spLocks noChangeAspect="1"/>
          </p:cNvSpPr>
          <p:nvPr/>
        </p:nvSpPr>
        <p:spPr>
          <a:xfrm>
            <a:off x="10144913" y="5248491"/>
            <a:ext cx="520702" cy="4315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81" h="21576" extrusionOk="0">
                <a:moveTo>
                  <a:pt x="7840" y="37"/>
                </a:moveTo>
                <a:cubicBezTo>
                  <a:pt x="7725" y="-14"/>
                  <a:pt x="7599" y="-12"/>
                  <a:pt x="7477" y="44"/>
                </a:cubicBezTo>
                <a:lnTo>
                  <a:pt x="6944" y="297"/>
                </a:lnTo>
                <a:cubicBezTo>
                  <a:pt x="6700" y="413"/>
                  <a:pt x="6565" y="730"/>
                  <a:pt x="6630" y="1037"/>
                </a:cubicBezTo>
                <a:lnTo>
                  <a:pt x="6779" y="1737"/>
                </a:lnTo>
                <a:cubicBezTo>
                  <a:pt x="6654" y="1858"/>
                  <a:pt x="6537" y="1991"/>
                  <a:pt x="6432" y="2137"/>
                </a:cubicBezTo>
                <a:lnTo>
                  <a:pt x="5871" y="1923"/>
                </a:lnTo>
                <a:cubicBezTo>
                  <a:pt x="5620" y="1829"/>
                  <a:pt x="5349" y="1978"/>
                  <a:pt x="5244" y="2270"/>
                </a:cubicBezTo>
                <a:lnTo>
                  <a:pt x="5013" y="2916"/>
                </a:lnTo>
                <a:cubicBezTo>
                  <a:pt x="4909" y="3207"/>
                  <a:pt x="4998" y="3547"/>
                  <a:pt x="5222" y="3709"/>
                </a:cubicBezTo>
                <a:lnTo>
                  <a:pt x="5734" y="4076"/>
                </a:lnTo>
                <a:cubicBezTo>
                  <a:pt x="5716" y="4270"/>
                  <a:pt x="5712" y="4468"/>
                  <a:pt x="5723" y="4662"/>
                </a:cubicBezTo>
                <a:lnTo>
                  <a:pt x="5200" y="4996"/>
                </a:lnTo>
                <a:cubicBezTo>
                  <a:pt x="4973" y="5144"/>
                  <a:pt x="4866" y="5474"/>
                  <a:pt x="4953" y="5769"/>
                </a:cubicBezTo>
                <a:lnTo>
                  <a:pt x="5162" y="6422"/>
                </a:lnTo>
                <a:cubicBezTo>
                  <a:pt x="5256" y="6718"/>
                  <a:pt x="5519" y="6881"/>
                  <a:pt x="5772" y="6802"/>
                </a:cubicBezTo>
                <a:lnTo>
                  <a:pt x="6344" y="6622"/>
                </a:lnTo>
                <a:cubicBezTo>
                  <a:pt x="6444" y="6773"/>
                  <a:pt x="6554" y="6913"/>
                  <a:pt x="6674" y="7041"/>
                </a:cubicBezTo>
                <a:lnTo>
                  <a:pt x="6504" y="7735"/>
                </a:lnTo>
                <a:cubicBezTo>
                  <a:pt x="6427" y="8038"/>
                  <a:pt x="6545" y="8359"/>
                  <a:pt x="6784" y="8488"/>
                </a:cubicBezTo>
                <a:lnTo>
                  <a:pt x="7318" y="8774"/>
                </a:lnTo>
                <a:cubicBezTo>
                  <a:pt x="7558" y="8903"/>
                  <a:pt x="7839" y="8796"/>
                  <a:pt x="7972" y="8521"/>
                </a:cubicBezTo>
                <a:lnTo>
                  <a:pt x="8274" y="7894"/>
                </a:lnTo>
                <a:cubicBezTo>
                  <a:pt x="8432" y="7915"/>
                  <a:pt x="8589" y="7926"/>
                  <a:pt x="8747" y="7914"/>
                </a:cubicBezTo>
                <a:lnTo>
                  <a:pt x="9028" y="8554"/>
                </a:lnTo>
                <a:cubicBezTo>
                  <a:pt x="9117" y="8759"/>
                  <a:pt x="9293" y="8888"/>
                  <a:pt x="9484" y="8887"/>
                </a:cubicBezTo>
                <a:cubicBezTo>
                  <a:pt x="9547" y="8888"/>
                  <a:pt x="9607" y="8875"/>
                  <a:pt x="9666" y="8847"/>
                </a:cubicBezTo>
                <a:lnTo>
                  <a:pt x="10210" y="8594"/>
                </a:lnTo>
                <a:cubicBezTo>
                  <a:pt x="10453" y="8477"/>
                  <a:pt x="10587" y="8162"/>
                  <a:pt x="10523" y="7854"/>
                </a:cubicBezTo>
                <a:lnTo>
                  <a:pt x="10375" y="7155"/>
                </a:lnTo>
                <a:cubicBezTo>
                  <a:pt x="10500" y="7031"/>
                  <a:pt x="10614" y="6895"/>
                  <a:pt x="10721" y="6748"/>
                </a:cubicBezTo>
                <a:lnTo>
                  <a:pt x="11288" y="6961"/>
                </a:lnTo>
                <a:cubicBezTo>
                  <a:pt x="11539" y="7056"/>
                  <a:pt x="11804" y="6907"/>
                  <a:pt x="11909" y="6615"/>
                </a:cubicBezTo>
                <a:lnTo>
                  <a:pt x="12146" y="5969"/>
                </a:lnTo>
                <a:cubicBezTo>
                  <a:pt x="12250" y="5678"/>
                  <a:pt x="12156" y="5338"/>
                  <a:pt x="11931" y="5175"/>
                </a:cubicBezTo>
                <a:lnTo>
                  <a:pt x="11425" y="4809"/>
                </a:lnTo>
                <a:cubicBezTo>
                  <a:pt x="11442" y="4615"/>
                  <a:pt x="11446" y="4424"/>
                  <a:pt x="11436" y="4229"/>
                </a:cubicBezTo>
                <a:lnTo>
                  <a:pt x="11959" y="3889"/>
                </a:lnTo>
                <a:cubicBezTo>
                  <a:pt x="12187" y="3739"/>
                  <a:pt x="12287" y="3404"/>
                  <a:pt x="12195" y="3110"/>
                </a:cubicBezTo>
                <a:lnTo>
                  <a:pt x="11986" y="2457"/>
                </a:lnTo>
                <a:cubicBezTo>
                  <a:pt x="11892" y="2160"/>
                  <a:pt x="11630" y="1997"/>
                  <a:pt x="11376" y="2077"/>
                </a:cubicBezTo>
                <a:lnTo>
                  <a:pt x="10804" y="2257"/>
                </a:lnTo>
                <a:cubicBezTo>
                  <a:pt x="10704" y="2105"/>
                  <a:pt x="10594" y="1965"/>
                  <a:pt x="10474" y="1837"/>
                </a:cubicBezTo>
                <a:lnTo>
                  <a:pt x="10650" y="1144"/>
                </a:lnTo>
                <a:cubicBezTo>
                  <a:pt x="10726" y="840"/>
                  <a:pt x="10604" y="519"/>
                  <a:pt x="10364" y="391"/>
                </a:cubicBezTo>
                <a:lnTo>
                  <a:pt x="9831" y="104"/>
                </a:lnTo>
                <a:cubicBezTo>
                  <a:pt x="9590" y="-24"/>
                  <a:pt x="9309" y="83"/>
                  <a:pt x="9176" y="357"/>
                </a:cubicBezTo>
                <a:lnTo>
                  <a:pt x="8874" y="984"/>
                </a:lnTo>
                <a:cubicBezTo>
                  <a:pt x="8716" y="963"/>
                  <a:pt x="8560" y="952"/>
                  <a:pt x="8401" y="964"/>
                </a:cubicBezTo>
                <a:lnTo>
                  <a:pt x="8120" y="331"/>
                </a:lnTo>
                <a:cubicBezTo>
                  <a:pt x="8059" y="191"/>
                  <a:pt x="7954" y="89"/>
                  <a:pt x="7840" y="37"/>
                </a:cubicBezTo>
                <a:close/>
                <a:moveTo>
                  <a:pt x="7647" y="644"/>
                </a:moveTo>
                <a:lnTo>
                  <a:pt x="7928" y="1270"/>
                </a:lnTo>
                <a:cubicBezTo>
                  <a:pt x="8022" y="1488"/>
                  <a:pt x="8215" y="1619"/>
                  <a:pt x="8417" y="1603"/>
                </a:cubicBezTo>
                <a:cubicBezTo>
                  <a:pt x="8554" y="1593"/>
                  <a:pt x="8688" y="1599"/>
                  <a:pt x="8824" y="1617"/>
                </a:cubicBezTo>
                <a:cubicBezTo>
                  <a:pt x="9025" y="1643"/>
                  <a:pt x="9223" y="1522"/>
                  <a:pt x="9325" y="1310"/>
                </a:cubicBezTo>
                <a:lnTo>
                  <a:pt x="9622" y="691"/>
                </a:lnTo>
                <a:lnTo>
                  <a:pt x="10122" y="964"/>
                </a:lnTo>
                <a:lnTo>
                  <a:pt x="9952" y="1643"/>
                </a:lnTo>
                <a:cubicBezTo>
                  <a:pt x="9891" y="1879"/>
                  <a:pt x="9948" y="2140"/>
                  <a:pt x="10100" y="2303"/>
                </a:cubicBezTo>
                <a:cubicBezTo>
                  <a:pt x="10203" y="2414"/>
                  <a:pt x="10300" y="2533"/>
                  <a:pt x="10386" y="2663"/>
                </a:cubicBezTo>
                <a:cubicBezTo>
                  <a:pt x="10513" y="2856"/>
                  <a:pt x="10723" y="2940"/>
                  <a:pt x="10919" y="2876"/>
                </a:cubicBezTo>
                <a:lnTo>
                  <a:pt x="11486" y="2696"/>
                </a:lnTo>
                <a:lnTo>
                  <a:pt x="11684" y="3323"/>
                </a:lnTo>
                <a:lnTo>
                  <a:pt x="11167" y="3656"/>
                </a:lnTo>
                <a:cubicBezTo>
                  <a:pt x="10988" y="3771"/>
                  <a:pt x="10880" y="3997"/>
                  <a:pt x="10892" y="4243"/>
                </a:cubicBezTo>
                <a:cubicBezTo>
                  <a:pt x="10901" y="4410"/>
                  <a:pt x="10897" y="4583"/>
                  <a:pt x="10881" y="4749"/>
                </a:cubicBezTo>
                <a:cubicBezTo>
                  <a:pt x="10860" y="4992"/>
                  <a:pt x="10960" y="5224"/>
                  <a:pt x="11134" y="5349"/>
                </a:cubicBezTo>
                <a:lnTo>
                  <a:pt x="11640" y="5715"/>
                </a:lnTo>
                <a:lnTo>
                  <a:pt x="11420" y="6328"/>
                </a:lnTo>
                <a:lnTo>
                  <a:pt x="10864" y="6122"/>
                </a:lnTo>
                <a:cubicBezTo>
                  <a:pt x="10669" y="6049"/>
                  <a:pt x="10454" y="6121"/>
                  <a:pt x="10320" y="6308"/>
                </a:cubicBezTo>
                <a:cubicBezTo>
                  <a:pt x="10230" y="6434"/>
                  <a:pt x="10131" y="6551"/>
                  <a:pt x="10023" y="6655"/>
                </a:cubicBezTo>
                <a:cubicBezTo>
                  <a:pt x="9865" y="6810"/>
                  <a:pt x="9796" y="7064"/>
                  <a:pt x="9847" y="7301"/>
                </a:cubicBezTo>
                <a:lnTo>
                  <a:pt x="9996" y="7994"/>
                </a:lnTo>
                <a:lnTo>
                  <a:pt x="9484" y="8234"/>
                </a:lnTo>
                <a:lnTo>
                  <a:pt x="9209" y="7601"/>
                </a:lnTo>
                <a:cubicBezTo>
                  <a:pt x="9120" y="7395"/>
                  <a:pt x="8945" y="7268"/>
                  <a:pt x="8753" y="7268"/>
                </a:cubicBezTo>
                <a:lnTo>
                  <a:pt x="8720" y="7268"/>
                </a:lnTo>
                <a:cubicBezTo>
                  <a:pt x="8583" y="7278"/>
                  <a:pt x="8449" y="7272"/>
                  <a:pt x="8313" y="7255"/>
                </a:cubicBezTo>
                <a:cubicBezTo>
                  <a:pt x="8112" y="7228"/>
                  <a:pt x="7914" y="7349"/>
                  <a:pt x="7812" y="7561"/>
                </a:cubicBezTo>
                <a:lnTo>
                  <a:pt x="7515" y="8181"/>
                </a:lnTo>
                <a:lnTo>
                  <a:pt x="7010" y="7908"/>
                </a:lnTo>
                <a:lnTo>
                  <a:pt x="7186" y="7221"/>
                </a:lnTo>
                <a:cubicBezTo>
                  <a:pt x="7245" y="6986"/>
                  <a:pt x="7189" y="6732"/>
                  <a:pt x="7037" y="6568"/>
                </a:cubicBezTo>
                <a:cubicBezTo>
                  <a:pt x="6934" y="6458"/>
                  <a:pt x="6836" y="6339"/>
                  <a:pt x="6751" y="6208"/>
                </a:cubicBezTo>
                <a:cubicBezTo>
                  <a:pt x="6624" y="6016"/>
                  <a:pt x="6414" y="5932"/>
                  <a:pt x="6218" y="5995"/>
                </a:cubicBezTo>
                <a:lnTo>
                  <a:pt x="5651" y="6175"/>
                </a:lnTo>
                <a:lnTo>
                  <a:pt x="5453" y="5549"/>
                </a:lnTo>
                <a:cubicBezTo>
                  <a:pt x="5453" y="5549"/>
                  <a:pt x="5976" y="5215"/>
                  <a:pt x="5976" y="5215"/>
                </a:cubicBezTo>
                <a:cubicBezTo>
                  <a:pt x="6155" y="5100"/>
                  <a:pt x="6262" y="4868"/>
                  <a:pt x="6251" y="4622"/>
                </a:cubicBezTo>
                <a:cubicBezTo>
                  <a:pt x="6241" y="4455"/>
                  <a:pt x="6242" y="4289"/>
                  <a:pt x="6256" y="4123"/>
                </a:cubicBezTo>
                <a:cubicBezTo>
                  <a:pt x="6277" y="3880"/>
                  <a:pt x="6182" y="3647"/>
                  <a:pt x="6009" y="3523"/>
                </a:cubicBezTo>
                <a:lnTo>
                  <a:pt x="5497" y="3156"/>
                </a:lnTo>
                <a:lnTo>
                  <a:pt x="5723" y="2543"/>
                </a:lnTo>
                <a:lnTo>
                  <a:pt x="6284" y="2750"/>
                </a:lnTo>
                <a:cubicBezTo>
                  <a:pt x="6475" y="2820"/>
                  <a:pt x="6679" y="2752"/>
                  <a:pt x="6812" y="2570"/>
                </a:cubicBezTo>
                <a:cubicBezTo>
                  <a:pt x="6902" y="2444"/>
                  <a:pt x="7006" y="2327"/>
                  <a:pt x="7114" y="2223"/>
                </a:cubicBezTo>
                <a:cubicBezTo>
                  <a:pt x="7271" y="2068"/>
                  <a:pt x="7336" y="1814"/>
                  <a:pt x="7285" y="1577"/>
                </a:cubicBezTo>
                <a:lnTo>
                  <a:pt x="7136" y="884"/>
                </a:lnTo>
                <a:lnTo>
                  <a:pt x="7647" y="644"/>
                </a:lnTo>
                <a:close/>
                <a:moveTo>
                  <a:pt x="8571" y="2350"/>
                </a:moveTo>
                <a:cubicBezTo>
                  <a:pt x="7616" y="2354"/>
                  <a:pt x="6847" y="3292"/>
                  <a:pt x="6850" y="4449"/>
                </a:cubicBezTo>
                <a:cubicBezTo>
                  <a:pt x="6853" y="5459"/>
                  <a:pt x="7449" y="6328"/>
                  <a:pt x="8269" y="6508"/>
                </a:cubicBezTo>
                <a:cubicBezTo>
                  <a:pt x="8373" y="6531"/>
                  <a:pt x="8477" y="6542"/>
                  <a:pt x="8582" y="6542"/>
                </a:cubicBezTo>
                <a:cubicBezTo>
                  <a:pt x="9537" y="6538"/>
                  <a:pt x="10312" y="5593"/>
                  <a:pt x="10309" y="4436"/>
                </a:cubicBezTo>
                <a:cubicBezTo>
                  <a:pt x="10306" y="3278"/>
                  <a:pt x="9526" y="2346"/>
                  <a:pt x="8571" y="2350"/>
                </a:cubicBezTo>
                <a:close/>
                <a:moveTo>
                  <a:pt x="8577" y="2996"/>
                </a:moveTo>
                <a:cubicBezTo>
                  <a:pt x="8650" y="2996"/>
                  <a:pt x="8725" y="3000"/>
                  <a:pt x="8797" y="3016"/>
                </a:cubicBezTo>
                <a:cubicBezTo>
                  <a:pt x="9447" y="3160"/>
                  <a:pt x="9878" y="3914"/>
                  <a:pt x="9759" y="4702"/>
                </a:cubicBezTo>
                <a:cubicBezTo>
                  <a:pt x="9640" y="5491"/>
                  <a:pt x="9013" y="6019"/>
                  <a:pt x="8362" y="5875"/>
                </a:cubicBezTo>
                <a:cubicBezTo>
                  <a:pt x="7712" y="5731"/>
                  <a:pt x="7281" y="4971"/>
                  <a:pt x="7400" y="4183"/>
                </a:cubicBezTo>
                <a:cubicBezTo>
                  <a:pt x="7504" y="3495"/>
                  <a:pt x="8000" y="2998"/>
                  <a:pt x="8577" y="2996"/>
                </a:cubicBezTo>
                <a:close/>
                <a:moveTo>
                  <a:pt x="15984" y="6455"/>
                </a:moveTo>
                <a:cubicBezTo>
                  <a:pt x="15735" y="6496"/>
                  <a:pt x="15520" y="6701"/>
                  <a:pt x="15429" y="7001"/>
                </a:cubicBezTo>
                <a:lnTo>
                  <a:pt x="15071" y="8181"/>
                </a:lnTo>
                <a:cubicBezTo>
                  <a:pt x="15052" y="8252"/>
                  <a:pt x="15000" y="8301"/>
                  <a:pt x="14939" y="8308"/>
                </a:cubicBezTo>
                <a:cubicBezTo>
                  <a:pt x="14664" y="8333"/>
                  <a:pt x="14393" y="8385"/>
                  <a:pt x="14125" y="8468"/>
                </a:cubicBezTo>
                <a:cubicBezTo>
                  <a:pt x="14064" y="8486"/>
                  <a:pt x="13998" y="8455"/>
                  <a:pt x="13960" y="8394"/>
                </a:cubicBezTo>
                <a:lnTo>
                  <a:pt x="13317" y="7421"/>
                </a:lnTo>
                <a:cubicBezTo>
                  <a:pt x="13099" y="7088"/>
                  <a:pt x="12709" y="6999"/>
                  <a:pt x="12410" y="7221"/>
                </a:cubicBezTo>
                <a:lnTo>
                  <a:pt x="11568" y="7848"/>
                </a:lnTo>
                <a:cubicBezTo>
                  <a:pt x="11269" y="8073"/>
                  <a:pt x="11157" y="8539"/>
                  <a:pt x="11304" y="8927"/>
                </a:cubicBezTo>
                <a:lnTo>
                  <a:pt x="11733" y="10054"/>
                </a:lnTo>
                <a:cubicBezTo>
                  <a:pt x="11760" y="10122"/>
                  <a:pt x="11751" y="10202"/>
                  <a:pt x="11711" y="10260"/>
                </a:cubicBezTo>
                <a:cubicBezTo>
                  <a:pt x="11529" y="10514"/>
                  <a:pt x="11369" y="10791"/>
                  <a:pt x="11227" y="11080"/>
                </a:cubicBezTo>
                <a:cubicBezTo>
                  <a:pt x="11195" y="11144"/>
                  <a:pt x="11135" y="11176"/>
                  <a:pt x="11073" y="11167"/>
                </a:cubicBezTo>
                <a:lnTo>
                  <a:pt x="10051" y="11020"/>
                </a:lnTo>
                <a:cubicBezTo>
                  <a:pt x="9700" y="10970"/>
                  <a:pt x="9377" y="11249"/>
                  <a:pt x="9297" y="11666"/>
                </a:cubicBezTo>
                <a:lnTo>
                  <a:pt x="9066" y="12833"/>
                </a:lnTo>
                <a:cubicBezTo>
                  <a:pt x="8985" y="13248"/>
                  <a:pt x="9170" y="13670"/>
                  <a:pt x="9501" y="13819"/>
                </a:cubicBezTo>
                <a:lnTo>
                  <a:pt x="10468" y="14252"/>
                </a:lnTo>
                <a:cubicBezTo>
                  <a:pt x="10526" y="14278"/>
                  <a:pt x="10566" y="14339"/>
                  <a:pt x="10573" y="14412"/>
                </a:cubicBezTo>
                <a:cubicBezTo>
                  <a:pt x="10592" y="14747"/>
                  <a:pt x="10636" y="15079"/>
                  <a:pt x="10705" y="15405"/>
                </a:cubicBezTo>
                <a:cubicBezTo>
                  <a:pt x="10718" y="15483"/>
                  <a:pt x="10694" y="15567"/>
                  <a:pt x="10639" y="15612"/>
                </a:cubicBezTo>
                <a:lnTo>
                  <a:pt x="9842" y="16385"/>
                </a:lnTo>
                <a:cubicBezTo>
                  <a:pt x="9570" y="16652"/>
                  <a:pt x="9503" y="17120"/>
                  <a:pt x="9682" y="17484"/>
                </a:cubicBezTo>
                <a:lnTo>
                  <a:pt x="10194" y="18504"/>
                </a:lnTo>
                <a:cubicBezTo>
                  <a:pt x="10378" y="18869"/>
                  <a:pt x="10759" y="19011"/>
                  <a:pt x="11079" y="18830"/>
                </a:cubicBezTo>
                <a:lnTo>
                  <a:pt x="12014" y="18304"/>
                </a:lnTo>
                <a:cubicBezTo>
                  <a:pt x="12069" y="18272"/>
                  <a:pt x="12132" y="18283"/>
                  <a:pt x="12179" y="18331"/>
                </a:cubicBezTo>
                <a:cubicBezTo>
                  <a:pt x="12386" y="18551"/>
                  <a:pt x="12608" y="18745"/>
                  <a:pt x="12844" y="18917"/>
                </a:cubicBezTo>
                <a:cubicBezTo>
                  <a:pt x="12898" y="18957"/>
                  <a:pt x="12929" y="19034"/>
                  <a:pt x="12921" y="19110"/>
                </a:cubicBezTo>
                <a:lnTo>
                  <a:pt x="12800" y="20356"/>
                </a:lnTo>
                <a:cubicBezTo>
                  <a:pt x="12760" y="20782"/>
                  <a:pt x="12990" y="21178"/>
                  <a:pt x="13333" y="21276"/>
                </a:cubicBezTo>
                <a:lnTo>
                  <a:pt x="14290" y="21556"/>
                </a:lnTo>
                <a:cubicBezTo>
                  <a:pt x="14343" y="21571"/>
                  <a:pt x="14396" y="21576"/>
                  <a:pt x="14450" y="21576"/>
                </a:cubicBezTo>
                <a:cubicBezTo>
                  <a:pt x="14742" y="21575"/>
                  <a:pt x="15004" y="21355"/>
                  <a:pt x="15104" y="21023"/>
                </a:cubicBezTo>
                <a:lnTo>
                  <a:pt x="15456" y="19843"/>
                </a:lnTo>
                <a:cubicBezTo>
                  <a:pt x="15477" y="19773"/>
                  <a:pt x="15533" y="19725"/>
                  <a:pt x="15594" y="19717"/>
                </a:cubicBezTo>
                <a:cubicBezTo>
                  <a:pt x="15869" y="19693"/>
                  <a:pt x="16140" y="19640"/>
                  <a:pt x="16407" y="19557"/>
                </a:cubicBezTo>
                <a:cubicBezTo>
                  <a:pt x="16468" y="19539"/>
                  <a:pt x="16530" y="19563"/>
                  <a:pt x="16567" y="19623"/>
                </a:cubicBezTo>
                <a:lnTo>
                  <a:pt x="17205" y="20610"/>
                </a:lnTo>
                <a:cubicBezTo>
                  <a:pt x="17422" y="20943"/>
                  <a:pt x="17813" y="21024"/>
                  <a:pt x="18112" y="20803"/>
                </a:cubicBezTo>
                <a:lnTo>
                  <a:pt x="18959" y="20183"/>
                </a:lnTo>
                <a:cubicBezTo>
                  <a:pt x="19257" y="19958"/>
                  <a:pt x="19369" y="19498"/>
                  <a:pt x="19223" y="19110"/>
                </a:cubicBezTo>
                <a:lnTo>
                  <a:pt x="18794" y="17971"/>
                </a:lnTo>
                <a:cubicBezTo>
                  <a:pt x="18768" y="17902"/>
                  <a:pt x="18776" y="17822"/>
                  <a:pt x="18816" y="17764"/>
                </a:cubicBezTo>
                <a:cubicBezTo>
                  <a:pt x="18996" y="17513"/>
                  <a:pt x="19159" y="17243"/>
                  <a:pt x="19300" y="16958"/>
                </a:cubicBezTo>
                <a:cubicBezTo>
                  <a:pt x="19333" y="16891"/>
                  <a:pt x="19390" y="16853"/>
                  <a:pt x="19454" y="16858"/>
                </a:cubicBezTo>
                <a:lnTo>
                  <a:pt x="20477" y="17004"/>
                </a:lnTo>
                <a:cubicBezTo>
                  <a:pt x="20828" y="17054"/>
                  <a:pt x="21156" y="16775"/>
                  <a:pt x="21236" y="16358"/>
                </a:cubicBezTo>
                <a:lnTo>
                  <a:pt x="21461" y="15192"/>
                </a:lnTo>
                <a:cubicBezTo>
                  <a:pt x="21543" y="14775"/>
                  <a:pt x="21358" y="14348"/>
                  <a:pt x="21027" y="14199"/>
                </a:cubicBezTo>
                <a:lnTo>
                  <a:pt x="20059" y="13766"/>
                </a:lnTo>
                <a:cubicBezTo>
                  <a:pt x="20002" y="13740"/>
                  <a:pt x="19961" y="13679"/>
                  <a:pt x="19954" y="13606"/>
                </a:cubicBezTo>
                <a:cubicBezTo>
                  <a:pt x="19934" y="13271"/>
                  <a:pt x="19891" y="12938"/>
                  <a:pt x="19822" y="12613"/>
                </a:cubicBezTo>
                <a:cubicBezTo>
                  <a:pt x="19808" y="12538"/>
                  <a:pt x="19828" y="12460"/>
                  <a:pt x="19877" y="12413"/>
                </a:cubicBezTo>
                <a:lnTo>
                  <a:pt x="20686" y="11640"/>
                </a:lnTo>
                <a:cubicBezTo>
                  <a:pt x="20958" y="11373"/>
                  <a:pt x="21026" y="10904"/>
                  <a:pt x="20845" y="10540"/>
                </a:cubicBezTo>
                <a:lnTo>
                  <a:pt x="20334" y="9514"/>
                </a:lnTo>
                <a:cubicBezTo>
                  <a:pt x="20149" y="9150"/>
                  <a:pt x="19768" y="9014"/>
                  <a:pt x="19448" y="9194"/>
                </a:cubicBezTo>
                <a:lnTo>
                  <a:pt x="18519" y="9720"/>
                </a:lnTo>
                <a:cubicBezTo>
                  <a:pt x="18464" y="9752"/>
                  <a:pt x="18395" y="9742"/>
                  <a:pt x="18349" y="9694"/>
                </a:cubicBezTo>
                <a:cubicBezTo>
                  <a:pt x="18141" y="9475"/>
                  <a:pt x="17919" y="9280"/>
                  <a:pt x="17683" y="9107"/>
                </a:cubicBezTo>
                <a:cubicBezTo>
                  <a:pt x="17628" y="9067"/>
                  <a:pt x="17603" y="8991"/>
                  <a:pt x="17612" y="8914"/>
                </a:cubicBezTo>
                <a:lnTo>
                  <a:pt x="17727" y="7668"/>
                </a:lnTo>
                <a:cubicBezTo>
                  <a:pt x="17768" y="7243"/>
                  <a:pt x="17543" y="6845"/>
                  <a:pt x="17199" y="6748"/>
                </a:cubicBezTo>
                <a:lnTo>
                  <a:pt x="16243" y="6468"/>
                </a:lnTo>
                <a:cubicBezTo>
                  <a:pt x="16157" y="6444"/>
                  <a:pt x="16067" y="6441"/>
                  <a:pt x="15984" y="6455"/>
                </a:cubicBezTo>
                <a:close/>
                <a:moveTo>
                  <a:pt x="16116" y="7088"/>
                </a:moveTo>
                <a:lnTo>
                  <a:pt x="17073" y="7368"/>
                </a:lnTo>
                <a:cubicBezTo>
                  <a:pt x="17153" y="7392"/>
                  <a:pt x="17209" y="7488"/>
                  <a:pt x="17199" y="7588"/>
                </a:cubicBezTo>
                <a:lnTo>
                  <a:pt x="17078" y="8827"/>
                </a:lnTo>
                <a:cubicBezTo>
                  <a:pt x="17046" y="9155"/>
                  <a:pt x="17176" y="9475"/>
                  <a:pt x="17408" y="9647"/>
                </a:cubicBezTo>
                <a:cubicBezTo>
                  <a:pt x="17619" y="9800"/>
                  <a:pt x="17817" y="9978"/>
                  <a:pt x="18002" y="10174"/>
                </a:cubicBezTo>
                <a:cubicBezTo>
                  <a:pt x="18207" y="10389"/>
                  <a:pt x="18499" y="10434"/>
                  <a:pt x="18745" y="10294"/>
                </a:cubicBezTo>
                <a:lnTo>
                  <a:pt x="19674" y="9774"/>
                </a:lnTo>
                <a:cubicBezTo>
                  <a:pt x="19749" y="9732"/>
                  <a:pt x="19840" y="9762"/>
                  <a:pt x="19883" y="9847"/>
                </a:cubicBezTo>
                <a:lnTo>
                  <a:pt x="20394" y="10867"/>
                </a:lnTo>
                <a:cubicBezTo>
                  <a:pt x="20437" y="10953"/>
                  <a:pt x="20419" y="11062"/>
                  <a:pt x="20356" y="11127"/>
                </a:cubicBezTo>
                <a:lnTo>
                  <a:pt x="19553" y="11900"/>
                </a:lnTo>
                <a:cubicBezTo>
                  <a:pt x="19339" y="12103"/>
                  <a:pt x="19241" y="12446"/>
                  <a:pt x="19305" y="12766"/>
                </a:cubicBezTo>
                <a:cubicBezTo>
                  <a:pt x="19365" y="13056"/>
                  <a:pt x="19404" y="13348"/>
                  <a:pt x="19421" y="13646"/>
                </a:cubicBezTo>
                <a:cubicBezTo>
                  <a:pt x="19441" y="13974"/>
                  <a:pt x="19622" y="14259"/>
                  <a:pt x="19877" y="14372"/>
                </a:cubicBezTo>
                <a:lnTo>
                  <a:pt x="20840" y="14805"/>
                </a:lnTo>
                <a:cubicBezTo>
                  <a:pt x="20919" y="14839"/>
                  <a:pt x="20964" y="14939"/>
                  <a:pt x="20944" y="15038"/>
                </a:cubicBezTo>
                <a:lnTo>
                  <a:pt x="20719" y="16205"/>
                </a:lnTo>
                <a:cubicBezTo>
                  <a:pt x="20700" y="16302"/>
                  <a:pt x="20619" y="16370"/>
                  <a:pt x="20537" y="16358"/>
                </a:cubicBezTo>
                <a:lnTo>
                  <a:pt x="19520" y="16211"/>
                </a:lnTo>
                <a:cubicBezTo>
                  <a:pt x="19247" y="16175"/>
                  <a:pt x="18978" y="16338"/>
                  <a:pt x="18838" y="16625"/>
                </a:cubicBezTo>
                <a:cubicBezTo>
                  <a:pt x="18713" y="16881"/>
                  <a:pt x="18570" y="17119"/>
                  <a:pt x="18409" y="17344"/>
                </a:cubicBezTo>
                <a:cubicBezTo>
                  <a:pt x="18233" y="17594"/>
                  <a:pt x="18196" y="17946"/>
                  <a:pt x="18310" y="18244"/>
                </a:cubicBezTo>
                <a:lnTo>
                  <a:pt x="18739" y="19383"/>
                </a:lnTo>
                <a:cubicBezTo>
                  <a:pt x="18774" y="19475"/>
                  <a:pt x="18748" y="19582"/>
                  <a:pt x="18679" y="19637"/>
                </a:cubicBezTo>
                <a:lnTo>
                  <a:pt x="17832" y="20256"/>
                </a:lnTo>
                <a:cubicBezTo>
                  <a:pt x="17762" y="20307"/>
                  <a:pt x="17674" y="20293"/>
                  <a:pt x="17623" y="20217"/>
                </a:cubicBezTo>
                <a:lnTo>
                  <a:pt x="16985" y="19230"/>
                </a:lnTo>
                <a:cubicBezTo>
                  <a:pt x="16817" y="18970"/>
                  <a:pt x="16540" y="18852"/>
                  <a:pt x="16276" y="18930"/>
                </a:cubicBezTo>
                <a:cubicBezTo>
                  <a:pt x="16038" y="19004"/>
                  <a:pt x="15794" y="19050"/>
                  <a:pt x="15550" y="19070"/>
                </a:cubicBezTo>
                <a:cubicBezTo>
                  <a:pt x="15278" y="19096"/>
                  <a:pt x="15048" y="19313"/>
                  <a:pt x="14956" y="19623"/>
                </a:cubicBezTo>
                <a:lnTo>
                  <a:pt x="14598" y="20803"/>
                </a:lnTo>
                <a:cubicBezTo>
                  <a:pt x="14570" y="20897"/>
                  <a:pt x="14492" y="20944"/>
                  <a:pt x="14411" y="20923"/>
                </a:cubicBezTo>
                <a:lnTo>
                  <a:pt x="13454" y="20650"/>
                </a:lnTo>
                <a:cubicBezTo>
                  <a:pt x="13374" y="20625"/>
                  <a:pt x="13318" y="20530"/>
                  <a:pt x="13328" y="20430"/>
                </a:cubicBezTo>
                <a:lnTo>
                  <a:pt x="13449" y="19190"/>
                </a:lnTo>
                <a:cubicBezTo>
                  <a:pt x="13482" y="18862"/>
                  <a:pt x="13352" y="18542"/>
                  <a:pt x="13119" y="18371"/>
                </a:cubicBezTo>
                <a:cubicBezTo>
                  <a:pt x="12909" y="18216"/>
                  <a:pt x="12710" y="18040"/>
                  <a:pt x="12525" y="17844"/>
                </a:cubicBezTo>
                <a:cubicBezTo>
                  <a:pt x="12400" y="17713"/>
                  <a:pt x="12240" y="17637"/>
                  <a:pt x="12074" y="17637"/>
                </a:cubicBezTo>
                <a:cubicBezTo>
                  <a:pt x="11974" y="17638"/>
                  <a:pt x="11874" y="17666"/>
                  <a:pt x="11783" y="17717"/>
                </a:cubicBezTo>
                <a:lnTo>
                  <a:pt x="10853" y="18244"/>
                </a:lnTo>
                <a:cubicBezTo>
                  <a:pt x="10779" y="18285"/>
                  <a:pt x="10688" y="18255"/>
                  <a:pt x="10644" y="18171"/>
                </a:cubicBezTo>
                <a:lnTo>
                  <a:pt x="10133" y="17151"/>
                </a:lnTo>
                <a:cubicBezTo>
                  <a:pt x="10090" y="17065"/>
                  <a:pt x="10107" y="16955"/>
                  <a:pt x="10172" y="16891"/>
                </a:cubicBezTo>
                <a:lnTo>
                  <a:pt x="10974" y="16111"/>
                </a:lnTo>
                <a:cubicBezTo>
                  <a:pt x="11188" y="15907"/>
                  <a:pt x="11286" y="15572"/>
                  <a:pt x="11222" y="15252"/>
                </a:cubicBezTo>
                <a:cubicBezTo>
                  <a:pt x="11162" y="14961"/>
                  <a:pt x="11119" y="14664"/>
                  <a:pt x="11101" y="14365"/>
                </a:cubicBezTo>
                <a:cubicBezTo>
                  <a:pt x="11081" y="14038"/>
                  <a:pt x="10905" y="13758"/>
                  <a:pt x="10650" y="13646"/>
                </a:cubicBezTo>
                <a:lnTo>
                  <a:pt x="9688" y="13212"/>
                </a:lnTo>
                <a:cubicBezTo>
                  <a:pt x="9610" y="13176"/>
                  <a:pt x="9564" y="13078"/>
                  <a:pt x="9583" y="12979"/>
                </a:cubicBezTo>
                <a:lnTo>
                  <a:pt x="9814" y="11813"/>
                </a:lnTo>
                <a:cubicBezTo>
                  <a:pt x="9833" y="11715"/>
                  <a:pt x="9908" y="11648"/>
                  <a:pt x="9990" y="11660"/>
                </a:cubicBezTo>
                <a:lnTo>
                  <a:pt x="11007" y="11806"/>
                </a:lnTo>
                <a:cubicBezTo>
                  <a:pt x="11278" y="11847"/>
                  <a:pt x="11544" y="11690"/>
                  <a:pt x="11684" y="11406"/>
                </a:cubicBezTo>
                <a:cubicBezTo>
                  <a:pt x="11810" y="11150"/>
                  <a:pt x="11957" y="10906"/>
                  <a:pt x="12118" y="10680"/>
                </a:cubicBezTo>
                <a:cubicBezTo>
                  <a:pt x="12294" y="10430"/>
                  <a:pt x="12331" y="10079"/>
                  <a:pt x="12217" y="9780"/>
                </a:cubicBezTo>
                <a:lnTo>
                  <a:pt x="11788" y="8654"/>
                </a:lnTo>
                <a:cubicBezTo>
                  <a:pt x="11753" y="8562"/>
                  <a:pt x="11778" y="8455"/>
                  <a:pt x="11849" y="8401"/>
                </a:cubicBezTo>
                <a:lnTo>
                  <a:pt x="12690" y="7768"/>
                </a:lnTo>
                <a:cubicBezTo>
                  <a:pt x="12760" y="7716"/>
                  <a:pt x="12848" y="7737"/>
                  <a:pt x="12899" y="7814"/>
                </a:cubicBezTo>
                <a:lnTo>
                  <a:pt x="13542" y="8781"/>
                </a:lnTo>
                <a:cubicBezTo>
                  <a:pt x="13710" y="9042"/>
                  <a:pt x="13987" y="9161"/>
                  <a:pt x="14252" y="9081"/>
                </a:cubicBezTo>
                <a:cubicBezTo>
                  <a:pt x="14490" y="9008"/>
                  <a:pt x="14733" y="8961"/>
                  <a:pt x="14978" y="8941"/>
                </a:cubicBezTo>
                <a:cubicBezTo>
                  <a:pt x="15248" y="8916"/>
                  <a:pt x="15480" y="8704"/>
                  <a:pt x="15572" y="8394"/>
                </a:cubicBezTo>
                <a:lnTo>
                  <a:pt x="15929" y="7215"/>
                </a:lnTo>
                <a:cubicBezTo>
                  <a:pt x="15956" y="7120"/>
                  <a:pt x="16035" y="7064"/>
                  <a:pt x="16116" y="7088"/>
                </a:cubicBezTo>
                <a:close/>
                <a:moveTo>
                  <a:pt x="5343" y="8568"/>
                </a:moveTo>
                <a:cubicBezTo>
                  <a:pt x="5065" y="8474"/>
                  <a:pt x="4772" y="8650"/>
                  <a:pt x="4661" y="8974"/>
                </a:cubicBezTo>
                <a:lnTo>
                  <a:pt x="4381" y="9794"/>
                </a:lnTo>
                <a:cubicBezTo>
                  <a:pt x="4376" y="9809"/>
                  <a:pt x="4367" y="9819"/>
                  <a:pt x="4354" y="9820"/>
                </a:cubicBezTo>
                <a:cubicBezTo>
                  <a:pt x="4154" y="9827"/>
                  <a:pt x="3955" y="9857"/>
                  <a:pt x="3760" y="9907"/>
                </a:cubicBezTo>
                <a:cubicBezTo>
                  <a:pt x="3745" y="9910"/>
                  <a:pt x="3729" y="9902"/>
                  <a:pt x="3721" y="9887"/>
                </a:cubicBezTo>
                <a:lnTo>
                  <a:pt x="3292" y="9174"/>
                </a:lnTo>
                <a:cubicBezTo>
                  <a:pt x="3122" y="8893"/>
                  <a:pt x="2801" y="8811"/>
                  <a:pt x="2550" y="8981"/>
                </a:cubicBezTo>
                <a:lnTo>
                  <a:pt x="1939" y="9394"/>
                </a:lnTo>
                <a:cubicBezTo>
                  <a:pt x="1688" y="9566"/>
                  <a:pt x="1581" y="9943"/>
                  <a:pt x="1692" y="10267"/>
                </a:cubicBezTo>
                <a:lnTo>
                  <a:pt x="1978" y="11087"/>
                </a:lnTo>
                <a:cubicBezTo>
                  <a:pt x="1985" y="11100"/>
                  <a:pt x="1985" y="11113"/>
                  <a:pt x="1978" y="11127"/>
                </a:cubicBezTo>
                <a:cubicBezTo>
                  <a:pt x="1840" y="11304"/>
                  <a:pt x="1713" y="11502"/>
                  <a:pt x="1604" y="11706"/>
                </a:cubicBezTo>
                <a:cubicBezTo>
                  <a:pt x="1596" y="11720"/>
                  <a:pt x="1584" y="11722"/>
                  <a:pt x="1571" y="11720"/>
                </a:cubicBezTo>
                <a:lnTo>
                  <a:pt x="851" y="11580"/>
                </a:lnTo>
                <a:cubicBezTo>
                  <a:pt x="564" y="11524"/>
                  <a:pt x="290" y="11741"/>
                  <a:pt x="213" y="12080"/>
                </a:cubicBezTo>
                <a:lnTo>
                  <a:pt x="20" y="12899"/>
                </a:lnTo>
                <a:cubicBezTo>
                  <a:pt x="-57" y="13236"/>
                  <a:pt x="89" y="13591"/>
                  <a:pt x="356" y="13726"/>
                </a:cubicBezTo>
                <a:lnTo>
                  <a:pt x="1027" y="14065"/>
                </a:lnTo>
                <a:cubicBezTo>
                  <a:pt x="1039" y="14071"/>
                  <a:pt x="1048" y="14082"/>
                  <a:pt x="1049" y="14099"/>
                </a:cubicBezTo>
                <a:cubicBezTo>
                  <a:pt x="1055" y="14342"/>
                  <a:pt x="1079" y="14587"/>
                  <a:pt x="1120" y="14825"/>
                </a:cubicBezTo>
                <a:cubicBezTo>
                  <a:pt x="1123" y="14843"/>
                  <a:pt x="1116" y="14856"/>
                  <a:pt x="1104" y="14865"/>
                </a:cubicBezTo>
                <a:lnTo>
                  <a:pt x="515" y="15392"/>
                </a:lnTo>
                <a:cubicBezTo>
                  <a:pt x="285" y="15600"/>
                  <a:pt x="218" y="15979"/>
                  <a:pt x="356" y="16285"/>
                </a:cubicBezTo>
                <a:lnTo>
                  <a:pt x="697" y="17031"/>
                </a:lnTo>
                <a:cubicBezTo>
                  <a:pt x="838" y="17337"/>
                  <a:pt x="1145" y="17466"/>
                  <a:pt x="1411" y="17331"/>
                </a:cubicBezTo>
                <a:lnTo>
                  <a:pt x="2088" y="16984"/>
                </a:lnTo>
                <a:cubicBezTo>
                  <a:pt x="2098" y="16976"/>
                  <a:pt x="2110" y="16976"/>
                  <a:pt x="2121" y="16984"/>
                </a:cubicBezTo>
                <a:cubicBezTo>
                  <a:pt x="2266" y="17151"/>
                  <a:pt x="2421" y="17305"/>
                  <a:pt x="2588" y="17438"/>
                </a:cubicBezTo>
                <a:cubicBezTo>
                  <a:pt x="2601" y="17448"/>
                  <a:pt x="2608" y="17466"/>
                  <a:pt x="2605" y="17484"/>
                </a:cubicBezTo>
                <a:lnTo>
                  <a:pt x="2495" y="18357"/>
                </a:lnTo>
                <a:cubicBezTo>
                  <a:pt x="2449" y="18703"/>
                  <a:pt x="2624" y="19041"/>
                  <a:pt x="2902" y="19137"/>
                </a:cubicBezTo>
                <a:lnTo>
                  <a:pt x="3573" y="19363"/>
                </a:lnTo>
                <a:cubicBezTo>
                  <a:pt x="3623" y="19379"/>
                  <a:pt x="3675" y="19390"/>
                  <a:pt x="3727" y="19390"/>
                </a:cubicBezTo>
                <a:cubicBezTo>
                  <a:pt x="3959" y="19392"/>
                  <a:pt x="4165" y="19224"/>
                  <a:pt x="4255" y="18964"/>
                </a:cubicBezTo>
                <a:lnTo>
                  <a:pt x="4535" y="18137"/>
                </a:lnTo>
                <a:cubicBezTo>
                  <a:pt x="4539" y="18122"/>
                  <a:pt x="4549" y="18112"/>
                  <a:pt x="4562" y="18111"/>
                </a:cubicBezTo>
                <a:cubicBezTo>
                  <a:pt x="4762" y="18103"/>
                  <a:pt x="4961" y="18073"/>
                  <a:pt x="5156" y="18024"/>
                </a:cubicBezTo>
                <a:cubicBezTo>
                  <a:pt x="5170" y="18021"/>
                  <a:pt x="5187" y="18030"/>
                  <a:pt x="5195" y="18044"/>
                </a:cubicBezTo>
                <a:lnTo>
                  <a:pt x="5624" y="18764"/>
                </a:lnTo>
                <a:cubicBezTo>
                  <a:pt x="5793" y="19045"/>
                  <a:pt x="6109" y="19125"/>
                  <a:pt x="6361" y="18957"/>
                </a:cubicBezTo>
                <a:lnTo>
                  <a:pt x="6977" y="18544"/>
                </a:lnTo>
                <a:cubicBezTo>
                  <a:pt x="7227" y="18371"/>
                  <a:pt x="7329" y="18000"/>
                  <a:pt x="7219" y="17677"/>
                </a:cubicBezTo>
                <a:lnTo>
                  <a:pt x="6944" y="16858"/>
                </a:lnTo>
                <a:cubicBezTo>
                  <a:pt x="6937" y="16843"/>
                  <a:pt x="6937" y="16826"/>
                  <a:pt x="6944" y="16811"/>
                </a:cubicBezTo>
                <a:cubicBezTo>
                  <a:pt x="7081" y="16634"/>
                  <a:pt x="7203" y="16442"/>
                  <a:pt x="7312" y="16238"/>
                </a:cubicBezTo>
                <a:cubicBezTo>
                  <a:pt x="7320" y="16223"/>
                  <a:pt x="7336" y="16211"/>
                  <a:pt x="7350" y="16211"/>
                </a:cubicBezTo>
                <a:lnTo>
                  <a:pt x="8071" y="16351"/>
                </a:lnTo>
                <a:cubicBezTo>
                  <a:pt x="8357" y="16407"/>
                  <a:pt x="8631" y="16190"/>
                  <a:pt x="8709" y="15851"/>
                </a:cubicBezTo>
                <a:lnTo>
                  <a:pt x="8896" y="15038"/>
                </a:lnTo>
                <a:cubicBezTo>
                  <a:pt x="8971" y="14698"/>
                  <a:pt x="8825" y="14343"/>
                  <a:pt x="8555" y="14212"/>
                </a:cubicBezTo>
                <a:lnTo>
                  <a:pt x="7878" y="13872"/>
                </a:lnTo>
                <a:cubicBezTo>
                  <a:pt x="7866" y="13866"/>
                  <a:pt x="7857" y="13849"/>
                  <a:pt x="7856" y="13832"/>
                </a:cubicBezTo>
                <a:cubicBezTo>
                  <a:pt x="7850" y="13589"/>
                  <a:pt x="7826" y="13351"/>
                  <a:pt x="7785" y="13113"/>
                </a:cubicBezTo>
                <a:cubicBezTo>
                  <a:pt x="7782" y="13095"/>
                  <a:pt x="7789" y="13076"/>
                  <a:pt x="7801" y="13066"/>
                </a:cubicBezTo>
                <a:lnTo>
                  <a:pt x="8395" y="12539"/>
                </a:lnTo>
                <a:cubicBezTo>
                  <a:pt x="8625" y="12331"/>
                  <a:pt x="8692" y="11952"/>
                  <a:pt x="8555" y="11646"/>
                </a:cubicBezTo>
                <a:lnTo>
                  <a:pt x="8214" y="10907"/>
                </a:lnTo>
                <a:cubicBezTo>
                  <a:pt x="8073" y="10600"/>
                  <a:pt x="7761" y="10471"/>
                  <a:pt x="7493" y="10607"/>
                </a:cubicBezTo>
                <a:lnTo>
                  <a:pt x="6823" y="10947"/>
                </a:lnTo>
                <a:cubicBezTo>
                  <a:pt x="6812" y="10955"/>
                  <a:pt x="6800" y="10955"/>
                  <a:pt x="6790" y="10947"/>
                </a:cubicBezTo>
                <a:cubicBezTo>
                  <a:pt x="6644" y="10780"/>
                  <a:pt x="6484" y="10627"/>
                  <a:pt x="6317" y="10493"/>
                </a:cubicBezTo>
                <a:cubicBezTo>
                  <a:pt x="6304" y="10484"/>
                  <a:pt x="6297" y="10471"/>
                  <a:pt x="6300" y="10454"/>
                </a:cubicBezTo>
                <a:lnTo>
                  <a:pt x="6416" y="9574"/>
                </a:lnTo>
                <a:cubicBezTo>
                  <a:pt x="6461" y="9228"/>
                  <a:pt x="6286" y="8897"/>
                  <a:pt x="6009" y="8801"/>
                </a:cubicBezTo>
                <a:lnTo>
                  <a:pt x="5343" y="8568"/>
                </a:lnTo>
                <a:close/>
                <a:moveTo>
                  <a:pt x="5195" y="9181"/>
                </a:moveTo>
                <a:lnTo>
                  <a:pt x="5860" y="9414"/>
                </a:lnTo>
                <a:cubicBezTo>
                  <a:pt x="5879" y="9420"/>
                  <a:pt x="5892" y="9444"/>
                  <a:pt x="5888" y="9467"/>
                </a:cubicBezTo>
                <a:lnTo>
                  <a:pt x="5772" y="10340"/>
                </a:lnTo>
                <a:cubicBezTo>
                  <a:pt x="5737" y="10608"/>
                  <a:pt x="5834" y="10877"/>
                  <a:pt x="6020" y="11027"/>
                </a:cubicBezTo>
                <a:cubicBezTo>
                  <a:pt x="6161" y="11140"/>
                  <a:pt x="6297" y="11266"/>
                  <a:pt x="6421" y="11406"/>
                </a:cubicBezTo>
                <a:cubicBezTo>
                  <a:pt x="6584" y="11591"/>
                  <a:pt x="6821" y="11645"/>
                  <a:pt x="7026" y="11540"/>
                </a:cubicBezTo>
                <a:lnTo>
                  <a:pt x="7697" y="11200"/>
                </a:lnTo>
                <a:cubicBezTo>
                  <a:pt x="7714" y="11192"/>
                  <a:pt x="7737" y="11201"/>
                  <a:pt x="7746" y="11220"/>
                </a:cubicBezTo>
                <a:lnTo>
                  <a:pt x="8087" y="11960"/>
                </a:lnTo>
                <a:cubicBezTo>
                  <a:pt x="8097" y="11980"/>
                  <a:pt x="8092" y="12005"/>
                  <a:pt x="8076" y="12020"/>
                </a:cubicBezTo>
                <a:lnTo>
                  <a:pt x="7488" y="12539"/>
                </a:lnTo>
                <a:cubicBezTo>
                  <a:pt x="7306" y="12698"/>
                  <a:pt x="7217" y="12974"/>
                  <a:pt x="7263" y="13239"/>
                </a:cubicBezTo>
                <a:cubicBezTo>
                  <a:pt x="7297" y="13441"/>
                  <a:pt x="7318" y="13646"/>
                  <a:pt x="7323" y="13852"/>
                </a:cubicBezTo>
                <a:cubicBezTo>
                  <a:pt x="7331" y="14122"/>
                  <a:pt x="7470" y="14361"/>
                  <a:pt x="7675" y="14465"/>
                </a:cubicBezTo>
                <a:lnTo>
                  <a:pt x="8351" y="14805"/>
                </a:lnTo>
                <a:cubicBezTo>
                  <a:pt x="8370" y="14814"/>
                  <a:pt x="8379" y="14835"/>
                  <a:pt x="8373" y="14859"/>
                </a:cubicBezTo>
                <a:cubicBezTo>
                  <a:pt x="8373" y="14859"/>
                  <a:pt x="8186" y="15678"/>
                  <a:pt x="8186" y="15678"/>
                </a:cubicBezTo>
                <a:cubicBezTo>
                  <a:pt x="8181" y="15700"/>
                  <a:pt x="8161" y="15715"/>
                  <a:pt x="8142" y="15712"/>
                </a:cubicBezTo>
                <a:lnTo>
                  <a:pt x="7422" y="15578"/>
                </a:lnTo>
                <a:cubicBezTo>
                  <a:pt x="7199" y="15537"/>
                  <a:pt x="6978" y="15655"/>
                  <a:pt x="6856" y="15885"/>
                </a:cubicBezTo>
                <a:cubicBezTo>
                  <a:pt x="6763" y="16057"/>
                  <a:pt x="6658" y="16221"/>
                  <a:pt x="6542" y="16371"/>
                </a:cubicBezTo>
                <a:cubicBezTo>
                  <a:pt x="6392" y="16569"/>
                  <a:pt x="6347" y="16856"/>
                  <a:pt x="6432" y="17104"/>
                </a:cubicBezTo>
                <a:lnTo>
                  <a:pt x="6713" y="17924"/>
                </a:lnTo>
                <a:cubicBezTo>
                  <a:pt x="6721" y="17946"/>
                  <a:pt x="6713" y="17972"/>
                  <a:pt x="6696" y="17984"/>
                </a:cubicBezTo>
                <a:lnTo>
                  <a:pt x="6086" y="18397"/>
                </a:lnTo>
                <a:cubicBezTo>
                  <a:pt x="6070" y="18408"/>
                  <a:pt x="6047" y="18402"/>
                  <a:pt x="6036" y="18384"/>
                </a:cubicBezTo>
                <a:lnTo>
                  <a:pt x="5607" y="17664"/>
                </a:lnTo>
                <a:cubicBezTo>
                  <a:pt x="5477" y="17444"/>
                  <a:pt x="5254" y="17337"/>
                  <a:pt x="5035" y="17391"/>
                </a:cubicBezTo>
                <a:cubicBezTo>
                  <a:pt x="4869" y="17433"/>
                  <a:pt x="4699" y="17458"/>
                  <a:pt x="4529" y="17464"/>
                </a:cubicBezTo>
                <a:cubicBezTo>
                  <a:pt x="4307" y="17475"/>
                  <a:pt x="4114" y="17641"/>
                  <a:pt x="4029" y="17891"/>
                </a:cubicBezTo>
                <a:lnTo>
                  <a:pt x="3749" y="18710"/>
                </a:lnTo>
                <a:cubicBezTo>
                  <a:pt x="3742" y="18732"/>
                  <a:pt x="3723" y="18750"/>
                  <a:pt x="3705" y="18744"/>
                </a:cubicBezTo>
                <a:lnTo>
                  <a:pt x="3039" y="18510"/>
                </a:lnTo>
                <a:cubicBezTo>
                  <a:pt x="3020" y="18504"/>
                  <a:pt x="3008" y="18481"/>
                  <a:pt x="3012" y="18457"/>
                </a:cubicBezTo>
                <a:lnTo>
                  <a:pt x="3127" y="17584"/>
                </a:lnTo>
                <a:cubicBezTo>
                  <a:pt x="3163" y="17317"/>
                  <a:pt x="3066" y="17048"/>
                  <a:pt x="2880" y="16898"/>
                </a:cubicBezTo>
                <a:cubicBezTo>
                  <a:pt x="2738" y="16785"/>
                  <a:pt x="2602" y="16659"/>
                  <a:pt x="2478" y="16518"/>
                </a:cubicBezTo>
                <a:cubicBezTo>
                  <a:pt x="2316" y="16333"/>
                  <a:pt x="2079" y="16280"/>
                  <a:pt x="1873" y="16385"/>
                </a:cubicBezTo>
                <a:lnTo>
                  <a:pt x="1197" y="16724"/>
                </a:lnTo>
                <a:cubicBezTo>
                  <a:pt x="1179" y="16733"/>
                  <a:pt x="1162" y="16725"/>
                  <a:pt x="1153" y="16704"/>
                </a:cubicBezTo>
                <a:lnTo>
                  <a:pt x="812" y="15965"/>
                </a:lnTo>
                <a:cubicBezTo>
                  <a:pt x="803" y="15943"/>
                  <a:pt x="808" y="15920"/>
                  <a:pt x="823" y="15905"/>
                </a:cubicBezTo>
                <a:lnTo>
                  <a:pt x="1411" y="15385"/>
                </a:lnTo>
                <a:cubicBezTo>
                  <a:pt x="1593" y="15227"/>
                  <a:pt x="1682" y="14950"/>
                  <a:pt x="1637" y="14685"/>
                </a:cubicBezTo>
                <a:cubicBezTo>
                  <a:pt x="1602" y="14483"/>
                  <a:pt x="1582" y="14279"/>
                  <a:pt x="1576" y="14072"/>
                </a:cubicBezTo>
                <a:cubicBezTo>
                  <a:pt x="1569" y="13803"/>
                  <a:pt x="1430" y="13563"/>
                  <a:pt x="1225" y="13459"/>
                </a:cubicBezTo>
                <a:lnTo>
                  <a:pt x="548" y="13119"/>
                </a:lnTo>
                <a:cubicBezTo>
                  <a:pt x="530" y="13110"/>
                  <a:pt x="521" y="13089"/>
                  <a:pt x="526" y="13066"/>
                </a:cubicBezTo>
                <a:lnTo>
                  <a:pt x="719" y="12246"/>
                </a:lnTo>
                <a:cubicBezTo>
                  <a:pt x="724" y="12224"/>
                  <a:pt x="738" y="12210"/>
                  <a:pt x="757" y="12213"/>
                </a:cubicBezTo>
                <a:lnTo>
                  <a:pt x="1477" y="12353"/>
                </a:lnTo>
                <a:cubicBezTo>
                  <a:pt x="1699" y="12396"/>
                  <a:pt x="1921" y="12274"/>
                  <a:pt x="2044" y="12046"/>
                </a:cubicBezTo>
                <a:cubicBezTo>
                  <a:pt x="2137" y="11874"/>
                  <a:pt x="2241" y="11716"/>
                  <a:pt x="2357" y="11566"/>
                </a:cubicBezTo>
                <a:cubicBezTo>
                  <a:pt x="2508" y="11368"/>
                  <a:pt x="2552" y="11076"/>
                  <a:pt x="2467" y="10827"/>
                </a:cubicBezTo>
                <a:lnTo>
                  <a:pt x="2181" y="10014"/>
                </a:lnTo>
                <a:cubicBezTo>
                  <a:pt x="2175" y="9991"/>
                  <a:pt x="2186" y="9960"/>
                  <a:pt x="2203" y="9947"/>
                </a:cubicBezTo>
                <a:lnTo>
                  <a:pt x="2808" y="9534"/>
                </a:lnTo>
                <a:cubicBezTo>
                  <a:pt x="2825" y="9522"/>
                  <a:pt x="2847" y="9528"/>
                  <a:pt x="2858" y="9547"/>
                </a:cubicBezTo>
                <a:lnTo>
                  <a:pt x="3292" y="10260"/>
                </a:lnTo>
                <a:cubicBezTo>
                  <a:pt x="3423" y="10480"/>
                  <a:pt x="3645" y="10587"/>
                  <a:pt x="3864" y="10533"/>
                </a:cubicBezTo>
                <a:cubicBezTo>
                  <a:pt x="4030" y="10491"/>
                  <a:pt x="4200" y="10466"/>
                  <a:pt x="4370" y="10460"/>
                </a:cubicBezTo>
                <a:cubicBezTo>
                  <a:pt x="4593" y="10449"/>
                  <a:pt x="4787" y="10277"/>
                  <a:pt x="4870" y="10027"/>
                </a:cubicBezTo>
                <a:lnTo>
                  <a:pt x="5151" y="9214"/>
                </a:lnTo>
                <a:cubicBezTo>
                  <a:pt x="5158" y="9193"/>
                  <a:pt x="5176" y="9176"/>
                  <a:pt x="5195" y="9181"/>
                </a:cubicBezTo>
                <a:close/>
                <a:moveTo>
                  <a:pt x="15264" y="10627"/>
                </a:moveTo>
                <a:cubicBezTo>
                  <a:pt x="13721" y="10627"/>
                  <a:pt x="12470" y="12142"/>
                  <a:pt x="12470" y="14012"/>
                </a:cubicBezTo>
                <a:cubicBezTo>
                  <a:pt x="12470" y="15882"/>
                  <a:pt x="13721" y="17398"/>
                  <a:pt x="15264" y="17398"/>
                </a:cubicBezTo>
                <a:cubicBezTo>
                  <a:pt x="16807" y="17398"/>
                  <a:pt x="18057" y="15882"/>
                  <a:pt x="18057" y="14012"/>
                </a:cubicBezTo>
                <a:cubicBezTo>
                  <a:pt x="18057" y="12142"/>
                  <a:pt x="16807" y="10627"/>
                  <a:pt x="15264" y="10627"/>
                </a:cubicBezTo>
                <a:close/>
                <a:moveTo>
                  <a:pt x="15264" y="11273"/>
                </a:moveTo>
                <a:cubicBezTo>
                  <a:pt x="16513" y="11273"/>
                  <a:pt x="17529" y="12499"/>
                  <a:pt x="17529" y="14012"/>
                </a:cubicBezTo>
                <a:cubicBezTo>
                  <a:pt x="17529" y="15526"/>
                  <a:pt x="16513" y="16751"/>
                  <a:pt x="15264" y="16751"/>
                </a:cubicBezTo>
                <a:cubicBezTo>
                  <a:pt x="14015" y="16751"/>
                  <a:pt x="13004" y="15526"/>
                  <a:pt x="13004" y="14012"/>
                </a:cubicBezTo>
                <a:cubicBezTo>
                  <a:pt x="13004" y="12499"/>
                  <a:pt x="14015" y="11273"/>
                  <a:pt x="15264" y="11273"/>
                </a:cubicBezTo>
                <a:close/>
                <a:moveTo>
                  <a:pt x="4546" y="11466"/>
                </a:moveTo>
                <a:cubicBezTo>
                  <a:pt x="4020" y="11439"/>
                  <a:pt x="3485" y="11654"/>
                  <a:pt x="3067" y="12120"/>
                </a:cubicBezTo>
                <a:cubicBezTo>
                  <a:pt x="3064" y="12123"/>
                  <a:pt x="3064" y="12129"/>
                  <a:pt x="3061" y="12133"/>
                </a:cubicBezTo>
                <a:cubicBezTo>
                  <a:pt x="2225" y="13069"/>
                  <a:pt x="2168" y="14651"/>
                  <a:pt x="2940" y="15665"/>
                </a:cubicBezTo>
                <a:cubicBezTo>
                  <a:pt x="3713" y="16679"/>
                  <a:pt x="5018" y="16741"/>
                  <a:pt x="5855" y="15805"/>
                </a:cubicBezTo>
                <a:cubicBezTo>
                  <a:pt x="6691" y="14869"/>
                  <a:pt x="6743" y="13287"/>
                  <a:pt x="5970" y="12273"/>
                </a:cubicBezTo>
                <a:cubicBezTo>
                  <a:pt x="5586" y="11766"/>
                  <a:pt x="5072" y="11494"/>
                  <a:pt x="4546" y="11466"/>
                </a:cubicBezTo>
                <a:close/>
                <a:moveTo>
                  <a:pt x="4513" y="12100"/>
                </a:moveTo>
                <a:cubicBezTo>
                  <a:pt x="4904" y="12113"/>
                  <a:pt x="5290" y="12307"/>
                  <a:pt x="5580" y="12679"/>
                </a:cubicBezTo>
                <a:cubicBezTo>
                  <a:pt x="6160" y="13424"/>
                  <a:pt x="6134" y="14602"/>
                  <a:pt x="5519" y="15305"/>
                </a:cubicBezTo>
                <a:cubicBezTo>
                  <a:pt x="5512" y="15314"/>
                  <a:pt x="5505" y="15323"/>
                  <a:pt x="5497" y="15332"/>
                </a:cubicBezTo>
                <a:cubicBezTo>
                  <a:pt x="4883" y="16034"/>
                  <a:pt x="3916" y="15996"/>
                  <a:pt x="3336" y="15252"/>
                </a:cubicBezTo>
                <a:cubicBezTo>
                  <a:pt x="2756" y="14507"/>
                  <a:pt x="2782" y="13335"/>
                  <a:pt x="3397" y="12633"/>
                </a:cubicBezTo>
                <a:cubicBezTo>
                  <a:pt x="3404" y="12624"/>
                  <a:pt x="3411" y="12615"/>
                  <a:pt x="3419" y="12606"/>
                </a:cubicBezTo>
                <a:cubicBezTo>
                  <a:pt x="3726" y="12255"/>
                  <a:pt x="4122" y="12086"/>
                  <a:pt x="4513" y="12100"/>
                </a:cubicBezTo>
                <a:close/>
              </a:path>
            </a:pathLst>
          </a:custGeom>
          <a:solidFill>
            <a:srgbClr val="FFFFFF"/>
          </a:solidFill>
          <a:ln w="3175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35" name="Google Shape;1194;p40">
            <a:extLst>
              <a:ext uri="{FF2B5EF4-FFF2-40B4-BE49-F238E27FC236}">
                <a16:creationId xmlns:a16="http://schemas.microsoft.com/office/drawing/2014/main" id="{FFEEBE52-2CAD-9D12-2BB3-B8066065B688}"/>
              </a:ext>
            </a:extLst>
          </p:cNvPr>
          <p:cNvSpPr>
            <a:spLocks noChangeAspect="1"/>
          </p:cNvSpPr>
          <p:nvPr/>
        </p:nvSpPr>
        <p:spPr>
          <a:xfrm>
            <a:off x="2223897" y="2651132"/>
            <a:ext cx="399263" cy="3309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81" h="21576" extrusionOk="0">
                <a:moveTo>
                  <a:pt x="7840" y="37"/>
                </a:moveTo>
                <a:cubicBezTo>
                  <a:pt x="7725" y="-14"/>
                  <a:pt x="7599" y="-12"/>
                  <a:pt x="7477" y="44"/>
                </a:cubicBezTo>
                <a:lnTo>
                  <a:pt x="6944" y="297"/>
                </a:lnTo>
                <a:cubicBezTo>
                  <a:pt x="6700" y="413"/>
                  <a:pt x="6565" y="730"/>
                  <a:pt x="6630" y="1037"/>
                </a:cubicBezTo>
                <a:lnTo>
                  <a:pt x="6779" y="1737"/>
                </a:lnTo>
                <a:cubicBezTo>
                  <a:pt x="6654" y="1858"/>
                  <a:pt x="6537" y="1991"/>
                  <a:pt x="6432" y="2137"/>
                </a:cubicBezTo>
                <a:lnTo>
                  <a:pt x="5871" y="1923"/>
                </a:lnTo>
                <a:cubicBezTo>
                  <a:pt x="5620" y="1829"/>
                  <a:pt x="5349" y="1978"/>
                  <a:pt x="5244" y="2270"/>
                </a:cubicBezTo>
                <a:lnTo>
                  <a:pt x="5013" y="2916"/>
                </a:lnTo>
                <a:cubicBezTo>
                  <a:pt x="4909" y="3207"/>
                  <a:pt x="4998" y="3547"/>
                  <a:pt x="5222" y="3709"/>
                </a:cubicBezTo>
                <a:lnTo>
                  <a:pt x="5734" y="4076"/>
                </a:lnTo>
                <a:cubicBezTo>
                  <a:pt x="5716" y="4270"/>
                  <a:pt x="5712" y="4468"/>
                  <a:pt x="5723" y="4662"/>
                </a:cubicBezTo>
                <a:lnTo>
                  <a:pt x="5200" y="4996"/>
                </a:lnTo>
                <a:cubicBezTo>
                  <a:pt x="4973" y="5144"/>
                  <a:pt x="4866" y="5474"/>
                  <a:pt x="4953" y="5769"/>
                </a:cubicBezTo>
                <a:lnTo>
                  <a:pt x="5162" y="6422"/>
                </a:lnTo>
                <a:cubicBezTo>
                  <a:pt x="5256" y="6718"/>
                  <a:pt x="5519" y="6881"/>
                  <a:pt x="5772" y="6802"/>
                </a:cubicBezTo>
                <a:lnTo>
                  <a:pt x="6344" y="6622"/>
                </a:lnTo>
                <a:cubicBezTo>
                  <a:pt x="6444" y="6773"/>
                  <a:pt x="6554" y="6913"/>
                  <a:pt x="6674" y="7041"/>
                </a:cubicBezTo>
                <a:lnTo>
                  <a:pt x="6504" y="7735"/>
                </a:lnTo>
                <a:cubicBezTo>
                  <a:pt x="6427" y="8038"/>
                  <a:pt x="6545" y="8359"/>
                  <a:pt x="6784" y="8488"/>
                </a:cubicBezTo>
                <a:lnTo>
                  <a:pt x="7318" y="8774"/>
                </a:lnTo>
                <a:cubicBezTo>
                  <a:pt x="7558" y="8903"/>
                  <a:pt x="7839" y="8796"/>
                  <a:pt x="7972" y="8521"/>
                </a:cubicBezTo>
                <a:lnTo>
                  <a:pt x="8274" y="7894"/>
                </a:lnTo>
                <a:cubicBezTo>
                  <a:pt x="8432" y="7915"/>
                  <a:pt x="8589" y="7926"/>
                  <a:pt x="8747" y="7914"/>
                </a:cubicBezTo>
                <a:lnTo>
                  <a:pt x="9028" y="8554"/>
                </a:lnTo>
                <a:cubicBezTo>
                  <a:pt x="9117" y="8759"/>
                  <a:pt x="9293" y="8888"/>
                  <a:pt x="9484" y="8887"/>
                </a:cubicBezTo>
                <a:cubicBezTo>
                  <a:pt x="9547" y="8888"/>
                  <a:pt x="9607" y="8875"/>
                  <a:pt x="9666" y="8847"/>
                </a:cubicBezTo>
                <a:lnTo>
                  <a:pt x="10210" y="8594"/>
                </a:lnTo>
                <a:cubicBezTo>
                  <a:pt x="10453" y="8477"/>
                  <a:pt x="10587" y="8162"/>
                  <a:pt x="10523" y="7854"/>
                </a:cubicBezTo>
                <a:lnTo>
                  <a:pt x="10375" y="7155"/>
                </a:lnTo>
                <a:cubicBezTo>
                  <a:pt x="10500" y="7031"/>
                  <a:pt x="10614" y="6895"/>
                  <a:pt x="10721" y="6748"/>
                </a:cubicBezTo>
                <a:lnTo>
                  <a:pt x="11288" y="6961"/>
                </a:lnTo>
                <a:cubicBezTo>
                  <a:pt x="11539" y="7056"/>
                  <a:pt x="11804" y="6907"/>
                  <a:pt x="11909" y="6615"/>
                </a:cubicBezTo>
                <a:lnTo>
                  <a:pt x="12146" y="5969"/>
                </a:lnTo>
                <a:cubicBezTo>
                  <a:pt x="12250" y="5678"/>
                  <a:pt x="12156" y="5338"/>
                  <a:pt x="11931" y="5175"/>
                </a:cubicBezTo>
                <a:lnTo>
                  <a:pt x="11425" y="4809"/>
                </a:lnTo>
                <a:cubicBezTo>
                  <a:pt x="11442" y="4615"/>
                  <a:pt x="11446" y="4424"/>
                  <a:pt x="11436" y="4229"/>
                </a:cubicBezTo>
                <a:lnTo>
                  <a:pt x="11959" y="3889"/>
                </a:lnTo>
                <a:cubicBezTo>
                  <a:pt x="12187" y="3739"/>
                  <a:pt x="12287" y="3404"/>
                  <a:pt x="12195" y="3110"/>
                </a:cubicBezTo>
                <a:lnTo>
                  <a:pt x="11986" y="2457"/>
                </a:lnTo>
                <a:cubicBezTo>
                  <a:pt x="11892" y="2160"/>
                  <a:pt x="11630" y="1997"/>
                  <a:pt x="11376" y="2077"/>
                </a:cubicBezTo>
                <a:lnTo>
                  <a:pt x="10804" y="2257"/>
                </a:lnTo>
                <a:cubicBezTo>
                  <a:pt x="10704" y="2105"/>
                  <a:pt x="10594" y="1965"/>
                  <a:pt x="10474" y="1837"/>
                </a:cubicBezTo>
                <a:lnTo>
                  <a:pt x="10650" y="1144"/>
                </a:lnTo>
                <a:cubicBezTo>
                  <a:pt x="10726" y="840"/>
                  <a:pt x="10604" y="519"/>
                  <a:pt x="10364" y="391"/>
                </a:cubicBezTo>
                <a:lnTo>
                  <a:pt x="9831" y="104"/>
                </a:lnTo>
                <a:cubicBezTo>
                  <a:pt x="9590" y="-24"/>
                  <a:pt x="9309" y="83"/>
                  <a:pt x="9176" y="357"/>
                </a:cubicBezTo>
                <a:lnTo>
                  <a:pt x="8874" y="984"/>
                </a:lnTo>
                <a:cubicBezTo>
                  <a:pt x="8716" y="963"/>
                  <a:pt x="8560" y="952"/>
                  <a:pt x="8401" y="964"/>
                </a:cubicBezTo>
                <a:lnTo>
                  <a:pt x="8120" y="331"/>
                </a:lnTo>
                <a:cubicBezTo>
                  <a:pt x="8059" y="191"/>
                  <a:pt x="7954" y="89"/>
                  <a:pt x="7840" y="37"/>
                </a:cubicBezTo>
                <a:close/>
                <a:moveTo>
                  <a:pt x="7647" y="644"/>
                </a:moveTo>
                <a:lnTo>
                  <a:pt x="7928" y="1270"/>
                </a:lnTo>
                <a:cubicBezTo>
                  <a:pt x="8022" y="1488"/>
                  <a:pt x="8215" y="1619"/>
                  <a:pt x="8417" y="1603"/>
                </a:cubicBezTo>
                <a:cubicBezTo>
                  <a:pt x="8554" y="1593"/>
                  <a:pt x="8688" y="1599"/>
                  <a:pt x="8824" y="1617"/>
                </a:cubicBezTo>
                <a:cubicBezTo>
                  <a:pt x="9025" y="1643"/>
                  <a:pt x="9223" y="1522"/>
                  <a:pt x="9325" y="1310"/>
                </a:cubicBezTo>
                <a:lnTo>
                  <a:pt x="9622" y="691"/>
                </a:lnTo>
                <a:lnTo>
                  <a:pt x="10122" y="964"/>
                </a:lnTo>
                <a:lnTo>
                  <a:pt x="9952" y="1643"/>
                </a:lnTo>
                <a:cubicBezTo>
                  <a:pt x="9891" y="1879"/>
                  <a:pt x="9948" y="2140"/>
                  <a:pt x="10100" y="2303"/>
                </a:cubicBezTo>
                <a:cubicBezTo>
                  <a:pt x="10203" y="2414"/>
                  <a:pt x="10300" y="2533"/>
                  <a:pt x="10386" y="2663"/>
                </a:cubicBezTo>
                <a:cubicBezTo>
                  <a:pt x="10513" y="2856"/>
                  <a:pt x="10723" y="2940"/>
                  <a:pt x="10919" y="2876"/>
                </a:cubicBezTo>
                <a:lnTo>
                  <a:pt x="11486" y="2696"/>
                </a:lnTo>
                <a:lnTo>
                  <a:pt x="11684" y="3323"/>
                </a:lnTo>
                <a:lnTo>
                  <a:pt x="11167" y="3656"/>
                </a:lnTo>
                <a:cubicBezTo>
                  <a:pt x="10988" y="3771"/>
                  <a:pt x="10880" y="3997"/>
                  <a:pt x="10892" y="4243"/>
                </a:cubicBezTo>
                <a:cubicBezTo>
                  <a:pt x="10901" y="4410"/>
                  <a:pt x="10897" y="4583"/>
                  <a:pt x="10881" y="4749"/>
                </a:cubicBezTo>
                <a:cubicBezTo>
                  <a:pt x="10860" y="4992"/>
                  <a:pt x="10960" y="5224"/>
                  <a:pt x="11134" y="5349"/>
                </a:cubicBezTo>
                <a:lnTo>
                  <a:pt x="11640" y="5715"/>
                </a:lnTo>
                <a:lnTo>
                  <a:pt x="11420" y="6328"/>
                </a:lnTo>
                <a:lnTo>
                  <a:pt x="10864" y="6122"/>
                </a:lnTo>
                <a:cubicBezTo>
                  <a:pt x="10669" y="6049"/>
                  <a:pt x="10454" y="6121"/>
                  <a:pt x="10320" y="6308"/>
                </a:cubicBezTo>
                <a:cubicBezTo>
                  <a:pt x="10230" y="6434"/>
                  <a:pt x="10131" y="6551"/>
                  <a:pt x="10023" y="6655"/>
                </a:cubicBezTo>
                <a:cubicBezTo>
                  <a:pt x="9865" y="6810"/>
                  <a:pt x="9796" y="7064"/>
                  <a:pt x="9847" y="7301"/>
                </a:cubicBezTo>
                <a:lnTo>
                  <a:pt x="9996" y="7994"/>
                </a:lnTo>
                <a:lnTo>
                  <a:pt x="9484" y="8234"/>
                </a:lnTo>
                <a:lnTo>
                  <a:pt x="9209" y="7601"/>
                </a:lnTo>
                <a:cubicBezTo>
                  <a:pt x="9120" y="7395"/>
                  <a:pt x="8945" y="7268"/>
                  <a:pt x="8753" y="7268"/>
                </a:cubicBezTo>
                <a:lnTo>
                  <a:pt x="8720" y="7268"/>
                </a:lnTo>
                <a:cubicBezTo>
                  <a:pt x="8583" y="7278"/>
                  <a:pt x="8449" y="7272"/>
                  <a:pt x="8313" y="7255"/>
                </a:cubicBezTo>
                <a:cubicBezTo>
                  <a:pt x="8112" y="7228"/>
                  <a:pt x="7914" y="7349"/>
                  <a:pt x="7812" y="7561"/>
                </a:cubicBezTo>
                <a:lnTo>
                  <a:pt x="7515" y="8181"/>
                </a:lnTo>
                <a:lnTo>
                  <a:pt x="7010" y="7908"/>
                </a:lnTo>
                <a:lnTo>
                  <a:pt x="7186" y="7221"/>
                </a:lnTo>
                <a:cubicBezTo>
                  <a:pt x="7245" y="6986"/>
                  <a:pt x="7189" y="6732"/>
                  <a:pt x="7037" y="6568"/>
                </a:cubicBezTo>
                <a:cubicBezTo>
                  <a:pt x="6934" y="6458"/>
                  <a:pt x="6836" y="6339"/>
                  <a:pt x="6751" y="6208"/>
                </a:cubicBezTo>
                <a:cubicBezTo>
                  <a:pt x="6624" y="6016"/>
                  <a:pt x="6414" y="5932"/>
                  <a:pt x="6218" y="5995"/>
                </a:cubicBezTo>
                <a:lnTo>
                  <a:pt x="5651" y="6175"/>
                </a:lnTo>
                <a:lnTo>
                  <a:pt x="5453" y="5549"/>
                </a:lnTo>
                <a:cubicBezTo>
                  <a:pt x="5453" y="5549"/>
                  <a:pt x="5976" y="5215"/>
                  <a:pt x="5976" y="5215"/>
                </a:cubicBezTo>
                <a:cubicBezTo>
                  <a:pt x="6155" y="5100"/>
                  <a:pt x="6262" y="4868"/>
                  <a:pt x="6251" y="4622"/>
                </a:cubicBezTo>
                <a:cubicBezTo>
                  <a:pt x="6241" y="4455"/>
                  <a:pt x="6242" y="4289"/>
                  <a:pt x="6256" y="4123"/>
                </a:cubicBezTo>
                <a:cubicBezTo>
                  <a:pt x="6277" y="3880"/>
                  <a:pt x="6182" y="3647"/>
                  <a:pt x="6009" y="3523"/>
                </a:cubicBezTo>
                <a:lnTo>
                  <a:pt x="5497" y="3156"/>
                </a:lnTo>
                <a:lnTo>
                  <a:pt x="5723" y="2543"/>
                </a:lnTo>
                <a:lnTo>
                  <a:pt x="6284" y="2750"/>
                </a:lnTo>
                <a:cubicBezTo>
                  <a:pt x="6475" y="2820"/>
                  <a:pt x="6679" y="2752"/>
                  <a:pt x="6812" y="2570"/>
                </a:cubicBezTo>
                <a:cubicBezTo>
                  <a:pt x="6902" y="2444"/>
                  <a:pt x="7006" y="2327"/>
                  <a:pt x="7114" y="2223"/>
                </a:cubicBezTo>
                <a:cubicBezTo>
                  <a:pt x="7271" y="2068"/>
                  <a:pt x="7336" y="1814"/>
                  <a:pt x="7285" y="1577"/>
                </a:cubicBezTo>
                <a:lnTo>
                  <a:pt x="7136" y="884"/>
                </a:lnTo>
                <a:lnTo>
                  <a:pt x="7647" y="644"/>
                </a:lnTo>
                <a:close/>
                <a:moveTo>
                  <a:pt x="8571" y="2350"/>
                </a:moveTo>
                <a:cubicBezTo>
                  <a:pt x="7616" y="2354"/>
                  <a:pt x="6847" y="3292"/>
                  <a:pt x="6850" y="4449"/>
                </a:cubicBezTo>
                <a:cubicBezTo>
                  <a:pt x="6853" y="5459"/>
                  <a:pt x="7449" y="6328"/>
                  <a:pt x="8269" y="6508"/>
                </a:cubicBezTo>
                <a:cubicBezTo>
                  <a:pt x="8373" y="6531"/>
                  <a:pt x="8477" y="6542"/>
                  <a:pt x="8582" y="6542"/>
                </a:cubicBezTo>
                <a:cubicBezTo>
                  <a:pt x="9537" y="6538"/>
                  <a:pt x="10312" y="5593"/>
                  <a:pt x="10309" y="4436"/>
                </a:cubicBezTo>
                <a:cubicBezTo>
                  <a:pt x="10306" y="3278"/>
                  <a:pt x="9526" y="2346"/>
                  <a:pt x="8571" y="2350"/>
                </a:cubicBezTo>
                <a:close/>
                <a:moveTo>
                  <a:pt x="8577" y="2996"/>
                </a:moveTo>
                <a:cubicBezTo>
                  <a:pt x="8650" y="2996"/>
                  <a:pt x="8725" y="3000"/>
                  <a:pt x="8797" y="3016"/>
                </a:cubicBezTo>
                <a:cubicBezTo>
                  <a:pt x="9447" y="3160"/>
                  <a:pt x="9878" y="3914"/>
                  <a:pt x="9759" y="4702"/>
                </a:cubicBezTo>
                <a:cubicBezTo>
                  <a:pt x="9640" y="5491"/>
                  <a:pt x="9013" y="6019"/>
                  <a:pt x="8362" y="5875"/>
                </a:cubicBezTo>
                <a:cubicBezTo>
                  <a:pt x="7712" y="5731"/>
                  <a:pt x="7281" y="4971"/>
                  <a:pt x="7400" y="4183"/>
                </a:cubicBezTo>
                <a:cubicBezTo>
                  <a:pt x="7504" y="3495"/>
                  <a:pt x="8000" y="2998"/>
                  <a:pt x="8577" y="2996"/>
                </a:cubicBezTo>
                <a:close/>
                <a:moveTo>
                  <a:pt x="15984" y="6455"/>
                </a:moveTo>
                <a:cubicBezTo>
                  <a:pt x="15735" y="6496"/>
                  <a:pt x="15520" y="6701"/>
                  <a:pt x="15429" y="7001"/>
                </a:cubicBezTo>
                <a:lnTo>
                  <a:pt x="15071" y="8181"/>
                </a:lnTo>
                <a:cubicBezTo>
                  <a:pt x="15052" y="8252"/>
                  <a:pt x="15000" y="8301"/>
                  <a:pt x="14939" y="8308"/>
                </a:cubicBezTo>
                <a:cubicBezTo>
                  <a:pt x="14664" y="8333"/>
                  <a:pt x="14393" y="8385"/>
                  <a:pt x="14125" y="8468"/>
                </a:cubicBezTo>
                <a:cubicBezTo>
                  <a:pt x="14064" y="8486"/>
                  <a:pt x="13998" y="8455"/>
                  <a:pt x="13960" y="8394"/>
                </a:cubicBezTo>
                <a:lnTo>
                  <a:pt x="13317" y="7421"/>
                </a:lnTo>
                <a:cubicBezTo>
                  <a:pt x="13099" y="7088"/>
                  <a:pt x="12709" y="6999"/>
                  <a:pt x="12410" y="7221"/>
                </a:cubicBezTo>
                <a:lnTo>
                  <a:pt x="11568" y="7848"/>
                </a:lnTo>
                <a:cubicBezTo>
                  <a:pt x="11269" y="8073"/>
                  <a:pt x="11157" y="8539"/>
                  <a:pt x="11304" y="8927"/>
                </a:cubicBezTo>
                <a:lnTo>
                  <a:pt x="11733" y="10054"/>
                </a:lnTo>
                <a:cubicBezTo>
                  <a:pt x="11760" y="10122"/>
                  <a:pt x="11751" y="10202"/>
                  <a:pt x="11711" y="10260"/>
                </a:cubicBezTo>
                <a:cubicBezTo>
                  <a:pt x="11529" y="10514"/>
                  <a:pt x="11369" y="10791"/>
                  <a:pt x="11227" y="11080"/>
                </a:cubicBezTo>
                <a:cubicBezTo>
                  <a:pt x="11195" y="11144"/>
                  <a:pt x="11135" y="11176"/>
                  <a:pt x="11073" y="11167"/>
                </a:cubicBezTo>
                <a:lnTo>
                  <a:pt x="10051" y="11020"/>
                </a:lnTo>
                <a:cubicBezTo>
                  <a:pt x="9700" y="10970"/>
                  <a:pt x="9377" y="11249"/>
                  <a:pt x="9297" y="11666"/>
                </a:cubicBezTo>
                <a:lnTo>
                  <a:pt x="9066" y="12833"/>
                </a:lnTo>
                <a:cubicBezTo>
                  <a:pt x="8985" y="13248"/>
                  <a:pt x="9170" y="13670"/>
                  <a:pt x="9501" y="13819"/>
                </a:cubicBezTo>
                <a:lnTo>
                  <a:pt x="10468" y="14252"/>
                </a:lnTo>
                <a:cubicBezTo>
                  <a:pt x="10526" y="14278"/>
                  <a:pt x="10566" y="14339"/>
                  <a:pt x="10573" y="14412"/>
                </a:cubicBezTo>
                <a:cubicBezTo>
                  <a:pt x="10592" y="14747"/>
                  <a:pt x="10636" y="15079"/>
                  <a:pt x="10705" y="15405"/>
                </a:cubicBezTo>
                <a:cubicBezTo>
                  <a:pt x="10718" y="15483"/>
                  <a:pt x="10694" y="15567"/>
                  <a:pt x="10639" y="15612"/>
                </a:cubicBezTo>
                <a:lnTo>
                  <a:pt x="9842" y="16385"/>
                </a:lnTo>
                <a:cubicBezTo>
                  <a:pt x="9570" y="16652"/>
                  <a:pt x="9503" y="17120"/>
                  <a:pt x="9682" y="17484"/>
                </a:cubicBezTo>
                <a:lnTo>
                  <a:pt x="10194" y="18504"/>
                </a:lnTo>
                <a:cubicBezTo>
                  <a:pt x="10378" y="18869"/>
                  <a:pt x="10759" y="19011"/>
                  <a:pt x="11079" y="18830"/>
                </a:cubicBezTo>
                <a:lnTo>
                  <a:pt x="12014" y="18304"/>
                </a:lnTo>
                <a:cubicBezTo>
                  <a:pt x="12069" y="18272"/>
                  <a:pt x="12132" y="18283"/>
                  <a:pt x="12179" y="18331"/>
                </a:cubicBezTo>
                <a:cubicBezTo>
                  <a:pt x="12386" y="18551"/>
                  <a:pt x="12608" y="18745"/>
                  <a:pt x="12844" y="18917"/>
                </a:cubicBezTo>
                <a:cubicBezTo>
                  <a:pt x="12898" y="18957"/>
                  <a:pt x="12929" y="19034"/>
                  <a:pt x="12921" y="19110"/>
                </a:cubicBezTo>
                <a:lnTo>
                  <a:pt x="12800" y="20356"/>
                </a:lnTo>
                <a:cubicBezTo>
                  <a:pt x="12760" y="20782"/>
                  <a:pt x="12990" y="21178"/>
                  <a:pt x="13333" y="21276"/>
                </a:cubicBezTo>
                <a:lnTo>
                  <a:pt x="14290" y="21556"/>
                </a:lnTo>
                <a:cubicBezTo>
                  <a:pt x="14343" y="21571"/>
                  <a:pt x="14396" y="21576"/>
                  <a:pt x="14450" y="21576"/>
                </a:cubicBezTo>
                <a:cubicBezTo>
                  <a:pt x="14742" y="21575"/>
                  <a:pt x="15004" y="21355"/>
                  <a:pt x="15104" y="21023"/>
                </a:cubicBezTo>
                <a:lnTo>
                  <a:pt x="15456" y="19843"/>
                </a:lnTo>
                <a:cubicBezTo>
                  <a:pt x="15477" y="19773"/>
                  <a:pt x="15533" y="19725"/>
                  <a:pt x="15594" y="19717"/>
                </a:cubicBezTo>
                <a:cubicBezTo>
                  <a:pt x="15869" y="19693"/>
                  <a:pt x="16140" y="19640"/>
                  <a:pt x="16407" y="19557"/>
                </a:cubicBezTo>
                <a:cubicBezTo>
                  <a:pt x="16468" y="19539"/>
                  <a:pt x="16530" y="19563"/>
                  <a:pt x="16567" y="19623"/>
                </a:cubicBezTo>
                <a:lnTo>
                  <a:pt x="17205" y="20610"/>
                </a:lnTo>
                <a:cubicBezTo>
                  <a:pt x="17422" y="20943"/>
                  <a:pt x="17813" y="21024"/>
                  <a:pt x="18112" y="20803"/>
                </a:cubicBezTo>
                <a:lnTo>
                  <a:pt x="18959" y="20183"/>
                </a:lnTo>
                <a:cubicBezTo>
                  <a:pt x="19257" y="19958"/>
                  <a:pt x="19369" y="19498"/>
                  <a:pt x="19223" y="19110"/>
                </a:cubicBezTo>
                <a:lnTo>
                  <a:pt x="18794" y="17971"/>
                </a:lnTo>
                <a:cubicBezTo>
                  <a:pt x="18768" y="17902"/>
                  <a:pt x="18776" y="17822"/>
                  <a:pt x="18816" y="17764"/>
                </a:cubicBezTo>
                <a:cubicBezTo>
                  <a:pt x="18996" y="17513"/>
                  <a:pt x="19159" y="17243"/>
                  <a:pt x="19300" y="16958"/>
                </a:cubicBezTo>
                <a:cubicBezTo>
                  <a:pt x="19333" y="16891"/>
                  <a:pt x="19390" y="16853"/>
                  <a:pt x="19454" y="16858"/>
                </a:cubicBezTo>
                <a:lnTo>
                  <a:pt x="20477" y="17004"/>
                </a:lnTo>
                <a:cubicBezTo>
                  <a:pt x="20828" y="17054"/>
                  <a:pt x="21156" y="16775"/>
                  <a:pt x="21236" y="16358"/>
                </a:cubicBezTo>
                <a:lnTo>
                  <a:pt x="21461" y="15192"/>
                </a:lnTo>
                <a:cubicBezTo>
                  <a:pt x="21543" y="14775"/>
                  <a:pt x="21358" y="14348"/>
                  <a:pt x="21027" y="14199"/>
                </a:cubicBezTo>
                <a:lnTo>
                  <a:pt x="20059" y="13766"/>
                </a:lnTo>
                <a:cubicBezTo>
                  <a:pt x="20002" y="13740"/>
                  <a:pt x="19961" y="13679"/>
                  <a:pt x="19954" y="13606"/>
                </a:cubicBezTo>
                <a:cubicBezTo>
                  <a:pt x="19934" y="13271"/>
                  <a:pt x="19891" y="12938"/>
                  <a:pt x="19822" y="12613"/>
                </a:cubicBezTo>
                <a:cubicBezTo>
                  <a:pt x="19808" y="12538"/>
                  <a:pt x="19828" y="12460"/>
                  <a:pt x="19877" y="12413"/>
                </a:cubicBezTo>
                <a:lnTo>
                  <a:pt x="20686" y="11640"/>
                </a:lnTo>
                <a:cubicBezTo>
                  <a:pt x="20958" y="11373"/>
                  <a:pt x="21026" y="10904"/>
                  <a:pt x="20845" y="10540"/>
                </a:cubicBezTo>
                <a:lnTo>
                  <a:pt x="20334" y="9514"/>
                </a:lnTo>
                <a:cubicBezTo>
                  <a:pt x="20149" y="9150"/>
                  <a:pt x="19768" y="9014"/>
                  <a:pt x="19448" y="9194"/>
                </a:cubicBezTo>
                <a:lnTo>
                  <a:pt x="18519" y="9720"/>
                </a:lnTo>
                <a:cubicBezTo>
                  <a:pt x="18464" y="9752"/>
                  <a:pt x="18395" y="9742"/>
                  <a:pt x="18349" y="9694"/>
                </a:cubicBezTo>
                <a:cubicBezTo>
                  <a:pt x="18141" y="9475"/>
                  <a:pt x="17919" y="9280"/>
                  <a:pt x="17683" y="9107"/>
                </a:cubicBezTo>
                <a:cubicBezTo>
                  <a:pt x="17628" y="9067"/>
                  <a:pt x="17603" y="8991"/>
                  <a:pt x="17612" y="8914"/>
                </a:cubicBezTo>
                <a:lnTo>
                  <a:pt x="17727" y="7668"/>
                </a:lnTo>
                <a:cubicBezTo>
                  <a:pt x="17768" y="7243"/>
                  <a:pt x="17543" y="6845"/>
                  <a:pt x="17199" y="6748"/>
                </a:cubicBezTo>
                <a:lnTo>
                  <a:pt x="16243" y="6468"/>
                </a:lnTo>
                <a:cubicBezTo>
                  <a:pt x="16157" y="6444"/>
                  <a:pt x="16067" y="6441"/>
                  <a:pt x="15984" y="6455"/>
                </a:cubicBezTo>
                <a:close/>
                <a:moveTo>
                  <a:pt x="16116" y="7088"/>
                </a:moveTo>
                <a:lnTo>
                  <a:pt x="17073" y="7368"/>
                </a:lnTo>
                <a:cubicBezTo>
                  <a:pt x="17153" y="7392"/>
                  <a:pt x="17209" y="7488"/>
                  <a:pt x="17199" y="7588"/>
                </a:cubicBezTo>
                <a:lnTo>
                  <a:pt x="17078" y="8827"/>
                </a:lnTo>
                <a:cubicBezTo>
                  <a:pt x="17046" y="9155"/>
                  <a:pt x="17176" y="9475"/>
                  <a:pt x="17408" y="9647"/>
                </a:cubicBezTo>
                <a:cubicBezTo>
                  <a:pt x="17619" y="9800"/>
                  <a:pt x="17817" y="9978"/>
                  <a:pt x="18002" y="10174"/>
                </a:cubicBezTo>
                <a:cubicBezTo>
                  <a:pt x="18207" y="10389"/>
                  <a:pt x="18499" y="10434"/>
                  <a:pt x="18745" y="10294"/>
                </a:cubicBezTo>
                <a:lnTo>
                  <a:pt x="19674" y="9774"/>
                </a:lnTo>
                <a:cubicBezTo>
                  <a:pt x="19749" y="9732"/>
                  <a:pt x="19840" y="9762"/>
                  <a:pt x="19883" y="9847"/>
                </a:cubicBezTo>
                <a:lnTo>
                  <a:pt x="20394" y="10867"/>
                </a:lnTo>
                <a:cubicBezTo>
                  <a:pt x="20437" y="10953"/>
                  <a:pt x="20419" y="11062"/>
                  <a:pt x="20356" y="11127"/>
                </a:cubicBezTo>
                <a:lnTo>
                  <a:pt x="19553" y="11900"/>
                </a:lnTo>
                <a:cubicBezTo>
                  <a:pt x="19339" y="12103"/>
                  <a:pt x="19241" y="12446"/>
                  <a:pt x="19305" y="12766"/>
                </a:cubicBezTo>
                <a:cubicBezTo>
                  <a:pt x="19365" y="13056"/>
                  <a:pt x="19404" y="13348"/>
                  <a:pt x="19421" y="13646"/>
                </a:cubicBezTo>
                <a:cubicBezTo>
                  <a:pt x="19441" y="13974"/>
                  <a:pt x="19622" y="14259"/>
                  <a:pt x="19877" y="14372"/>
                </a:cubicBezTo>
                <a:lnTo>
                  <a:pt x="20840" y="14805"/>
                </a:lnTo>
                <a:cubicBezTo>
                  <a:pt x="20919" y="14839"/>
                  <a:pt x="20964" y="14939"/>
                  <a:pt x="20944" y="15038"/>
                </a:cubicBezTo>
                <a:lnTo>
                  <a:pt x="20719" y="16205"/>
                </a:lnTo>
                <a:cubicBezTo>
                  <a:pt x="20700" y="16302"/>
                  <a:pt x="20619" y="16370"/>
                  <a:pt x="20537" y="16358"/>
                </a:cubicBezTo>
                <a:lnTo>
                  <a:pt x="19520" y="16211"/>
                </a:lnTo>
                <a:cubicBezTo>
                  <a:pt x="19247" y="16175"/>
                  <a:pt x="18978" y="16338"/>
                  <a:pt x="18838" y="16625"/>
                </a:cubicBezTo>
                <a:cubicBezTo>
                  <a:pt x="18713" y="16881"/>
                  <a:pt x="18570" y="17119"/>
                  <a:pt x="18409" y="17344"/>
                </a:cubicBezTo>
                <a:cubicBezTo>
                  <a:pt x="18233" y="17594"/>
                  <a:pt x="18196" y="17946"/>
                  <a:pt x="18310" y="18244"/>
                </a:cubicBezTo>
                <a:lnTo>
                  <a:pt x="18739" y="19383"/>
                </a:lnTo>
                <a:cubicBezTo>
                  <a:pt x="18774" y="19475"/>
                  <a:pt x="18748" y="19582"/>
                  <a:pt x="18679" y="19637"/>
                </a:cubicBezTo>
                <a:lnTo>
                  <a:pt x="17832" y="20256"/>
                </a:lnTo>
                <a:cubicBezTo>
                  <a:pt x="17762" y="20307"/>
                  <a:pt x="17674" y="20293"/>
                  <a:pt x="17623" y="20217"/>
                </a:cubicBezTo>
                <a:lnTo>
                  <a:pt x="16985" y="19230"/>
                </a:lnTo>
                <a:cubicBezTo>
                  <a:pt x="16817" y="18970"/>
                  <a:pt x="16540" y="18852"/>
                  <a:pt x="16276" y="18930"/>
                </a:cubicBezTo>
                <a:cubicBezTo>
                  <a:pt x="16038" y="19004"/>
                  <a:pt x="15794" y="19050"/>
                  <a:pt x="15550" y="19070"/>
                </a:cubicBezTo>
                <a:cubicBezTo>
                  <a:pt x="15278" y="19096"/>
                  <a:pt x="15048" y="19313"/>
                  <a:pt x="14956" y="19623"/>
                </a:cubicBezTo>
                <a:lnTo>
                  <a:pt x="14598" y="20803"/>
                </a:lnTo>
                <a:cubicBezTo>
                  <a:pt x="14570" y="20897"/>
                  <a:pt x="14492" y="20944"/>
                  <a:pt x="14411" y="20923"/>
                </a:cubicBezTo>
                <a:lnTo>
                  <a:pt x="13454" y="20650"/>
                </a:lnTo>
                <a:cubicBezTo>
                  <a:pt x="13374" y="20625"/>
                  <a:pt x="13318" y="20530"/>
                  <a:pt x="13328" y="20430"/>
                </a:cubicBezTo>
                <a:lnTo>
                  <a:pt x="13449" y="19190"/>
                </a:lnTo>
                <a:cubicBezTo>
                  <a:pt x="13482" y="18862"/>
                  <a:pt x="13352" y="18542"/>
                  <a:pt x="13119" y="18371"/>
                </a:cubicBezTo>
                <a:cubicBezTo>
                  <a:pt x="12909" y="18216"/>
                  <a:pt x="12710" y="18040"/>
                  <a:pt x="12525" y="17844"/>
                </a:cubicBezTo>
                <a:cubicBezTo>
                  <a:pt x="12400" y="17713"/>
                  <a:pt x="12240" y="17637"/>
                  <a:pt x="12074" y="17637"/>
                </a:cubicBezTo>
                <a:cubicBezTo>
                  <a:pt x="11974" y="17638"/>
                  <a:pt x="11874" y="17666"/>
                  <a:pt x="11783" y="17717"/>
                </a:cubicBezTo>
                <a:lnTo>
                  <a:pt x="10853" y="18244"/>
                </a:lnTo>
                <a:cubicBezTo>
                  <a:pt x="10779" y="18285"/>
                  <a:pt x="10688" y="18255"/>
                  <a:pt x="10644" y="18171"/>
                </a:cubicBezTo>
                <a:lnTo>
                  <a:pt x="10133" y="17151"/>
                </a:lnTo>
                <a:cubicBezTo>
                  <a:pt x="10090" y="17065"/>
                  <a:pt x="10107" y="16955"/>
                  <a:pt x="10172" y="16891"/>
                </a:cubicBezTo>
                <a:lnTo>
                  <a:pt x="10974" y="16111"/>
                </a:lnTo>
                <a:cubicBezTo>
                  <a:pt x="11188" y="15907"/>
                  <a:pt x="11286" y="15572"/>
                  <a:pt x="11222" y="15252"/>
                </a:cubicBezTo>
                <a:cubicBezTo>
                  <a:pt x="11162" y="14961"/>
                  <a:pt x="11119" y="14664"/>
                  <a:pt x="11101" y="14365"/>
                </a:cubicBezTo>
                <a:cubicBezTo>
                  <a:pt x="11081" y="14038"/>
                  <a:pt x="10905" y="13758"/>
                  <a:pt x="10650" y="13646"/>
                </a:cubicBezTo>
                <a:lnTo>
                  <a:pt x="9688" y="13212"/>
                </a:lnTo>
                <a:cubicBezTo>
                  <a:pt x="9610" y="13176"/>
                  <a:pt x="9564" y="13078"/>
                  <a:pt x="9583" y="12979"/>
                </a:cubicBezTo>
                <a:lnTo>
                  <a:pt x="9814" y="11813"/>
                </a:lnTo>
                <a:cubicBezTo>
                  <a:pt x="9833" y="11715"/>
                  <a:pt x="9908" y="11648"/>
                  <a:pt x="9990" y="11660"/>
                </a:cubicBezTo>
                <a:lnTo>
                  <a:pt x="11007" y="11806"/>
                </a:lnTo>
                <a:cubicBezTo>
                  <a:pt x="11278" y="11847"/>
                  <a:pt x="11544" y="11690"/>
                  <a:pt x="11684" y="11406"/>
                </a:cubicBezTo>
                <a:cubicBezTo>
                  <a:pt x="11810" y="11150"/>
                  <a:pt x="11957" y="10906"/>
                  <a:pt x="12118" y="10680"/>
                </a:cubicBezTo>
                <a:cubicBezTo>
                  <a:pt x="12294" y="10430"/>
                  <a:pt x="12331" y="10079"/>
                  <a:pt x="12217" y="9780"/>
                </a:cubicBezTo>
                <a:lnTo>
                  <a:pt x="11788" y="8654"/>
                </a:lnTo>
                <a:cubicBezTo>
                  <a:pt x="11753" y="8562"/>
                  <a:pt x="11778" y="8455"/>
                  <a:pt x="11849" y="8401"/>
                </a:cubicBezTo>
                <a:lnTo>
                  <a:pt x="12690" y="7768"/>
                </a:lnTo>
                <a:cubicBezTo>
                  <a:pt x="12760" y="7716"/>
                  <a:pt x="12848" y="7737"/>
                  <a:pt x="12899" y="7814"/>
                </a:cubicBezTo>
                <a:lnTo>
                  <a:pt x="13542" y="8781"/>
                </a:lnTo>
                <a:cubicBezTo>
                  <a:pt x="13710" y="9042"/>
                  <a:pt x="13987" y="9161"/>
                  <a:pt x="14252" y="9081"/>
                </a:cubicBezTo>
                <a:cubicBezTo>
                  <a:pt x="14490" y="9008"/>
                  <a:pt x="14733" y="8961"/>
                  <a:pt x="14978" y="8941"/>
                </a:cubicBezTo>
                <a:cubicBezTo>
                  <a:pt x="15248" y="8916"/>
                  <a:pt x="15480" y="8704"/>
                  <a:pt x="15572" y="8394"/>
                </a:cubicBezTo>
                <a:lnTo>
                  <a:pt x="15929" y="7215"/>
                </a:lnTo>
                <a:cubicBezTo>
                  <a:pt x="15956" y="7120"/>
                  <a:pt x="16035" y="7064"/>
                  <a:pt x="16116" y="7088"/>
                </a:cubicBezTo>
                <a:close/>
                <a:moveTo>
                  <a:pt x="5343" y="8568"/>
                </a:moveTo>
                <a:cubicBezTo>
                  <a:pt x="5065" y="8474"/>
                  <a:pt x="4772" y="8650"/>
                  <a:pt x="4661" y="8974"/>
                </a:cubicBezTo>
                <a:lnTo>
                  <a:pt x="4381" y="9794"/>
                </a:lnTo>
                <a:cubicBezTo>
                  <a:pt x="4376" y="9809"/>
                  <a:pt x="4367" y="9819"/>
                  <a:pt x="4354" y="9820"/>
                </a:cubicBezTo>
                <a:cubicBezTo>
                  <a:pt x="4154" y="9827"/>
                  <a:pt x="3955" y="9857"/>
                  <a:pt x="3760" y="9907"/>
                </a:cubicBezTo>
                <a:cubicBezTo>
                  <a:pt x="3745" y="9910"/>
                  <a:pt x="3729" y="9902"/>
                  <a:pt x="3721" y="9887"/>
                </a:cubicBezTo>
                <a:lnTo>
                  <a:pt x="3292" y="9174"/>
                </a:lnTo>
                <a:cubicBezTo>
                  <a:pt x="3122" y="8893"/>
                  <a:pt x="2801" y="8811"/>
                  <a:pt x="2550" y="8981"/>
                </a:cubicBezTo>
                <a:lnTo>
                  <a:pt x="1939" y="9394"/>
                </a:lnTo>
                <a:cubicBezTo>
                  <a:pt x="1688" y="9566"/>
                  <a:pt x="1581" y="9943"/>
                  <a:pt x="1692" y="10267"/>
                </a:cubicBezTo>
                <a:lnTo>
                  <a:pt x="1978" y="11087"/>
                </a:lnTo>
                <a:cubicBezTo>
                  <a:pt x="1985" y="11100"/>
                  <a:pt x="1985" y="11113"/>
                  <a:pt x="1978" y="11127"/>
                </a:cubicBezTo>
                <a:cubicBezTo>
                  <a:pt x="1840" y="11304"/>
                  <a:pt x="1713" y="11502"/>
                  <a:pt x="1604" y="11706"/>
                </a:cubicBezTo>
                <a:cubicBezTo>
                  <a:pt x="1596" y="11720"/>
                  <a:pt x="1584" y="11722"/>
                  <a:pt x="1571" y="11720"/>
                </a:cubicBezTo>
                <a:lnTo>
                  <a:pt x="851" y="11580"/>
                </a:lnTo>
                <a:cubicBezTo>
                  <a:pt x="564" y="11524"/>
                  <a:pt x="290" y="11741"/>
                  <a:pt x="213" y="12080"/>
                </a:cubicBezTo>
                <a:lnTo>
                  <a:pt x="20" y="12899"/>
                </a:lnTo>
                <a:cubicBezTo>
                  <a:pt x="-57" y="13236"/>
                  <a:pt x="89" y="13591"/>
                  <a:pt x="356" y="13726"/>
                </a:cubicBezTo>
                <a:lnTo>
                  <a:pt x="1027" y="14065"/>
                </a:lnTo>
                <a:cubicBezTo>
                  <a:pt x="1039" y="14071"/>
                  <a:pt x="1048" y="14082"/>
                  <a:pt x="1049" y="14099"/>
                </a:cubicBezTo>
                <a:cubicBezTo>
                  <a:pt x="1055" y="14342"/>
                  <a:pt x="1079" y="14587"/>
                  <a:pt x="1120" y="14825"/>
                </a:cubicBezTo>
                <a:cubicBezTo>
                  <a:pt x="1123" y="14843"/>
                  <a:pt x="1116" y="14856"/>
                  <a:pt x="1104" y="14865"/>
                </a:cubicBezTo>
                <a:lnTo>
                  <a:pt x="515" y="15392"/>
                </a:lnTo>
                <a:cubicBezTo>
                  <a:pt x="285" y="15600"/>
                  <a:pt x="218" y="15979"/>
                  <a:pt x="356" y="16285"/>
                </a:cubicBezTo>
                <a:lnTo>
                  <a:pt x="697" y="17031"/>
                </a:lnTo>
                <a:cubicBezTo>
                  <a:pt x="838" y="17337"/>
                  <a:pt x="1145" y="17466"/>
                  <a:pt x="1411" y="17331"/>
                </a:cubicBezTo>
                <a:lnTo>
                  <a:pt x="2088" y="16984"/>
                </a:lnTo>
                <a:cubicBezTo>
                  <a:pt x="2098" y="16976"/>
                  <a:pt x="2110" y="16976"/>
                  <a:pt x="2121" y="16984"/>
                </a:cubicBezTo>
                <a:cubicBezTo>
                  <a:pt x="2266" y="17151"/>
                  <a:pt x="2421" y="17305"/>
                  <a:pt x="2588" y="17438"/>
                </a:cubicBezTo>
                <a:cubicBezTo>
                  <a:pt x="2601" y="17448"/>
                  <a:pt x="2608" y="17466"/>
                  <a:pt x="2605" y="17484"/>
                </a:cubicBezTo>
                <a:lnTo>
                  <a:pt x="2495" y="18357"/>
                </a:lnTo>
                <a:cubicBezTo>
                  <a:pt x="2449" y="18703"/>
                  <a:pt x="2624" y="19041"/>
                  <a:pt x="2902" y="19137"/>
                </a:cubicBezTo>
                <a:lnTo>
                  <a:pt x="3573" y="19363"/>
                </a:lnTo>
                <a:cubicBezTo>
                  <a:pt x="3623" y="19379"/>
                  <a:pt x="3675" y="19390"/>
                  <a:pt x="3727" y="19390"/>
                </a:cubicBezTo>
                <a:cubicBezTo>
                  <a:pt x="3959" y="19392"/>
                  <a:pt x="4165" y="19224"/>
                  <a:pt x="4255" y="18964"/>
                </a:cubicBezTo>
                <a:lnTo>
                  <a:pt x="4535" y="18137"/>
                </a:lnTo>
                <a:cubicBezTo>
                  <a:pt x="4539" y="18122"/>
                  <a:pt x="4549" y="18112"/>
                  <a:pt x="4562" y="18111"/>
                </a:cubicBezTo>
                <a:cubicBezTo>
                  <a:pt x="4762" y="18103"/>
                  <a:pt x="4961" y="18073"/>
                  <a:pt x="5156" y="18024"/>
                </a:cubicBezTo>
                <a:cubicBezTo>
                  <a:pt x="5170" y="18021"/>
                  <a:pt x="5187" y="18030"/>
                  <a:pt x="5195" y="18044"/>
                </a:cubicBezTo>
                <a:lnTo>
                  <a:pt x="5624" y="18764"/>
                </a:lnTo>
                <a:cubicBezTo>
                  <a:pt x="5793" y="19045"/>
                  <a:pt x="6109" y="19125"/>
                  <a:pt x="6361" y="18957"/>
                </a:cubicBezTo>
                <a:lnTo>
                  <a:pt x="6977" y="18544"/>
                </a:lnTo>
                <a:cubicBezTo>
                  <a:pt x="7227" y="18371"/>
                  <a:pt x="7329" y="18000"/>
                  <a:pt x="7219" y="17677"/>
                </a:cubicBezTo>
                <a:lnTo>
                  <a:pt x="6944" y="16858"/>
                </a:lnTo>
                <a:cubicBezTo>
                  <a:pt x="6937" y="16843"/>
                  <a:pt x="6937" y="16826"/>
                  <a:pt x="6944" y="16811"/>
                </a:cubicBezTo>
                <a:cubicBezTo>
                  <a:pt x="7081" y="16634"/>
                  <a:pt x="7203" y="16442"/>
                  <a:pt x="7312" y="16238"/>
                </a:cubicBezTo>
                <a:cubicBezTo>
                  <a:pt x="7320" y="16223"/>
                  <a:pt x="7336" y="16211"/>
                  <a:pt x="7350" y="16211"/>
                </a:cubicBezTo>
                <a:lnTo>
                  <a:pt x="8071" y="16351"/>
                </a:lnTo>
                <a:cubicBezTo>
                  <a:pt x="8357" y="16407"/>
                  <a:pt x="8631" y="16190"/>
                  <a:pt x="8709" y="15851"/>
                </a:cubicBezTo>
                <a:lnTo>
                  <a:pt x="8896" y="15038"/>
                </a:lnTo>
                <a:cubicBezTo>
                  <a:pt x="8971" y="14698"/>
                  <a:pt x="8825" y="14343"/>
                  <a:pt x="8555" y="14212"/>
                </a:cubicBezTo>
                <a:lnTo>
                  <a:pt x="7878" y="13872"/>
                </a:lnTo>
                <a:cubicBezTo>
                  <a:pt x="7866" y="13866"/>
                  <a:pt x="7857" y="13849"/>
                  <a:pt x="7856" y="13832"/>
                </a:cubicBezTo>
                <a:cubicBezTo>
                  <a:pt x="7850" y="13589"/>
                  <a:pt x="7826" y="13351"/>
                  <a:pt x="7785" y="13113"/>
                </a:cubicBezTo>
                <a:cubicBezTo>
                  <a:pt x="7782" y="13095"/>
                  <a:pt x="7789" y="13076"/>
                  <a:pt x="7801" y="13066"/>
                </a:cubicBezTo>
                <a:lnTo>
                  <a:pt x="8395" y="12539"/>
                </a:lnTo>
                <a:cubicBezTo>
                  <a:pt x="8625" y="12331"/>
                  <a:pt x="8692" y="11952"/>
                  <a:pt x="8555" y="11646"/>
                </a:cubicBezTo>
                <a:lnTo>
                  <a:pt x="8214" y="10907"/>
                </a:lnTo>
                <a:cubicBezTo>
                  <a:pt x="8073" y="10600"/>
                  <a:pt x="7761" y="10471"/>
                  <a:pt x="7493" y="10607"/>
                </a:cubicBezTo>
                <a:lnTo>
                  <a:pt x="6823" y="10947"/>
                </a:lnTo>
                <a:cubicBezTo>
                  <a:pt x="6812" y="10955"/>
                  <a:pt x="6800" y="10955"/>
                  <a:pt x="6790" y="10947"/>
                </a:cubicBezTo>
                <a:cubicBezTo>
                  <a:pt x="6644" y="10780"/>
                  <a:pt x="6484" y="10627"/>
                  <a:pt x="6317" y="10493"/>
                </a:cubicBezTo>
                <a:cubicBezTo>
                  <a:pt x="6304" y="10484"/>
                  <a:pt x="6297" y="10471"/>
                  <a:pt x="6300" y="10454"/>
                </a:cubicBezTo>
                <a:lnTo>
                  <a:pt x="6416" y="9574"/>
                </a:lnTo>
                <a:cubicBezTo>
                  <a:pt x="6461" y="9228"/>
                  <a:pt x="6286" y="8897"/>
                  <a:pt x="6009" y="8801"/>
                </a:cubicBezTo>
                <a:lnTo>
                  <a:pt x="5343" y="8568"/>
                </a:lnTo>
                <a:close/>
                <a:moveTo>
                  <a:pt x="5195" y="9181"/>
                </a:moveTo>
                <a:lnTo>
                  <a:pt x="5860" y="9414"/>
                </a:lnTo>
                <a:cubicBezTo>
                  <a:pt x="5879" y="9420"/>
                  <a:pt x="5892" y="9444"/>
                  <a:pt x="5888" y="9467"/>
                </a:cubicBezTo>
                <a:lnTo>
                  <a:pt x="5772" y="10340"/>
                </a:lnTo>
                <a:cubicBezTo>
                  <a:pt x="5737" y="10608"/>
                  <a:pt x="5834" y="10877"/>
                  <a:pt x="6020" y="11027"/>
                </a:cubicBezTo>
                <a:cubicBezTo>
                  <a:pt x="6161" y="11140"/>
                  <a:pt x="6297" y="11266"/>
                  <a:pt x="6421" y="11406"/>
                </a:cubicBezTo>
                <a:cubicBezTo>
                  <a:pt x="6584" y="11591"/>
                  <a:pt x="6821" y="11645"/>
                  <a:pt x="7026" y="11540"/>
                </a:cubicBezTo>
                <a:lnTo>
                  <a:pt x="7697" y="11200"/>
                </a:lnTo>
                <a:cubicBezTo>
                  <a:pt x="7714" y="11192"/>
                  <a:pt x="7737" y="11201"/>
                  <a:pt x="7746" y="11220"/>
                </a:cubicBezTo>
                <a:lnTo>
                  <a:pt x="8087" y="11960"/>
                </a:lnTo>
                <a:cubicBezTo>
                  <a:pt x="8097" y="11980"/>
                  <a:pt x="8092" y="12005"/>
                  <a:pt x="8076" y="12020"/>
                </a:cubicBezTo>
                <a:lnTo>
                  <a:pt x="7488" y="12539"/>
                </a:lnTo>
                <a:cubicBezTo>
                  <a:pt x="7306" y="12698"/>
                  <a:pt x="7217" y="12974"/>
                  <a:pt x="7263" y="13239"/>
                </a:cubicBezTo>
                <a:cubicBezTo>
                  <a:pt x="7297" y="13441"/>
                  <a:pt x="7318" y="13646"/>
                  <a:pt x="7323" y="13852"/>
                </a:cubicBezTo>
                <a:cubicBezTo>
                  <a:pt x="7331" y="14122"/>
                  <a:pt x="7470" y="14361"/>
                  <a:pt x="7675" y="14465"/>
                </a:cubicBezTo>
                <a:lnTo>
                  <a:pt x="8351" y="14805"/>
                </a:lnTo>
                <a:cubicBezTo>
                  <a:pt x="8370" y="14814"/>
                  <a:pt x="8379" y="14835"/>
                  <a:pt x="8373" y="14859"/>
                </a:cubicBezTo>
                <a:cubicBezTo>
                  <a:pt x="8373" y="14859"/>
                  <a:pt x="8186" y="15678"/>
                  <a:pt x="8186" y="15678"/>
                </a:cubicBezTo>
                <a:cubicBezTo>
                  <a:pt x="8181" y="15700"/>
                  <a:pt x="8161" y="15715"/>
                  <a:pt x="8142" y="15712"/>
                </a:cubicBezTo>
                <a:lnTo>
                  <a:pt x="7422" y="15578"/>
                </a:lnTo>
                <a:cubicBezTo>
                  <a:pt x="7199" y="15537"/>
                  <a:pt x="6978" y="15655"/>
                  <a:pt x="6856" y="15885"/>
                </a:cubicBezTo>
                <a:cubicBezTo>
                  <a:pt x="6763" y="16057"/>
                  <a:pt x="6658" y="16221"/>
                  <a:pt x="6542" y="16371"/>
                </a:cubicBezTo>
                <a:cubicBezTo>
                  <a:pt x="6392" y="16569"/>
                  <a:pt x="6347" y="16856"/>
                  <a:pt x="6432" y="17104"/>
                </a:cubicBezTo>
                <a:lnTo>
                  <a:pt x="6713" y="17924"/>
                </a:lnTo>
                <a:cubicBezTo>
                  <a:pt x="6721" y="17946"/>
                  <a:pt x="6713" y="17972"/>
                  <a:pt x="6696" y="17984"/>
                </a:cubicBezTo>
                <a:lnTo>
                  <a:pt x="6086" y="18397"/>
                </a:lnTo>
                <a:cubicBezTo>
                  <a:pt x="6070" y="18408"/>
                  <a:pt x="6047" y="18402"/>
                  <a:pt x="6036" y="18384"/>
                </a:cubicBezTo>
                <a:lnTo>
                  <a:pt x="5607" y="17664"/>
                </a:lnTo>
                <a:cubicBezTo>
                  <a:pt x="5477" y="17444"/>
                  <a:pt x="5254" y="17337"/>
                  <a:pt x="5035" y="17391"/>
                </a:cubicBezTo>
                <a:cubicBezTo>
                  <a:pt x="4869" y="17433"/>
                  <a:pt x="4699" y="17458"/>
                  <a:pt x="4529" y="17464"/>
                </a:cubicBezTo>
                <a:cubicBezTo>
                  <a:pt x="4307" y="17475"/>
                  <a:pt x="4114" y="17641"/>
                  <a:pt x="4029" y="17891"/>
                </a:cubicBezTo>
                <a:lnTo>
                  <a:pt x="3749" y="18710"/>
                </a:lnTo>
                <a:cubicBezTo>
                  <a:pt x="3742" y="18732"/>
                  <a:pt x="3723" y="18750"/>
                  <a:pt x="3705" y="18744"/>
                </a:cubicBezTo>
                <a:lnTo>
                  <a:pt x="3039" y="18510"/>
                </a:lnTo>
                <a:cubicBezTo>
                  <a:pt x="3020" y="18504"/>
                  <a:pt x="3008" y="18481"/>
                  <a:pt x="3012" y="18457"/>
                </a:cubicBezTo>
                <a:lnTo>
                  <a:pt x="3127" y="17584"/>
                </a:lnTo>
                <a:cubicBezTo>
                  <a:pt x="3163" y="17317"/>
                  <a:pt x="3066" y="17048"/>
                  <a:pt x="2880" y="16898"/>
                </a:cubicBezTo>
                <a:cubicBezTo>
                  <a:pt x="2738" y="16785"/>
                  <a:pt x="2602" y="16659"/>
                  <a:pt x="2478" y="16518"/>
                </a:cubicBezTo>
                <a:cubicBezTo>
                  <a:pt x="2316" y="16333"/>
                  <a:pt x="2079" y="16280"/>
                  <a:pt x="1873" y="16385"/>
                </a:cubicBezTo>
                <a:lnTo>
                  <a:pt x="1197" y="16724"/>
                </a:lnTo>
                <a:cubicBezTo>
                  <a:pt x="1179" y="16733"/>
                  <a:pt x="1162" y="16725"/>
                  <a:pt x="1153" y="16704"/>
                </a:cubicBezTo>
                <a:lnTo>
                  <a:pt x="812" y="15965"/>
                </a:lnTo>
                <a:cubicBezTo>
                  <a:pt x="803" y="15943"/>
                  <a:pt x="808" y="15920"/>
                  <a:pt x="823" y="15905"/>
                </a:cubicBezTo>
                <a:lnTo>
                  <a:pt x="1411" y="15385"/>
                </a:lnTo>
                <a:cubicBezTo>
                  <a:pt x="1593" y="15227"/>
                  <a:pt x="1682" y="14950"/>
                  <a:pt x="1637" y="14685"/>
                </a:cubicBezTo>
                <a:cubicBezTo>
                  <a:pt x="1602" y="14483"/>
                  <a:pt x="1582" y="14279"/>
                  <a:pt x="1576" y="14072"/>
                </a:cubicBezTo>
                <a:cubicBezTo>
                  <a:pt x="1569" y="13803"/>
                  <a:pt x="1430" y="13563"/>
                  <a:pt x="1225" y="13459"/>
                </a:cubicBezTo>
                <a:lnTo>
                  <a:pt x="548" y="13119"/>
                </a:lnTo>
                <a:cubicBezTo>
                  <a:pt x="530" y="13110"/>
                  <a:pt x="521" y="13089"/>
                  <a:pt x="526" y="13066"/>
                </a:cubicBezTo>
                <a:lnTo>
                  <a:pt x="719" y="12246"/>
                </a:lnTo>
                <a:cubicBezTo>
                  <a:pt x="724" y="12224"/>
                  <a:pt x="738" y="12210"/>
                  <a:pt x="757" y="12213"/>
                </a:cubicBezTo>
                <a:lnTo>
                  <a:pt x="1477" y="12353"/>
                </a:lnTo>
                <a:cubicBezTo>
                  <a:pt x="1699" y="12396"/>
                  <a:pt x="1921" y="12274"/>
                  <a:pt x="2044" y="12046"/>
                </a:cubicBezTo>
                <a:cubicBezTo>
                  <a:pt x="2137" y="11874"/>
                  <a:pt x="2241" y="11716"/>
                  <a:pt x="2357" y="11566"/>
                </a:cubicBezTo>
                <a:cubicBezTo>
                  <a:pt x="2508" y="11368"/>
                  <a:pt x="2552" y="11076"/>
                  <a:pt x="2467" y="10827"/>
                </a:cubicBezTo>
                <a:lnTo>
                  <a:pt x="2181" y="10014"/>
                </a:lnTo>
                <a:cubicBezTo>
                  <a:pt x="2175" y="9991"/>
                  <a:pt x="2186" y="9960"/>
                  <a:pt x="2203" y="9947"/>
                </a:cubicBezTo>
                <a:lnTo>
                  <a:pt x="2808" y="9534"/>
                </a:lnTo>
                <a:cubicBezTo>
                  <a:pt x="2825" y="9522"/>
                  <a:pt x="2847" y="9528"/>
                  <a:pt x="2858" y="9547"/>
                </a:cubicBezTo>
                <a:lnTo>
                  <a:pt x="3292" y="10260"/>
                </a:lnTo>
                <a:cubicBezTo>
                  <a:pt x="3423" y="10480"/>
                  <a:pt x="3645" y="10587"/>
                  <a:pt x="3864" y="10533"/>
                </a:cubicBezTo>
                <a:cubicBezTo>
                  <a:pt x="4030" y="10491"/>
                  <a:pt x="4200" y="10466"/>
                  <a:pt x="4370" y="10460"/>
                </a:cubicBezTo>
                <a:cubicBezTo>
                  <a:pt x="4593" y="10449"/>
                  <a:pt x="4787" y="10277"/>
                  <a:pt x="4870" y="10027"/>
                </a:cubicBezTo>
                <a:lnTo>
                  <a:pt x="5151" y="9214"/>
                </a:lnTo>
                <a:cubicBezTo>
                  <a:pt x="5158" y="9193"/>
                  <a:pt x="5176" y="9176"/>
                  <a:pt x="5195" y="9181"/>
                </a:cubicBezTo>
                <a:close/>
                <a:moveTo>
                  <a:pt x="15264" y="10627"/>
                </a:moveTo>
                <a:cubicBezTo>
                  <a:pt x="13721" y="10627"/>
                  <a:pt x="12470" y="12142"/>
                  <a:pt x="12470" y="14012"/>
                </a:cubicBezTo>
                <a:cubicBezTo>
                  <a:pt x="12470" y="15882"/>
                  <a:pt x="13721" y="17398"/>
                  <a:pt x="15264" y="17398"/>
                </a:cubicBezTo>
                <a:cubicBezTo>
                  <a:pt x="16807" y="17398"/>
                  <a:pt x="18057" y="15882"/>
                  <a:pt x="18057" y="14012"/>
                </a:cubicBezTo>
                <a:cubicBezTo>
                  <a:pt x="18057" y="12142"/>
                  <a:pt x="16807" y="10627"/>
                  <a:pt x="15264" y="10627"/>
                </a:cubicBezTo>
                <a:close/>
                <a:moveTo>
                  <a:pt x="15264" y="11273"/>
                </a:moveTo>
                <a:cubicBezTo>
                  <a:pt x="16513" y="11273"/>
                  <a:pt x="17529" y="12499"/>
                  <a:pt x="17529" y="14012"/>
                </a:cubicBezTo>
                <a:cubicBezTo>
                  <a:pt x="17529" y="15526"/>
                  <a:pt x="16513" y="16751"/>
                  <a:pt x="15264" y="16751"/>
                </a:cubicBezTo>
                <a:cubicBezTo>
                  <a:pt x="14015" y="16751"/>
                  <a:pt x="13004" y="15526"/>
                  <a:pt x="13004" y="14012"/>
                </a:cubicBezTo>
                <a:cubicBezTo>
                  <a:pt x="13004" y="12499"/>
                  <a:pt x="14015" y="11273"/>
                  <a:pt x="15264" y="11273"/>
                </a:cubicBezTo>
                <a:close/>
                <a:moveTo>
                  <a:pt x="4546" y="11466"/>
                </a:moveTo>
                <a:cubicBezTo>
                  <a:pt x="4020" y="11439"/>
                  <a:pt x="3485" y="11654"/>
                  <a:pt x="3067" y="12120"/>
                </a:cubicBezTo>
                <a:cubicBezTo>
                  <a:pt x="3064" y="12123"/>
                  <a:pt x="3064" y="12129"/>
                  <a:pt x="3061" y="12133"/>
                </a:cubicBezTo>
                <a:cubicBezTo>
                  <a:pt x="2225" y="13069"/>
                  <a:pt x="2168" y="14651"/>
                  <a:pt x="2940" y="15665"/>
                </a:cubicBezTo>
                <a:cubicBezTo>
                  <a:pt x="3713" y="16679"/>
                  <a:pt x="5018" y="16741"/>
                  <a:pt x="5855" y="15805"/>
                </a:cubicBezTo>
                <a:cubicBezTo>
                  <a:pt x="6691" y="14869"/>
                  <a:pt x="6743" y="13287"/>
                  <a:pt x="5970" y="12273"/>
                </a:cubicBezTo>
                <a:cubicBezTo>
                  <a:pt x="5586" y="11766"/>
                  <a:pt x="5072" y="11494"/>
                  <a:pt x="4546" y="11466"/>
                </a:cubicBezTo>
                <a:close/>
                <a:moveTo>
                  <a:pt x="4513" y="12100"/>
                </a:moveTo>
                <a:cubicBezTo>
                  <a:pt x="4904" y="12113"/>
                  <a:pt x="5290" y="12307"/>
                  <a:pt x="5580" y="12679"/>
                </a:cubicBezTo>
                <a:cubicBezTo>
                  <a:pt x="6160" y="13424"/>
                  <a:pt x="6134" y="14602"/>
                  <a:pt x="5519" y="15305"/>
                </a:cubicBezTo>
                <a:cubicBezTo>
                  <a:pt x="5512" y="15314"/>
                  <a:pt x="5505" y="15323"/>
                  <a:pt x="5497" y="15332"/>
                </a:cubicBezTo>
                <a:cubicBezTo>
                  <a:pt x="4883" y="16034"/>
                  <a:pt x="3916" y="15996"/>
                  <a:pt x="3336" y="15252"/>
                </a:cubicBezTo>
                <a:cubicBezTo>
                  <a:pt x="2756" y="14507"/>
                  <a:pt x="2782" y="13335"/>
                  <a:pt x="3397" y="12633"/>
                </a:cubicBezTo>
                <a:cubicBezTo>
                  <a:pt x="3404" y="12624"/>
                  <a:pt x="3411" y="12615"/>
                  <a:pt x="3419" y="12606"/>
                </a:cubicBezTo>
                <a:cubicBezTo>
                  <a:pt x="3726" y="12255"/>
                  <a:pt x="4122" y="12086"/>
                  <a:pt x="4513" y="12100"/>
                </a:cubicBezTo>
                <a:close/>
              </a:path>
            </a:pathLst>
          </a:custGeom>
          <a:solidFill>
            <a:srgbClr val="FFFFFF"/>
          </a:solidFill>
          <a:ln w="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0BEEFF8F-1E5E-0969-3AE8-9344A7566EAC}"/>
              </a:ext>
            </a:extLst>
          </p:cNvPr>
          <p:cNvCxnSpPr>
            <a:cxnSpLocks/>
          </p:cNvCxnSpPr>
          <p:nvPr/>
        </p:nvCxnSpPr>
        <p:spPr>
          <a:xfrm>
            <a:off x="305435" y="6227547"/>
            <a:ext cx="6513054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76025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BCA958F4-DC2D-7B71-D3BB-FA99C01AB5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658F52A-5F6C-8D58-3682-F56355D3CD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25</a:t>
            </a:fld>
            <a:endParaRPr lang="en-GB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FB72721D-9D05-A0F1-9275-BBD8A457B3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4184199"/>
              </p:ext>
            </p:extLst>
          </p:nvPr>
        </p:nvGraphicFramePr>
        <p:xfrm>
          <a:off x="-135996" y="3217495"/>
          <a:ext cx="11820522" cy="415728"/>
        </p:xfrm>
        <a:graphic>
          <a:graphicData uri="http://schemas.openxmlformats.org/drawingml/2006/table">
            <a:tbl>
              <a:tblPr firstRow="1" bandRow="1"/>
              <a:tblGrid>
                <a:gridCol w="844323">
                  <a:extLst>
                    <a:ext uri="{9D8B030D-6E8A-4147-A177-3AD203B41FA5}">
                      <a16:colId xmlns:a16="http://schemas.microsoft.com/office/drawing/2014/main" val="1593792559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3438921003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3051877902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1196981997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2096118180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2295189328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3800751575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2290388342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2570168877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1412013445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2857917584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2277700853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3910956018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3741023255"/>
                    </a:ext>
                  </a:extLst>
                </a:gridCol>
              </a:tblGrid>
              <a:tr h="415728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Ja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Feb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Ma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Ap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May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Ju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Ju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Au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Sep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Oc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Nov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Dec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5697278"/>
                  </a:ext>
                </a:extLst>
              </a:tr>
            </a:tbl>
          </a:graphicData>
        </a:graphic>
      </p:graphicFrame>
      <p:cxnSp>
        <p:nvCxnSpPr>
          <p:cNvPr id="7" name="Straight Connector 27">
            <a:extLst>
              <a:ext uri="{FF2B5EF4-FFF2-40B4-BE49-F238E27FC236}">
                <a16:creationId xmlns:a16="http://schemas.microsoft.com/office/drawing/2014/main" id="{AFADFD1C-374C-B5B4-467F-80705F919F60}"/>
              </a:ext>
            </a:extLst>
          </p:cNvPr>
          <p:cNvCxnSpPr>
            <a:cxnSpLocks/>
          </p:cNvCxnSpPr>
          <p:nvPr/>
        </p:nvCxnSpPr>
        <p:spPr>
          <a:xfrm>
            <a:off x="1285617" y="3188899"/>
            <a:ext cx="9828000" cy="0"/>
          </a:xfrm>
          <a:prstGeom prst="line">
            <a:avLst/>
          </a:prstGeom>
          <a:noFill/>
          <a:ln w="31750" cap="flat" cmpd="sng" algn="ctr">
            <a:solidFill>
              <a:srgbClr val="8D99AE"/>
            </a:solidFill>
            <a:prstDash val="solid"/>
            <a:miter lim="800000"/>
          </a:ln>
          <a:effectLst/>
        </p:spPr>
      </p:cxnSp>
      <p:cxnSp>
        <p:nvCxnSpPr>
          <p:cNvPr id="8" name="Straight Connector 31">
            <a:extLst>
              <a:ext uri="{FF2B5EF4-FFF2-40B4-BE49-F238E27FC236}">
                <a16:creationId xmlns:a16="http://schemas.microsoft.com/office/drawing/2014/main" id="{D4502F2C-C9FD-B348-7156-FF87868D91FC}"/>
              </a:ext>
            </a:extLst>
          </p:cNvPr>
          <p:cNvCxnSpPr>
            <a:cxnSpLocks/>
          </p:cNvCxnSpPr>
          <p:nvPr/>
        </p:nvCxnSpPr>
        <p:spPr>
          <a:xfrm>
            <a:off x="11111052" y="3059572"/>
            <a:ext cx="0" cy="258654"/>
          </a:xfrm>
          <a:prstGeom prst="line">
            <a:avLst/>
          </a:prstGeom>
          <a:noFill/>
          <a:ln w="31750" cap="flat" cmpd="sng" algn="ctr">
            <a:solidFill>
              <a:srgbClr val="8D99AE"/>
            </a:solidFill>
            <a:prstDash val="solid"/>
            <a:miter lim="800000"/>
          </a:ln>
          <a:effectLst/>
        </p:spPr>
      </p:cxnSp>
      <p:sp>
        <p:nvSpPr>
          <p:cNvPr id="9" name="Oval 7">
            <a:extLst>
              <a:ext uri="{FF2B5EF4-FFF2-40B4-BE49-F238E27FC236}">
                <a16:creationId xmlns:a16="http://schemas.microsoft.com/office/drawing/2014/main" id="{A94F1520-8072-1437-AAA6-6A7B3AD00051}"/>
              </a:ext>
            </a:extLst>
          </p:cNvPr>
          <p:cNvSpPr>
            <a:spLocks noChangeAspect="1"/>
          </p:cNvSpPr>
          <p:nvPr/>
        </p:nvSpPr>
        <p:spPr>
          <a:xfrm>
            <a:off x="1229442" y="3128932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0" name="Oval 102">
            <a:extLst>
              <a:ext uri="{FF2B5EF4-FFF2-40B4-BE49-F238E27FC236}">
                <a16:creationId xmlns:a16="http://schemas.microsoft.com/office/drawing/2014/main" id="{C2DE2A33-A21D-08F9-2FE6-A47B77CBC03B}"/>
              </a:ext>
            </a:extLst>
          </p:cNvPr>
          <p:cNvSpPr>
            <a:spLocks noChangeAspect="1"/>
          </p:cNvSpPr>
          <p:nvPr/>
        </p:nvSpPr>
        <p:spPr>
          <a:xfrm>
            <a:off x="2045417" y="3128932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1" name="Oval 103">
            <a:extLst>
              <a:ext uri="{FF2B5EF4-FFF2-40B4-BE49-F238E27FC236}">
                <a16:creationId xmlns:a16="http://schemas.microsoft.com/office/drawing/2014/main" id="{D566F979-1382-EF8E-3250-5604359EAC36}"/>
              </a:ext>
            </a:extLst>
          </p:cNvPr>
          <p:cNvSpPr>
            <a:spLocks noChangeAspect="1"/>
          </p:cNvSpPr>
          <p:nvPr/>
        </p:nvSpPr>
        <p:spPr>
          <a:xfrm>
            <a:off x="2867742" y="3128932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2" name="Oval 104">
            <a:extLst>
              <a:ext uri="{FF2B5EF4-FFF2-40B4-BE49-F238E27FC236}">
                <a16:creationId xmlns:a16="http://schemas.microsoft.com/office/drawing/2014/main" id="{7760047B-DF9A-BAF3-2ADB-6D8F856B6DAD}"/>
              </a:ext>
            </a:extLst>
          </p:cNvPr>
          <p:cNvSpPr>
            <a:spLocks noChangeAspect="1"/>
          </p:cNvSpPr>
          <p:nvPr/>
        </p:nvSpPr>
        <p:spPr>
          <a:xfrm>
            <a:off x="3683717" y="3128932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3" name="Oval 105">
            <a:extLst>
              <a:ext uri="{FF2B5EF4-FFF2-40B4-BE49-F238E27FC236}">
                <a16:creationId xmlns:a16="http://schemas.microsoft.com/office/drawing/2014/main" id="{4EFD105D-FA98-8258-FCC6-DCF915EA57C7}"/>
              </a:ext>
            </a:extLst>
          </p:cNvPr>
          <p:cNvSpPr>
            <a:spLocks noChangeAspect="1"/>
          </p:cNvSpPr>
          <p:nvPr/>
        </p:nvSpPr>
        <p:spPr>
          <a:xfrm>
            <a:off x="4502867" y="3128932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4" name="Oval 106">
            <a:extLst>
              <a:ext uri="{FF2B5EF4-FFF2-40B4-BE49-F238E27FC236}">
                <a16:creationId xmlns:a16="http://schemas.microsoft.com/office/drawing/2014/main" id="{F4261CB0-3ACA-6C87-D7EF-652C3E99EA65}"/>
              </a:ext>
            </a:extLst>
          </p:cNvPr>
          <p:cNvSpPr>
            <a:spLocks noChangeAspect="1"/>
          </p:cNvSpPr>
          <p:nvPr/>
        </p:nvSpPr>
        <p:spPr>
          <a:xfrm>
            <a:off x="5322017" y="3128932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5" name="Oval 107">
            <a:extLst>
              <a:ext uri="{FF2B5EF4-FFF2-40B4-BE49-F238E27FC236}">
                <a16:creationId xmlns:a16="http://schemas.microsoft.com/office/drawing/2014/main" id="{C0165BF7-10EC-F8D2-A1CC-EC77CB6D578B}"/>
              </a:ext>
            </a:extLst>
          </p:cNvPr>
          <p:cNvSpPr>
            <a:spLocks noChangeAspect="1"/>
          </p:cNvSpPr>
          <p:nvPr/>
        </p:nvSpPr>
        <p:spPr>
          <a:xfrm>
            <a:off x="6131642" y="3128932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6" name="Oval 108">
            <a:extLst>
              <a:ext uri="{FF2B5EF4-FFF2-40B4-BE49-F238E27FC236}">
                <a16:creationId xmlns:a16="http://schemas.microsoft.com/office/drawing/2014/main" id="{99AEF7B3-7A7E-5EF6-29B7-AC44FD6B1937}"/>
              </a:ext>
            </a:extLst>
          </p:cNvPr>
          <p:cNvSpPr>
            <a:spLocks noChangeAspect="1"/>
          </p:cNvSpPr>
          <p:nvPr/>
        </p:nvSpPr>
        <p:spPr>
          <a:xfrm>
            <a:off x="6953967" y="3128932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7" name="Oval 109">
            <a:extLst>
              <a:ext uri="{FF2B5EF4-FFF2-40B4-BE49-F238E27FC236}">
                <a16:creationId xmlns:a16="http://schemas.microsoft.com/office/drawing/2014/main" id="{4E808E98-C26F-F4D8-3BC8-CE384BD432B6}"/>
              </a:ext>
            </a:extLst>
          </p:cNvPr>
          <p:cNvSpPr>
            <a:spLocks noChangeAspect="1"/>
          </p:cNvSpPr>
          <p:nvPr/>
        </p:nvSpPr>
        <p:spPr>
          <a:xfrm>
            <a:off x="7773117" y="3128932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8" name="Oval 110">
            <a:extLst>
              <a:ext uri="{FF2B5EF4-FFF2-40B4-BE49-F238E27FC236}">
                <a16:creationId xmlns:a16="http://schemas.microsoft.com/office/drawing/2014/main" id="{BC0998AF-378F-9704-E991-BF591F03DCEB}"/>
              </a:ext>
            </a:extLst>
          </p:cNvPr>
          <p:cNvSpPr>
            <a:spLocks noChangeAspect="1"/>
          </p:cNvSpPr>
          <p:nvPr/>
        </p:nvSpPr>
        <p:spPr>
          <a:xfrm>
            <a:off x="8585917" y="3128932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9" name="Oval 111">
            <a:extLst>
              <a:ext uri="{FF2B5EF4-FFF2-40B4-BE49-F238E27FC236}">
                <a16:creationId xmlns:a16="http://schemas.microsoft.com/office/drawing/2014/main" id="{4C8420C5-2F2B-2763-5149-8646DD548308}"/>
              </a:ext>
            </a:extLst>
          </p:cNvPr>
          <p:cNvSpPr>
            <a:spLocks noChangeAspect="1"/>
          </p:cNvSpPr>
          <p:nvPr/>
        </p:nvSpPr>
        <p:spPr>
          <a:xfrm>
            <a:off x="9408242" y="3128932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0" name="Oval 112">
            <a:extLst>
              <a:ext uri="{FF2B5EF4-FFF2-40B4-BE49-F238E27FC236}">
                <a16:creationId xmlns:a16="http://schemas.microsoft.com/office/drawing/2014/main" id="{3CAE63E8-0581-6DAC-C490-1433A15D412B}"/>
              </a:ext>
            </a:extLst>
          </p:cNvPr>
          <p:cNvSpPr>
            <a:spLocks noChangeAspect="1"/>
          </p:cNvSpPr>
          <p:nvPr/>
        </p:nvSpPr>
        <p:spPr>
          <a:xfrm>
            <a:off x="10227392" y="3128932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21" name="Straight Connector 132">
            <a:extLst>
              <a:ext uri="{FF2B5EF4-FFF2-40B4-BE49-F238E27FC236}">
                <a16:creationId xmlns:a16="http://schemas.microsoft.com/office/drawing/2014/main" id="{B2BD0B8A-9FC2-156D-94F5-108479229C1E}"/>
              </a:ext>
            </a:extLst>
          </p:cNvPr>
          <p:cNvCxnSpPr>
            <a:cxnSpLocks/>
          </p:cNvCxnSpPr>
          <p:nvPr/>
        </p:nvCxnSpPr>
        <p:spPr>
          <a:xfrm>
            <a:off x="3305067" y="1811608"/>
            <a:ext cx="0" cy="1008000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sp>
        <p:nvSpPr>
          <p:cNvPr id="22" name="Rectángulo 21">
            <a:extLst>
              <a:ext uri="{FF2B5EF4-FFF2-40B4-BE49-F238E27FC236}">
                <a16:creationId xmlns:a16="http://schemas.microsoft.com/office/drawing/2014/main" id="{2943BF28-D5B2-1F23-2C2C-84F39621416F}"/>
              </a:ext>
            </a:extLst>
          </p:cNvPr>
          <p:cNvSpPr/>
          <p:nvPr/>
        </p:nvSpPr>
        <p:spPr>
          <a:xfrm>
            <a:off x="2930936" y="2785502"/>
            <a:ext cx="828000" cy="237729"/>
          </a:xfrm>
          <a:prstGeom prst="rect">
            <a:avLst/>
          </a:prstGeom>
          <a:solidFill>
            <a:srgbClr val="61E1E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3" name="Rectangle 130">
            <a:extLst>
              <a:ext uri="{FF2B5EF4-FFF2-40B4-BE49-F238E27FC236}">
                <a16:creationId xmlns:a16="http://schemas.microsoft.com/office/drawing/2014/main" id="{C8B6D622-C655-1C5B-B0E3-FECDC3ED1EA2}"/>
              </a:ext>
            </a:extLst>
          </p:cNvPr>
          <p:cNvSpPr/>
          <p:nvPr/>
        </p:nvSpPr>
        <p:spPr>
          <a:xfrm>
            <a:off x="2754759" y="1541236"/>
            <a:ext cx="110061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Verano</a:t>
            </a:r>
          </a:p>
        </p:txBody>
      </p:sp>
      <p:cxnSp>
        <p:nvCxnSpPr>
          <p:cNvPr id="24" name="Straight Connector 132">
            <a:extLst>
              <a:ext uri="{FF2B5EF4-FFF2-40B4-BE49-F238E27FC236}">
                <a16:creationId xmlns:a16="http://schemas.microsoft.com/office/drawing/2014/main" id="{7E74AF17-C452-16E6-4053-6C5CBCBD4D72}"/>
              </a:ext>
            </a:extLst>
          </p:cNvPr>
          <p:cNvCxnSpPr>
            <a:cxnSpLocks/>
          </p:cNvCxnSpPr>
          <p:nvPr/>
        </p:nvCxnSpPr>
        <p:spPr>
          <a:xfrm>
            <a:off x="10401616" y="1818235"/>
            <a:ext cx="0" cy="1008000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sp>
        <p:nvSpPr>
          <p:cNvPr id="25" name="Rectángulo 24">
            <a:extLst>
              <a:ext uri="{FF2B5EF4-FFF2-40B4-BE49-F238E27FC236}">
                <a16:creationId xmlns:a16="http://schemas.microsoft.com/office/drawing/2014/main" id="{EC8ED79B-E526-0B56-E805-2676A8024767}"/>
              </a:ext>
            </a:extLst>
          </p:cNvPr>
          <p:cNvSpPr/>
          <p:nvPr/>
        </p:nvSpPr>
        <p:spPr>
          <a:xfrm>
            <a:off x="9909284" y="2792130"/>
            <a:ext cx="972268" cy="199768"/>
          </a:xfrm>
          <a:prstGeom prst="rect">
            <a:avLst/>
          </a:prstGeom>
          <a:solidFill>
            <a:srgbClr val="61E1E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6" name="Rectangle 130">
            <a:extLst>
              <a:ext uri="{FF2B5EF4-FFF2-40B4-BE49-F238E27FC236}">
                <a16:creationId xmlns:a16="http://schemas.microsoft.com/office/drawing/2014/main" id="{7C02D5BA-8DAF-9192-CB05-4D417EFBD209}"/>
              </a:ext>
            </a:extLst>
          </p:cNvPr>
          <p:cNvSpPr/>
          <p:nvPr/>
        </p:nvSpPr>
        <p:spPr>
          <a:xfrm>
            <a:off x="9845803" y="1458059"/>
            <a:ext cx="11006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Fin de </a:t>
            </a:r>
            <a:r>
              <a:rPr lang="en-US" sz="1200" b="1" i="1" err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año</a:t>
            </a: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 (</a:t>
            </a:r>
            <a:r>
              <a:rPr lang="en-US" sz="1200" b="1" i="1" err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convivios</a:t>
            </a: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)</a:t>
            </a:r>
          </a:p>
        </p:txBody>
      </p:sp>
      <p:cxnSp>
        <p:nvCxnSpPr>
          <p:cNvPr id="27" name="Straight Connector 132">
            <a:extLst>
              <a:ext uri="{FF2B5EF4-FFF2-40B4-BE49-F238E27FC236}">
                <a16:creationId xmlns:a16="http://schemas.microsoft.com/office/drawing/2014/main" id="{30C27381-B92B-87CB-B887-6B5E9079500E}"/>
              </a:ext>
            </a:extLst>
          </p:cNvPr>
          <p:cNvCxnSpPr>
            <a:cxnSpLocks/>
          </p:cNvCxnSpPr>
          <p:nvPr/>
        </p:nvCxnSpPr>
        <p:spPr>
          <a:xfrm>
            <a:off x="9389149" y="3209721"/>
            <a:ext cx="0" cy="900000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sp>
        <p:nvSpPr>
          <p:cNvPr id="28" name="Rectangle 130">
            <a:extLst>
              <a:ext uri="{FF2B5EF4-FFF2-40B4-BE49-F238E27FC236}">
                <a16:creationId xmlns:a16="http://schemas.microsoft.com/office/drawing/2014/main" id="{90FBEF13-AC75-A03D-F966-C15297F60F66}"/>
              </a:ext>
            </a:extLst>
          </p:cNvPr>
          <p:cNvSpPr/>
          <p:nvPr/>
        </p:nvSpPr>
        <p:spPr>
          <a:xfrm>
            <a:off x="8699898" y="4131125"/>
            <a:ext cx="137850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Halloween – </a:t>
            </a:r>
            <a:r>
              <a:rPr lang="en-US" sz="1200" b="1" i="1" err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Fiambre</a:t>
            </a:r>
            <a:endParaRPr lang="en-US" sz="1200" b="1" i="1">
              <a:solidFill>
                <a:srgbClr val="0A0F0D"/>
              </a:solidFill>
              <a:latin typeface="Century Gothic" charset="0"/>
              <a:ea typeface="Century Gothic" charset="0"/>
              <a:cs typeface="Century Gothic" charset="0"/>
            </a:endParaRPr>
          </a:p>
          <a:p>
            <a:pPr algn="ctr"/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Fiestas </a:t>
            </a:r>
            <a:r>
              <a:rPr lang="en-US" sz="1200" b="1" i="1" err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Patrias</a:t>
            </a: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 (PA)</a:t>
            </a:r>
          </a:p>
        </p:txBody>
      </p:sp>
      <p:cxnSp>
        <p:nvCxnSpPr>
          <p:cNvPr id="29" name="Straight Connector 132">
            <a:extLst>
              <a:ext uri="{FF2B5EF4-FFF2-40B4-BE49-F238E27FC236}">
                <a16:creationId xmlns:a16="http://schemas.microsoft.com/office/drawing/2014/main" id="{C90C6194-7057-7307-0D60-C6B141707748}"/>
              </a:ext>
            </a:extLst>
          </p:cNvPr>
          <p:cNvCxnSpPr>
            <a:cxnSpLocks/>
          </p:cNvCxnSpPr>
          <p:nvPr/>
        </p:nvCxnSpPr>
        <p:spPr>
          <a:xfrm>
            <a:off x="9016764" y="1811611"/>
            <a:ext cx="0" cy="1008000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sp>
        <p:nvSpPr>
          <p:cNvPr id="30" name="Rectángulo 29">
            <a:extLst>
              <a:ext uri="{FF2B5EF4-FFF2-40B4-BE49-F238E27FC236}">
                <a16:creationId xmlns:a16="http://schemas.microsoft.com/office/drawing/2014/main" id="{98842438-8E92-9096-F1CA-89AB5D2FAD1B}"/>
              </a:ext>
            </a:extLst>
          </p:cNvPr>
          <p:cNvSpPr/>
          <p:nvPr/>
        </p:nvSpPr>
        <p:spPr>
          <a:xfrm>
            <a:off x="8642633" y="2785505"/>
            <a:ext cx="828000" cy="237729"/>
          </a:xfrm>
          <a:prstGeom prst="rect">
            <a:avLst/>
          </a:prstGeom>
          <a:solidFill>
            <a:srgbClr val="61E1E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1" name="Rectangle 130">
            <a:extLst>
              <a:ext uri="{FF2B5EF4-FFF2-40B4-BE49-F238E27FC236}">
                <a16:creationId xmlns:a16="http://schemas.microsoft.com/office/drawing/2014/main" id="{A3C3900D-16C6-0A4C-360A-51D32D9B4FEF}"/>
              </a:ext>
            </a:extLst>
          </p:cNvPr>
          <p:cNvSpPr/>
          <p:nvPr/>
        </p:nvSpPr>
        <p:spPr>
          <a:xfrm>
            <a:off x="8361685" y="1451435"/>
            <a:ext cx="12991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Octoberfest - </a:t>
            </a:r>
            <a:r>
              <a:rPr lang="en-US" sz="1200" b="1" i="1" err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Graduaciones</a:t>
            </a:r>
            <a:endParaRPr lang="en-US" sz="1200" b="1" i="1">
              <a:solidFill>
                <a:srgbClr val="0A0F0D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32" name="Straight Connector 132">
            <a:extLst>
              <a:ext uri="{FF2B5EF4-FFF2-40B4-BE49-F238E27FC236}">
                <a16:creationId xmlns:a16="http://schemas.microsoft.com/office/drawing/2014/main" id="{EB48BFF4-342F-268A-CF2D-EC60F8BFB7C9}"/>
              </a:ext>
            </a:extLst>
          </p:cNvPr>
          <p:cNvCxnSpPr>
            <a:cxnSpLocks/>
          </p:cNvCxnSpPr>
          <p:nvPr/>
        </p:nvCxnSpPr>
        <p:spPr>
          <a:xfrm>
            <a:off x="6607175" y="1818235"/>
            <a:ext cx="0" cy="1008000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sp>
        <p:nvSpPr>
          <p:cNvPr id="33" name="Rectángulo 32">
            <a:extLst>
              <a:ext uri="{FF2B5EF4-FFF2-40B4-BE49-F238E27FC236}">
                <a16:creationId xmlns:a16="http://schemas.microsoft.com/office/drawing/2014/main" id="{EC448D41-4261-6ED5-BAB5-8EB32ECC1F74}"/>
              </a:ext>
            </a:extLst>
          </p:cNvPr>
          <p:cNvSpPr/>
          <p:nvPr/>
        </p:nvSpPr>
        <p:spPr>
          <a:xfrm>
            <a:off x="4589775" y="2792129"/>
            <a:ext cx="3996000" cy="237729"/>
          </a:xfrm>
          <a:prstGeom prst="rect">
            <a:avLst/>
          </a:prstGeom>
          <a:solidFill>
            <a:srgbClr val="61E1E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4" name="Rectangle 130">
            <a:extLst>
              <a:ext uri="{FF2B5EF4-FFF2-40B4-BE49-F238E27FC236}">
                <a16:creationId xmlns:a16="http://schemas.microsoft.com/office/drawing/2014/main" id="{13441441-EF62-526D-A31F-6EC6E73B82A4}"/>
              </a:ext>
            </a:extLst>
          </p:cNvPr>
          <p:cNvSpPr/>
          <p:nvPr/>
        </p:nvSpPr>
        <p:spPr>
          <a:xfrm>
            <a:off x="6051362" y="1458059"/>
            <a:ext cx="11006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Lluvia</a:t>
            </a:r>
          </a:p>
          <a:p>
            <a:pPr algn="ctr"/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(Alka AD)</a:t>
            </a:r>
          </a:p>
        </p:txBody>
      </p:sp>
      <p:sp>
        <p:nvSpPr>
          <p:cNvPr id="35" name="Rectangle 130">
            <a:extLst>
              <a:ext uri="{FF2B5EF4-FFF2-40B4-BE49-F238E27FC236}">
                <a16:creationId xmlns:a16="http://schemas.microsoft.com/office/drawing/2014/main" id="{463F937C-8966-8C44-77B2-4CB8AA5DDBA1}"/>
              </a:ext>
            </a:extLst>
          </p:cNvPr>
          <p:cNvSpPr/>
          <p:nvPr/>
        </p:nvSpPr>
        <p:spPr>
          <a:xfrm>
            <a:off x="3827043" y="4388159"/>
            <a:ext cx="13785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Dia del </a:t>
            </a:r>
            <a:r>
              <a:rPr lang="en-US" sz="1200" b="1" i="1" err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Trabajo</a:t>
            </a:r>
            <a:endParaRPr lang="en-US" sz="1200" b="1" i="1">
              <a:solidFill>
                <a:srgbClr val="0A0F0D"/>
              </a:solidFill>
              <a:latin typeface="Century Gothic" charset="0"/>
              <a:ea typeface="Century Gothic" charset="0"/>
              <a:cs typeface="Century Gothic" charset="0"/>
            </a:endParaRPr>
          </a:p>
          <a:p>
            <a:pPr algn="ctr">
              <a:defRPr/>
            </a:pPr>
            <a:r>
              <a:rPr lang="en-US" sz="1200" b="1" i="1" err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Elecciones</a:t>
            </a: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 (PA)</a:t>
            </a:r>
          </a:p>
        </p:txBody>
      </p:sp>
      <p:cxnSp>
        <p:nvCxnSpPr>
          <p:cNvPr id="36" name="Straight Connector 132">
            <a:extLst>
              <a:ext uri="{FF2B5EF4-FFF2-40B4-BE49-F238E27FC236}">
                <a16:creationId xmlns:a16="http://schemas.microsoft.com/office/drawing/2014/main" id="{D649FD06-7A60-B175-D569-DB48B51980F9}"/>
              </a:ext>
            </a:extLst>
          </p:cNvPr>
          <p:cNvCxnSpPr>
            <a:cxnSpLocks/>
          </p:cNvCxnSpPr>
          <p:nvPr/>
        </p:nvCxnSpPr>
        <p:spPr>
          <a:xfrm>
            <a:off x="2210674" y="3157426"/>
            <a:ext cx="0" cy="1008000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pic>
        <p:nvPicPr>
          <p:cNvPr id="37" name="Picture 2" descr="Grammy Awards postponed until March - Valley Cultural Foundation">
            <a:extLst>
              <a:ext uri="{FF2B5EF4-FFF2-40B4-BE49-F238E27FC236}">
                <a16:creationId xmlns:a16="http://schemas.microsoft.com/office/drawing/2014/main" id="{3FDE0D37-249E-B21A-B8E3-8EB75B4386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3913" y="4176236"/>
            <a:ext cx="1111867" cy="833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" descr="Premios Tu Música Urbano - NBC.com">
            <a:extLst>
              <a:ext uri="{FF2B5EF4-FFF2-40B4-BE49-F238E27FC236}">
                <a16:creationId xmlns:a16="http://schemas.microsoft.com/office/drawing/2014/main" id="{6165F2C9-8DCD-1D5B-4700-A530D529CC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EAE7D8"/>
              </a:clrFrom>
              <a:clrTo>
                <a:srgbClr val="EAE7D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2450" y="3687538"/>
            <a:ext cx="1064302" cy="598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Straight Connector 132">
            <a:extLst>
              <a:ext uri="{FF2B5EF4-FFF2-40B4-BE49-F238E27FC236}">
                <a16:creationId xmlns:a16="http://schemas.microsoft.com/office/drawing/2014/main" id="{CF4AFA8D-026D-D26F-A898-F07358710A85}"/>
              </a:ext>
            </a:extLst>
          </p:cNvPr>
          <p:cNvCxnSpPr>
            <a:cxnSpLocks/>
          </p:cNvCxnSpPr>
          <p:nvPr/>
        </p:nvCxnSpPr>
        <p:spPr>
          <a:xfrm>
            <a:off x="5676711" y="3188899"/>
            <a:ext cx="0" cy="618604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cxnSp>
        <p:nvCxnSpPr>
          <p:cNvPr id="40" name="Straight Connector 132">
            <a:extLst>
              <a:ext uri="{FF2B5EF4-FFF2-40B4-BE49-F238E27FC236}">
                <a16:creationId xmlns:a16="http://schemas.microsoft.com/office/drawing/2014/main" id="{DBB3427E-F616-8396-20AF-02035BAD2F42}"/>
              </a:ext>
            </a:extLst>
          </p:cNvPr>
          <p:cNvCxnSpPr>
            <a:cxnSpLocks/>
          </p:cNvCxnSpPr>
          <p:nvPr/>
        </p:nvCxnSpPr>
        <p:spPr>
          <a:xfrm>
            <a:off x="7277905" y="3201322"/>
            <a:ext cx="0" cy="682177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sp>
        <p:nvSpPr>
          <p:cNvPr id="41" name="CuadroTexto 40">
            <a:extLst>
              <a:ext uri="{FF2B5EF4-FFF2-40B4-BE49-F238E27FC236}">
                <a16:creationId xmlns:a16="http://schemas.microsoft.com/office/drawing/2014/main" id="{7789788F-D519-2B9D-9E83-D1BFA095BE95}"/>
              </a:ext>
            </a:extLst>
          </p:cNvPr>
          <p:cNvSpPr txBox="1"/>
          <p:nvPr/>
        </p:nvSpPr>
        <p:spPr>
          <a:xfrm>
            <a:off x="1199196" y="5518784"/>
            <a:ext cx="101047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900" b="1" dirty="0">
                <a:solidFill>
                  <a:srgbClr val="0A0F0D"/>
                </a:solidFill>
                <a:latin typeface="Century Gothic"/>
              </a:rPr>
              <a:t>Grammy: </a:t>
            </a:r>
            <a:r>
              <a:rPr lang="es-MX" sz="900" dirty="0">
                <a:solidFill>
                  <a:srgbClr val="0A0F0D"/>
                </a:solidFill>
                <a:latin typeface="Century Gothic"/>
              </a:rPr>
              <a:t>Son una distinción otorgada por la Academia Nacional de Artes y Ciencias de la Grabación de Estados Unidos.</a:t>
            </a:r>
          </a:p>
          <a:p>
            <a:r>
              <a:rPr lang="es-MX" sz="900" b="1" dirty="0">
                <a:solidFill>
                  <a:srgbClr val="0A0F0D"/>
                </a:solidFill>
                <a:latin typeface="Century Gothic"/>
              </a:rPr>
              <a:t>Premios “Tu música urbano”: </a:t>
            </a:r>
            <a:r>
              <a:rPr lang="es-MX" sz="900" dirty="0">
                <a:solidFill>
                  <a:srgbClr val="0A0F0D"/>
                </a:solidFill>
                <a:latin typeface="Century Gothic"/>
              </a:rPr>
              <a:t>Son galardones concebidos por Telemundo Puerto Rico para reconocer a los artistas que «trascendieron e impulsaron el éxito de la música urbana.</a:t>
            </a:r>
          </a:p>
          <a:p>
            <a:r>
              <a:rPr lang="es-MX" sz="900" b="1" dirty="0">
                <a:solidFill>
                  <a:srgbClr val="0A0F0D"/>
                </a:solidFill>
                <a:latin typeface="Century Gothic"/>
              </a:rPr>
              <a:t>MTV </a:t>
            </a:r>
            <a:r>
              <a:rPr lang="es-MX" sz="900" b="1" dirty="0" err="1">
                <a:solidFill>
                  <a:srgbClr val="0A0F0D"/>
                </a:solidFill>
                <a:latin typeface="Century Gothic"/>
              </a:rPr>
              <a:t>VMA’s</a:t>
            </a:r>
            <a:r>
              <a:rPr lang="es-MX" sz="900" b="1" dirty="0">
                <a:solidFill>
                  <a:srgbClr val="0A0F0D"/>
                </a:solidFill>
                <a:latin typeface="Century Gothic"/>
              </a:rPr>
              <a:t>: </a:t>
            </a:r>
            <a:r>
              <a:rPr lang="es-MX" sz="900" dirty="0">
                <a:solidFill>
                  <a:srgbClr val="0A0F0D"/>
                </a:solidFill>
                <a:latin typeface="Century Gothic"/>
              </a:rPr>
              <a:t>Son los premios creados en 1984 por el canal de televisión MTV para destacar a los mejores videos musicales del año.</a:t>
            </a:r>
          </a:p>
          <a:p>
            <a:r>
              <a:rPr lang="es-MX" sz="900" b="1" dirty="0">
                <a:solidFill>
                  <a:srgbClr val="0A0F0D"/>
                </a:solidFill>
                <a:latin typeface="Century Gothic"/>
              </a:rPr>
              <a:t>Premios </a:t>
            </a:r>
            <a:r>
              <a:rPr lang="es-MX" sz="900" b="1" dirty="0" err="1">
                <a:solidFill>
                  <a:srgbClr val="0A0F0D"/>
                </a:solidFill>
                <a:latin typeface="Century Gothic"/>
              </a:rPr>
              <a:t>Billboard</a:t>
            </a:r>
            <a:r>
              <a:rPr lang="es-MX" sz="900" b="1" dirty="0">
                <a:solidFill>
                  <a:srgbClr val="0A0F0D"/>
                </a:solidFill>
                <a:latin typeface="Century Gothic"/>
              </a:rPr>
              <a:t> de la Música Latina:</a:t>
            </a:r>
            <a:r>
              <a:rPr lang="es-MX" sz="900" dirty="0">
                <a:solidFill>
                  <a:srgbClr val="0A0F0D"/>
                </a:solidFill>
                <a:latin typeface="Century Gothic"/>
              </a:rPr>
              <a:t> De la revista </a:t>
            </a:r>
            <a:r>
              <a:rPr lang="es-MX" sz="900" dirty="0" err="1">
                <a:solidFill>
                  <a:srgbClr val="0A0F0D"/>
                </a:solidFill>
                <a:latin typeface="Century Gothic"/>
              </a:rPr>
              <a:t>Billboard</a:t>
            </a:r>
            <a:r>
              <a:rPr lang="es-MX" sz="900" dirty="0">
                <a:solidFill>
                  <a:srgbClr val="0A0F0D"/>
                </a:solidFill>
                <a:latin typeface="Century Gothic"/>
              </a:rPr>
              <a:t>, una publicación de la industria que registra el éxito de las ventas y la difusión radial de las grabaciones musicales.</a:t>
            </a:r>
          </a:p>
        </p:txBody>
      </p:sp>
      <p:cxnSp>
        <p:nvCxnSpPr>
          <p:cNvPr id="42" name="Straight Connector 132">
            <a:extLst>
              <a:ext uri="{FF2B5EF4-FFF2-40B4-BE49-F238E27FC236}">
                <a16:creationId xmlns:a16="http://schemas.microsoft.com/office/drawing/2014/main" id="{0C21C30C-B0DB-9B7E-1B13-72E527197E09}"/>
              </a:ext>
            </a:extLst>
          </p:cNvPr>
          <p:cNvCxnSpPr>
            <a:cxnSpLocks/>
          </p:cNvCxnSpPr>
          <p:nvPr/>
        </p:nvCxnSpPr>
        <p:spPr>
          <a:xfrm>
            <a:off x="7447697" y="3188899"/>
            <a:ext cx="0" cy="1243980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sp>
        <p:nvSpPr>
          <p:cNvPr id="43" name="Rectangle 130">
            <a:extLst>
              <a:ext uri="{FF2B5EF4-FFF2-40B4-BE49-F238E27FC236}">
                <a16:creationId xmlns:a16="http://schemas.microsoft.com/office/drawing/2014/main" id="{B40CA4B5-C01E-B8C3-9EE9-5367920B00FF}"/>
              </a:ext>
            </a:extLst>
          </p:cNvPr>
          <p:cNvSpPr/>
          <p:nvPr/>
        </p:nvSpPr>
        <p:spPr>
          <a:xfrm>
            <a:off x="6673018" y="4454283"/>
            <a:ext cx="14639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Fiestas </a:t>
            </a:r>
            <a:r>
              <a:rPr lang="en-US" sz="1200" b="1" i="1" err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Agostinas</a:t>
            </a: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 (ES)</a:t>
            </a:r>
          </a:p>
        </p:txBody>
      </p:sp>
      <p:cxnSp>
        <p:nvCxnSpPr>
          <p:cNvPr id="44" name="Straight Connector 132">
            <a:extLst>
              <a:ext uri="{FF2B5EF4-FFF2-40B4-BE49-F238E27FC236}">
                <a16:creationId xmlns:a16="http://schemas.microsoft.com/office/drawing/2014/main" id="{E16AA53C-C4E7-F410-50F1-267FA0B40263}"/>
              </a:ext>
            </a:extLst>
          </p:cNvPr>
          <p:cNvCxnSpPr>
            <a:cxnSpLocks/>
          </p:cNvCxnSpPr>
          <p:nvPr/>
        </p:nvCxnSpPr>
        <p:spPr>
          <a:xfrm>
            <a:off x="6171566" y="3153831"/>
            <a:ext cx="0" cy="1291995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sp>
        <p:nvSpPr>
          <p:cNvPr id="45" name="Rectangle 130">
            <a:extLst>
              <a:ext uri="{FF2B5EF4-FFF2-40B4-BE49-F238E27FC236}">
                <a16:creationId xmlns:a16="http://schemas.microsoft.com/office/drawing/2014/main" id="{86E4A2D8-0542-FF66-DFB0-95802889DFA2}"/>
              </a:ext>
            </a:extLst>
          </p:cNvPr>
          <p:cNvSpPr/>
          <p:nvPr/>
        </p:nvSpPr>
        <p:spPr>
          <a:xfrm>
            <a:off x="5490037" y="4464699"/>
            <a:ext cx="14639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Fiestas </a:t>
            </a:r>
            <a:r>
              <a:rPr lang="en-US" sz="1200" b="1" i="1" err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Julias</a:t>
            </a: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 (Sta. Ana ES)</a:t>
            </a:r>
          </a:p>
        </p:txBody>
      </p:sp>
      <p:cxnSp>
        <p:nvCxnSpPr>
          <p:cNvPr id="46" name="Straight Connector 132">
            <a:extLst>
              <a:ext uri="{FF2B5EF4-FFF2-40B4-BE49-F238E27FC236}">
                <a16:creationId xmlns:a16="http://schemas.microsoft.com/office/drawing/2014/main" id="{1CCC6DC5-DD36-D03D-A36C-38FEACAAEE8B}"/>
              </a:ext>
            </a:extLst>
          </p:cNvPr>
          <p:cNvCxnSpPr>
            <a:cxnSpLocks/>
          </p:cNvCxnSpPr>
          <p:nvPr/>
        </p:nvCxnSpPr>
        <p:spPr>
          <a:xfrm>
            <a:off x="4528286" y="3128932"/>
            <a:ext cx="0" cy="618604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sp>
        <p:nvSpPr>
          <p:cNvPr id="47" name="Rectangle 130">
            <a:extLst>
              <a:ext uri="{FF2B5EF4-FFF2-40B4-BE49-F238E27FC236}">
                <a16:creationId xmlns:a16="http://schemas.microsoft.com/office/drawing/2014/main" id="{6DF9930B-030D-86AD-EF72-2F089EF80DCD}"/>
              </a:ext>
            </a:extLst>
          </p:cNvPr>
          <p:cNvSpPr/>
          <p:nvPr/>
        </p:nvSpPr>
        <p:spPr>
          <a:xfrm>
            <a:off x="3813616" y="3771687"/>
            <a:ext cx="13785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Carnaval LC</a:t>
            </a:r>
          </a:p>
          <a:p>
            <a:pPr algn="ctr">
              <a:defRPr/>
            </a:pP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(HN)</a:t>
            </a:r>
          </a:p>
        </p:txBody>
      </p:sp>
      <p:cxnSp>
        <p:nvCxnSpPr>
          <p:cNvPr id="48" name="Straight Connector 132">
            <a:extLst>
              <a:ext uri="{FF2B5EF4-FFF2-40B4-BE49-F238E27FC236}">
                <a16:creationId xmlns:a16="http://schemas.microsoft.com/office/drawing/2014/main" id="{44C5697D-B245-6837-DDCF-BC917F360622}"/>
              </a:ext>
            </a:extLst>
          </p:cNvPr>
          <p:cNvCxnSpPr>
            <a:cxnSpLocks/>
          </p:cNvCxnSpPr>
          <p:nvPr/>
        </p:nvCxnSpPr>
        <p:spPr>
          <a:xfrm flipH="1">
            <a:off x="8642633" y="3209721"/>
            <a:ext cx="57265" cy="1752401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sp>
        <p:nvSpPr>
          <p:cNvPr id="49" name="Rectangle 130">
            <a:extLst>
              <a:ext uri="{FF2B5EF4-FFF2-40B4-BE49-F238E27FC236}">
                <a16:creationId xmlns:a16="http://schemas.microsoft.com/office/drawing/2014/main" id="{7859EC80-66FB-2042-7EC3-D6A474FB6404}"/>
              </a:ext>
            </a:extLst>
          </p:cNvPr>
          <p:cNvSpPr/>
          <p:nvPr/>
        </p:nvSpPr>
        <p:spPr>
          <a:xfrm>
            <a:off x="7944312" y="4996774"/>
            <a:ext cx="14639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Semana </a:t>
            </a:r>
            <a:r>
              <a:rPr lang="en-US" sz="1200" b="1" i="1" err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Morazánica</a:t>
            </a: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(HN)</a:t>
            </a:r>
          </a:p>
        </p:txBody>
      </p:sp>
      <p:cxnSp>
        <p:nvCxnSpPr>
          <p:cNvPr id="50" name="Straight Connector 132">
            <a:extLst>
              <a:ext uri="{FF2B5EF4-FFF2-40B4-BE49-F238E27FC236}">
                <a16:creationId xmlns:a16="http://schemas.microsoft.com/office/drawing/2014/main" id="{89C0C7F6-64E0-D8F5-9842-EE1502EABE76}"/>
              </a:ext>
            </a:extLst>
          </p:cNvPr>
          <p:cNvCxnSpPr>
            <a:cxnSpLocks/>
          </p:cNvCxnSpPr>
          <p:nvPr/>
        </p:nvCxnSpPr>
        <p:spPr>
          <a:xfrm>
            <a:off x="2105384" y="2518348"/>
            <a:ext cx="0" cy="635483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sp>
        <p:nvSpPr>
          <p:cNvPr id="51" name="Rectangle 130">
            <a:extLst>
              <a:ext uri="{FF2B5EF4-FFF2-40B4-BE49-F238E27FC236}">
                <a16:creationId xmlns:a16="http://schemas.microsoft.com/office/drawing/2014/main" id="{50C5BB5A-84A3-7FB1-56A8-75E01682132C}"/>
              </a:ext>
            </a:extLst>
          </p:cNvPr>
          <p:cNvSpPr/>
          <p:nvPr/>
        </p:nvSpPr>
        <p:spPr>
          <a:xfrm>
            <a:off x="1446630" y="2035862"/>
            <a:ext cx="13785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PICNIC</a:t>
            </a:r>
          </a:p>
          <a:p>
            <a:pPr algn="ctr">
              <a:defRPr/>
            </a:pP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Urban Fest (CR)</a:t>
            </a:r>
          </a:p>
        </p:txBody>
      </p:sp>
      <p:pic>
        <p:nvPicPr>
          <p:cNvPr id="52" name="Picture 6">
            <a:extLst>
              <a:ext uri="{FF2B5EF4-FFF2-40B4-BE49-F238E27FC236}">
                <a16:creationId xmlns:a16="http://schemas.microsoft.com/office/drawing/2014/main" id="{31D1DDB5-E697-04C6-2EFB-66FDE3CB2E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9835" y="3721786"/>
            <a:ext cx="960527" cy="415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3" name="Straight Connector 132">
            <a:extLst>
              <a:ext uri="{FF2B5EF4-FFF2-40B4-BE49-F238E27FC236}">
                <a16:creationId xmlns:a16="http://schemas.microsoft.com/office/drawing/2014/main" id="{0D2EB1A9-AE2B-4E79-4D95-3C5C995CA091}"/>
              </a:ext>
            </a:extLst>
          </p:cNvPr>
          <p:cNvCxnSpPr>
            <a:cxnSpLocks/>
          </p:cNvCxnSpPr>
          <p:nvPr/>
        </p:nvCxnSpPr>
        <p:spPr>
          <a:xfrm>
            <a:off x="9016764" y="3209721"/>
            <a:ext cx="0" cy="682177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pic>
        <p:nvPicPr>
          <p:cNvPr id="54" name="Picture 8" descr="Billboard Latin Music Awards - Wikipedia">
            <a:extLst>
              <a:ext uri="{FF2B5EF4-FFF2-40B4-BE49-F238E27FC236}">
                <a16:creationId xmlns:a16="http://schemas.microsoft.com/office/drawing/2014/main" id="{CDCE2754-EAAF-E82B-985E-E70F243DE5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3259" y="3701360"/>
            <a:ext cx="639580" cy="281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Rectangle 130">
            <a:extLst>
              <a:ext uri="{FF2B5EF4-FFF2-40B4-BE49-F238E27FC236}">
                <a16:creationId xmlns:a16="http://schemas.microsoft.com/office/drawing/2014/main" id="{5A0E4CFA-68F7-7AD2-C522-24F06B0B3A1F}"/>
              </a:ext>
            </a:extLst>
          </p:cNvPr>
          <p:cNvSpPr/>
          <p:nvPr/>
        </p:nvSpPr>
        <p:spPr>
          <a:xfrm>
            <a:off x="6414179" y="1948319"/>
            <a:ext cx="1827573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MX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Fundación de Panama La </a:t>
            </a:r>
            <a:r>
              <a:rPr lang="en-US" sz="1200" b="1" i="1" err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Vieja</a:t>
            </a:r>
            <a:endParaRPr lang="en-US" sz="1200" b="1" i="1">
              <a:solidFill>
                <a:srgbClr val="0A0F0D"/>
              </a:solidFill>
              <a:latin typeface="Century Gothic" charset="0"/>
              <a:ea typeface="Century Gothic" charset="0"/>
              <a:cs typeface="Century Gothic" charset="0"/>
            </a:endParaRPr>
          </a:p>
          <a:p>
            <a:pPr algn="ctr">
              <a:defRPr/>
            </a:pPr>
            <a:r>
              <a:rPr lang="en-US" sz="1200" b="1" i="1" err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Inauguración</a:t>
            </a: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 del Canal (PA)</a:t>
            </a:r>
          </a:p>
        </p:txBody>
      </p:sp>
      <p:sp>
        <p:nvSpPr>
          <p:cNvPr id="56" name="Rectangle 130">
            <a:extLst>
              <a:ext uri="{FF2B5EF4-FFF2-40B4-BE49-F238E27FC236}">
                <a16:creationId xmlns:a16="http://schemas.microsoft.com/office/drawing/2014/main" id="{A923E8E5-3CA4-29F3-1CCD-844DF8315B47}"/>
              </a:ext>
            </a:extLst>
          </p:cNvPr>
          <p:cNvSpPr/>
          <p:nvPr/>
        </p:nvSpPr>
        <p:spPr>
          <a:xfrm>
            <a:off x="653023" y="1391660"/>
            <a:ext cx="134688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DO" sz="8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Día de Reyes, Padre de la Paria, Virgen de las Altagracia Patrona </a:t>
            </a:r>
          </a:p>
          <a:p>
            <a:pPr algn="ctr">
              <a:defRPr/>
            </a:pPr>
            <a:r>
              <a:rPr lang="es-DO" sz="8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Festivos (RD)</a:t>
            </a:r>
            <a:endParaRPr lang="es-VE" sz="800" b="1" i="1">
              <a:solidFill>
                <a:srgbClr val="0A0F0D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57" name="Straight Connector 132">
            <a:extLst>
              <a:ext uri="{FF2B5EF4-FFF2-40B4-BE49-F238E27FC236}">
                <a16:creationId xmlns:a16="http://schemas.microsoft.com/office/drawing/2014/main" id="{2A2659F8-E171-3260-8145-B320E9386412}"/>
              </a:ext>
            </a:extLst>
          </p:cNvPr>
          <p:cNvCxnSpPr>
            <a:cxnSpLocks/>
          </p:cNvCxnSpPr>
          <p:nvPr/>
        </p:nvCxnSpPr>
        <p:spPr>
          <a:xfrm>
            <a:off x="1349376" y="2035862"/>
            <a:ext cx="0" cy="1136918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sp>
        <p:nvSpPr>
          <p:cNvPr id="58" name="Rectangle 130">
            <a:extLst>
              <a:ext uri="{FF2B5EF4-FFF2-40B4-BE49-F238E27FC236}">
                <a16:creationId xmlns:a16="http://schemas.microsoft.com/office/drawing/2014/main" id="{E83D90A7-E7A7-8834-7921-21BD33DF12DC}"/>
              </a:ext>
            </a:extLst>
          </p:cNvPr>
          <p:cNvSpPr/>
          <p:nvPr/>
        </p:nvSpPr>
        <p:spPr>
          <a:xfrm>
            <a:off x="1446630" y="3576670"/>
            <a:ext cx="146393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i="1" err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Carnavales</a:t>
            </a: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******</a:t>
            </a:r>
          </a:p>
        </p:txBody>
      </p:sp>
      <p:sp>
        <p:nvSpPr>
          <p:cNvPr id="59" name="Título 1">
            <a:extLst>
              <a:ext uri="{FF2B5EF4-FFF2-40B4-BE49-F238E27FC236}">
                <a16:creationId xmlns:a16="http://schemas.microsoft.com/office/drawing/2014/main" id="{8D3DDA43-2A18-3F03-A1F9-F2150B83872F}"/>
              </a:ext>
            </a:extLst>
          </p:cNvPr>
          <p:cNvSpPr txBox="1">
            <a:spLocks/>
          </p:cNvSpPr>
          <p:nvPr/>
        </p:nvSpPr>
        <p:spPr>
          <a:xfrm>
            <a:off x="713309" y="285679"/>
            <a:ext cx="7648375" cy="4498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2400" b="1" dirty="0"/>
              <a:t>MOMENTOS HVA</a:t>
            </a:r>
          </a:p>
        </p:txBody>
      </p:sp>
    </p:spTree>
    <p:extLst>
      <p:ext uri="{BB962C8B-B14F-4D97-AF65-F5344CB8AC3E}">
        <p14:creationId xmlns:p14="http://schemas.microsoft.com/office/powerpoint/2010/main" val="12052070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DB3DF16B-3890-0A87-406B-D85069B16A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4D21D331-3F8A-3627-5511-59396BF7AD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26</a:t>
            </a:fld>
            <a:endParaRPr lang="en-GB"/>
          </a:p>
        </p:txBody>
      </p:sp>
      <p:cxnSp>
        <p:nvCxnSpPr>
          <p:cNvPr id="6" name="Straight Connector 132">
            <a:extLst>
              <a:ext uri="{FF2B5EF4-FFF2-40B4-BE49-F238E27FC236}">
                <a16:creationId xmlns:a16="http://schemas.microsoft.com/office/drawing/2014/main" id="{63141CBA-EF53-BAA0-D058-2A9278D9243C}"/>
              </a:ext>
            </a:extLst>
          </p:cNvPr>
          <p:cNvCxnSpPr>
            <a:cxnSpLocks/>
          </p:cNvCxnSpPr>
          <p:nvPr/>
        </p:nvCxnSpPr>
        <p:spPr>
          <a:xfrm>
            <a:off x="3530350" y="2578308"/>
            <a:ext cx="0" cy="565761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cxnSp>
        <p:nvCxnSpPr>
          <p:cNvPr id="7" name="Straight Connector 132">
            <a:extLst>
              <a:ext uri="{FF2B5EF4-FFF2-40B4-BE49-F238E27FC236}">
                <a16:creationId xmlns:a16="http://schemas.microsoft.com/office/drawing/2014/main" id="{F1654B7B-8F1B-CF8E-C7E4-E07E63DB2FA5}"/>
              </a:ext>
            </a:extLst>
          </p:cNvPr>
          <p:cNvCxnSpPr>
            <a:cxnSpLocks/>
          </p:cNvCxnSpPr>
          <p:nvPr/>
        </p:nvCxnSpPr>
        <p:spPr>
          <a:xfrm>
            <a:off x="2100440" y="3605759"/>
            <a:ext cx="0" cy="771369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sp>
        <p:nvSpPr>
          <p:cNvPr id="8" name="Rectángulo 7">
            <a:extLst>
              <a:ext uri="{FF2B5EF4-FFF2-40B4-BE49-F238E27FC236}">
                <a16:creationId xmlns:a16="http://schemas.microsoft.com/office/drawing/2014/main" id="{A9B766C7-0679-573B-9FEB-38712CDF61A9}"/>
              </a:ext>
            </a:extLst>
          </p:cNvPr>
          <p:cNvSpPr/>
          <p:nvPr/>
        </p:nvSpPr>
        <p:spPr>
          <a:xfrm>
            <a:off x="1815547" y="3140764"/>
            <a:ext cx="3384000" cy="237729"/>
          </a:xfrm>
          <a:prstGeom prst="rect">
            <a:avLst/>
          </a:prstGeom>
          <a:solidFill>
            <a:srgbClr val="61E1E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526350F1-DA21-6370-133E-252864C971D5}"/>
              </a:ext>
            </a:extLst>
          </p:cNvPr>
          <p:cNvSpPr/>
          <p:nvPr/>
        </p:nvSpPr>
        <p:spPr>
          <a:xfrm>
            <a:off x="6808364" y="3115285"/>
            <a:ext cx="4176000" cy="237729"/>
          </a:xfrm>
          <a:prstGeom prst="rect">
            <a:avLst/>
          </a:prstGeom>
          <a:solidFill>
            <a:srgbClr val="61E1E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10" name="Picture 4" descr="National Football League - Wikipedia">
            <a:extLst>
              <a:ext uri="{FF2B5EF4-FFF2-40B4-BE49-F238E27FC236}">
                <a16:creationId xmlns:a16="http://schemas.microsoft.com/office/drawing/2014/main" id="{EE3530C7-86BF-A7B5-B4CF-148F79617E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1908" y="4404239"/>
            <a:ext cx="357063" cy="490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Connector 132">
            <a:extLst>
              <a:ext uri="{FF2B5EF4-FFF2-40B4-BE49-F238E27FC236}">
                <a16:creationId xmlns:a16="http://schemas.microsoft.com/office/drawing/2014/main" id="{F3027B9F-694C-16F6-4C04-F7CCF7215C16}"/>
              </a:ext>
            </a:extLst>
          </p:cNvPr>
          <p:cNvCxnSpPr>
            <a:cxnSpLocks/>
          </p:cNvCxnSpPr>
          <p:nvPr/>
        </p:nvCxnSpPr>
        <p:spPr>
          <a:xfrm>
            <a:off x="7837306" y="2608289"/>
            <a:ext cx="0" cy="535780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pic>
        <p:nvPicPr>
          <p:cNvPr id="12" name="Picture 2" descr="Filtración: La UEFA actualizará el logo de la Champions League este 2021 —  Brandemia">
            <a:extLst>
              <a:ext uri="{FF2B5EF4-FFF2-40B4-BE49-F238E27FC236}">
                <a16:creationId xmlns:a16="http://schemas.microsoft.com/office/drawing/2014/main" id="{90C6BBFC-D0DC-A5C3-99F3-DDE05BC0BC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04" t="14517" r="29462" b="14374"/>
          <a:stretch/>
        </p:blipFill>
        <p:spPr bwMode="auto">
          <a:xfrm>
            <a:off x="5841835" y="3916490"/>
            <a:ext cx="871805" cy="847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32">
            <a:extLst>
              <a:ext uri="{FF2B5EF4-FFF2-40B4-BE49-F238E27FC236}">
                <a16:creationId xmlns:a16="http://schemas.microsoft.com/office/drawing/2014/main" id="{E70A94DF-5C42-D33B-58D5-A578D2C42554}"/>
              </a:ext>
            </a:extLst>
          </p:cNvPr>
          <p:cNvCxnSpPr>
            <a:cxnSpLocks/>
          </p:cNvCxnSpPr>
          <p:nvPr/>
        </p:nvCxnSpPr>
        <p:spPr>
          <a:xfrm flipH="1">
            <a:off x="4706311" y="4075610"/>
            <a:ext cx="1204546" cy="0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cxnSp>
        <p:nvCxnSpPr>
          <p:cNvPr id="14" name="Straight Connector 132">
            <a:extLst>
              <a:ext uri="{FF2B5EF4-FFF2-40B4-BE49-F238E27FC236}">
                <a16:creationId xmlns:a16="http://schemas.microsoft.com/office/drawing/2014/main" id="{DDD56151-70CD-FCE6-65DC-55E76EDB7F61}"/>
              </a:ext>
            </a:extLst>
          </p:cNvPr>
          <p:cNvCxnSpPr>
            <a:cxnSpLocks/>
          </p:cNvCxnSpPr>
          <p:nvPr/>
        </p:nvCxnSpPr>
        <p:spPr>
          <a:xfrm flipH="1">
            <a:off x="6556375" y="4076635"/>
            <a:ext cx="1204546" cy="0"/>
          </a:xfrm>
          <a:prstGeom prst="line">
            <a:avLst/>
          </a:prstGeom>
          <a:noFill/>
          <a:ln w="19050" cap="flat" cmpd="sng" algn="ctr">
            <a:solidFill>
              <a:srgbClr val="89D328"/>
            </a:solidFill>
            <a:prstDash val="dash"/>
            <a:miter lim="800000"/>
          </a:ln>
          <a:effectLst/>
        </p:spPr>
      </p:cxnSp>
      <p:sp>
        <p:nvSpPr>
          <p:cNvPr id="15" name="Rectangle 130">
            <a:extLst>
              <a:ext uri="{FF2B5EF4-FFF2-40B4-BE49-F238E27FC236}">
                <a16:creationId xmlns:a16="http://schemas.microsoft.com/office/drawing/2014/main" id="{DA831D1C-DBE4-CAB8-3913-6B5B0A83AF80}"/>
              </a:ext>
            </a:extLst>
          </p:cNvPr>
          <p:cNvSpPr/>
          <p:nvPr/>
        </p:nvSpPr>
        <p:spPr>
          <a:xfrm>
            <a:off x="3054052" y="2068950"/>
            <a:ext cx="11006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i="1" err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Ligas</a:t>
            </a: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 locales</a:t>
            </a:r>
          </a:p>
        </p:txBody>
      </p:sp>
      <p:sp>
        <p:nvSpPr>
          <p:cNvPr id="16" name="Rectangle 130">
            <a:extLst>
              <a:ext uri="{FF2B5EF4-FFF2-40B4-BE49-F238E27FC236}">
                <a16:creationId xmlns:a16="http://schemas.microsoft.com/office/drawing/2014/main" id="{6A7DFE4A-3209-AB96-115A-1241D0CB56DE}"/>
              </a:ext>
            </a:extLst>
          </p:cNvPr>
          <p:cNvSpPr/>
          <p:nvPr/>
        </p:nvSpPr>
        <p:spPr>
          <a:xfrm>
            <a:off x="7265921" y="2042124"/>
            <a:ext cx="11006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i="1" err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Ligas</a:t>
            </a:r>
            <a:r>
              <a:rPr lang="en-US" sz="1200" b="1" i="1">
                <a:solidFill>
                  <a:srgbClr val="0A0F0D"/>
                </a:solidFill>
                <a:latin typeface="Century Gothic" charset="0"/>
                <a:ea typeface="Century Gothic" charset="0"/>
                <a:cs typeface="Century Gothic" charset="0"/>
              </a:rPr>
              <a:t> locales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865D5B7A-CE27-432C-19BA-91E4698CDC65}"/>
              </a:ext>
            </a:extLst>
          </p:cNvPr>
          <p:cNvSpPr/>
          <p:nvPr/>
        </p:nvSpPr>
        <p:spPr>
          <a:xfrm>
            <a:off x="2424967" y="3956746"/>
            <a:ext cx="3024000" cy="237729"/>
          </a:xfrm>
          <a:prstGeom prst="rect">
            <a:avLst/>
          </a:prstGeom>
          <a:solidFill>
            <a:srgbClr val="61E1E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494418CC-D923-6B2B-DB46-F3FCC3647FCF}"/>
              </a:ext>
            </a:extLst>
          </p:cNvPr>
          <p:cNvSpPr/>
          <p:nvPr/>
        </p:nvSpPr>
        <p:spPr>
          <a:xfrm>
            <a:off x="7020228" y="3931267"/>
            <a:ext cx="3996799" cy="237729"/>
          </a:xfrm>
          <a:prstGeom prst="rect">
            <a:avLst/>
          </a:prstGeom>
          <a:solidFill>
            <a:srgbClr val="61E1E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19" name="Table 5">
            <a:extLst>
              <a:ext uri="{FF2B5EF4-FFF2-40B4-BE49-F238E27FC236}">
                <a16:creationId xmlns:a16="http://schemas.microsoft.com/office/drawing/2014/main" id="{50A099D8-E897-511A-503C-3CA86C29A0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3716758"/>
              </p:ext>
            </p:extLst>
          </p:nvPr>
        </p:nvGraphicFramePr>
        <p:xfrm>
          <a:off x="-135996" y="3547277"/>
          <a:ext cx="11820522" cy="415728"/>
        </p:xfrm>
        <a:graphic>
          <a:graphicData uri="http://schemas.openxmlformats.org/drawingml/2006/table">
            <a:tbl>
              <a:tblPr firstRow="1" bandRow="1"/>
              <a:tblGrid>
                <a:gridCol w="844323">
                  <a:extLst>
                    <a:ext uri="{9D8B030D-6E8A-4147-A177-3AD203B41FA5}">
                      <a16:colId xmlns:a16="http://schemas.microsoft.com/office/drawing/2014/main" val="1593792559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3438921003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3051877902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1196981997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2096118180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2295189328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3800751575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2290388342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2570168877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1412013445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2857917584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2277700853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3910956018"/>
                    </a:ext>
                  </a:extLst>
                </a:gridCol>
                <a:gridCol w="844323">
                  <a:extLst>
                    <a:ext uri="{9D8B030D-6E8A-4147-A177-3AD203B41FA5}">
                      <a16:colId xmlns:a16="http://schemas.microsoft.com/office/drawing/2014/main" val="3741023255"/>
                    </a:ext>
                  </a:extLst>
                </a:gridCol>
              </a:tblGrid>
              <a:tr h="415728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Ja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Feb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Ma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Ap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May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Ju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Ju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Au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Sep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Oc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Nov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0">
                          <a:solidFill>
                            <a:schemeClr val="tx1"/>
                          </a:solidFill>
                          <a:latin typeface="Century Gothic" charset="0"/>
                          <a:ea typeface="Century Gothic" charset="0"/>
                          <a:cs typeface="Century Gothic" charset="0"/>
                        </a:rPr>
                        <a:t>Dec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400" b="1">
                        <a:solidFill>
                          <a:schemeClr val="tx1"/>
                        </a:solidFill>
                        <a:latin typeface="Century Gothic" charset="0"/>
                        <a:ea typeface="Century Gothic" charset="0"/>
                        <a:cs typeface="Century Gothic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5697278"/>
                  </a:ext>
                </a:extLst>
              </a:tr>
            </a:tbl>
          </a:graphicData>
        </a:graphic>
      </p:graphicFrame>
      <p:cxnSp>
        <p:nvCxnSpPr>
          <p:cNvPr id="20" name="Straight Connector 27">
            <a:extLst>
              <a:ext uri="{FF2B5EF4-FFF2-40B4-BE49-F238E27FC236}">
                <a16:creationId xmlns:a16="http://schemas.microsoft.com/office/drawing/2014/main" id="{A0D94378-37EF-F526-50CE-3112E1D81B07}"/>
              </a:ext>
            </a:extLst>
          </p:cNvPr>
          <p:cNvCxnSpPr>
            <a:cxnSpLocks/>
          </p:cNvCxnSpPr>
          <p:nvPr/>
        </p:nvCxnSpPr>
        <p:spPr>
          <a:xfrm>
            <a:off x="1285617" y="3518681"/>
            <a:ext cx="9828000" cy="0"/>
          </a:xfrm>
          <a:prstGeom prst="line">
            <a:avLst/>
          </a:prstGeom>
          <a:noFill/>
          <a:ln w="31750" cap="flat" cmpd="sng" algn="ctr">
            <a:solidFill>
              <a:srgbClr val="8D99AE"/>
            </a:solidFill>
            <a:prstDash val="solid"/>
            <a:miter lim="800000"/>
          </a:ln>
          <a:effectLst/>
        </p:spPr>
      </p:cxnSp>
      <p:cxnSp>
        <p:nvCxnSpPr>
          <p:cNvPr id="21" name="Straight Connector 31">
            <a:extLst>
              <a:ext uri="{FF2B5EF4-FFF2-40B4-BE49-F238E27FC236}">
                <a16:creationId xmlns:a16="http://schemas.microsoft.com/office/drawing/2014/main" id="{F157E8B8-80F6-F794-1765-6163BCF9C0E2}"/>
              </a:ext>
            </a:extLst>
          </p:cNvPr>
          <p:cNvCxnSpPr>
            <a:cxnSpLocks/>
          </p:cNvCxnSpPr>
          <p:nvPr/>
        </p:nvCxnSpPr>
        <p:spPr>
          <a:xfrm>
            <a:off x="11111052" y="3389354"/>
            <a:ext cx="0" cy="258654"/>
          </a:xfrm>
          <a:prstGeom prst="line">
            <a:avLst/>
          </a:prstGeom>
          <a:noFill/>
          <a:ln w="31750" cap="flat" cmpd="sng" algn="ctr">
            <a:solidFill>
              <a:srgbClr val="8D99AE"/>
            </a:solidFill>
            <a:prstDash val="solid"/>
            <a:miter lim="800000"/>
          </a:ln>
          <a:effectLst/>
        </p:spPr>
      </p:cxnSp>
      <p:sp>
        <p:nvSpPr>
          <p:cNvPr id="22" name="Oval 7">
            <a:extLst>
              <a:ext uri="{FF2B5EF4-FFF2-40B4-BE49-F238E27FC236}">
                <a16:creationId xmlns:a16="http://schemas.microsoft.com/office/drawing/2014/main" id="{63CC7784-7798-3FEA-65F1-5E0A7C06B558}"/>
              </a:ext>
            </a:extLst>
          </p:cNvPr>
          <p:cNvSpPr>
            <a:spLocks noChangeAspect="1"/>
          </p:cNvSpPr>
          <p:nvPr/>
        </p:nvSpPr>
        <p:spPr>
          <a:xfrm>
            <a:off x="1229442" y="3458714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3" name="Oval 102">
            <a:extLst>
              <a:ext uri="{FF2B5EF4-FFF2-40B4-BE49-F238E27FC236}">
                <a16:creationId xmlns:a16="http://schemas.microsoft.com/office/drawing/2014/main" id="{AAC09711-6BBF-BF97-EE3F-59B108EE921D}"/>
              </a:ext>
            </a:extLst>
          </p:cNvPr>
          <p:cNvSpPr>
            <a:spLocks noChangeAspect="1"/>
          </p:cNvSpPr>
          <p:nvPr/>
        </p:nvSpPr>
        <p:spPr>
          <a:xfrm>
            <a:off x="2045417" y="3458714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4" name="Oval 103">
            <a:extLst>
              <a:ext uri="{FF2B5EF4-FFF2-40B4-BE49-F238E27FC236}">
                <a16:creationId xmlns:a16="http://schemas.microsoft.com/office/drawing/2014/main" id="{E5E9B3D4-429A-BF5E-555B-6F027497E49D}"/>
              </a:ext>
            </a:extLst>
          </p:cNvPr>
          <p:cNvSpPr>
            <a:spLocks noChangeAspect="1"/>
          </p:cNvSpPr>
          <p:nvPr/>
        </p:nvSpPr>
        <p:spPr>
          <a:xfrm>
            <a:off x="2867742" y="3458714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5" name="Oval 104">
            <a:extLst>
              <a:ext uri="{FF2B5EF4-FFF2-40B4-BE49-F238E27FC236}">
                <a16:creationId xmlns:a16="http://schemas.microsoft.com/office/drawing/2014/main" id="{CDAC7112-96F6-1848-FE48-DAB99E4A3B1A}"/>
              </a:ext>
            </a:extLst>
          </p:cNvPr>
          <p:cNvSpPr>
            <a:spLocks noChangeAspect="1"/>
          </p:cNvSpPr>
          <p:nvPr/>
        </p:nvSpPr>
        <p:spPr>
          <a:xfrm>
            <a:off x="3683717" y="3458714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6" name="Oval 105">
            <a:extLst>
              <a:ext uri="{FF2B5EF4-FFF2-40B4-BE49-F238E27FC236}">
                <a16:creationId xmlns:a16="http://schemas.microsoft.com/office/drawing/2014/main" id="{C13A0915-3B53-657F-B771-764BD1435F25}"/>
              </a:ext>
            </a:extLst>
          </p:cNvPr>
          <p:cNvSpPr>
            <a:spLocks noChangeAspect="1"/>
          </p:cNvSpPr>
          <p:nvPr/>
        </p:nvSpPr>
        <p:spPr>
          <a:xfrm>
            <a:off x="4502867" y="3458714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7" name="Oval 106">
            <a:extLst>
              <a:ext uri="{FF2B5EF4-FFF2-40B4-BE49-F238E27FC236}">
                <a16:creationId xmlns:a16="http://schemas.microsoft.com/office/drawing/2014/main" id="{EF34DBB6-561B-7D24-5044-C4A4F1970DF3}"/>
              </a:ext>
            </a:extLst>
          </p:cNvPr>
          <p:cNvSpPr>
            <a:spLocks noChangeAspect="1"/>
          </p:cNvSpPr>
          <p:nvPr/>
        </p:nvSpPr>
        <p:spPr>
          <a:xfrm>
            <a:off x="5322017" y="3458714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8" name="Oval 107">
            <a:extLst>
              <a:ext uri="{FF2B5EF4-FFF2-40B4-BE49-F238E27FC236}">
                <a16:creationId xmlns:a16="http://schemas.microsoft.com/office/drawing/2014/main" id="{12EF7738-D112-9105-F923-819F7CC13B6D}"/>
              </a:ext>
            </a:extLst>
          </p:cNvPr>
          <p:cNvSpPr>
            <a:spLocks noChangeAspect="1"/>
          </p:cNvSpPr>
          <p:nvPr/>
        </p:nvSpPr>
        <p:spPr>
          <a:xfrm>
            <a:off x="6131642" y="3458714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9" name="Oval 108">
            <a:extLst>
              <a:ext uri="{FF2B5EF4-FFF2-40B4-BE49-F238E27FC236}">
                <a16:creationId xmlns:a16="http://schemas.microsoft.com/office/drawing/2014/main" id="{1AE3508A-7AED-A3F8-51D3-152BBAC7179E}"/>
              </a:ext>
            </a:extLst>
          </p:cNvPr>
          <p:cNvSpPr>
            <a:spLocks noChangeAspect="1"/>
          </p:cNvSpPr>
          <p:nvPr/>
        </p:nvSpPr>
        <p:spPr>
          <a:xfrm>
            <a:off x="6953967" y="3458714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0" name="Oval 109">
            <a:extLst>
              <a:ext uri="{FF2B5EF4-FFF2-40B4-BE49-F238E27FC236}">
                <a16:creationId xmlns:a16="http://schemas.microsoft.com/office/drawing/2014/main" id="{D49387AE-441D-8DE9-B06C-E3591E6E516F}"/>
              </a:ext>
            </a:extLst>
          </p:cNvPr>
          <p:cNvSpPr>
            <a:spLocks noChangeAspect="1"/>
          </p:cNvSpPr>
          <p:nvPr/>
        </p:nvSpPr>
        <p:spPr>
          <a:xfrm>
            <a:off x="7773117" y="3458714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1" name="Oval 110">
            <a:extLst>
              <a:ext uri="{FF2B5EF4-FFF2-40B4-BE49-F238E27FC236}">
                <a16:creationId xmlns:a16="http://schemas.microsoft.com/office/drawing/2014/main" id="{448F6FCF-40DE-7DD5-839D-845B665F479A}"/>
              </a:ext>
            </a:extLst>
          </p:cNvPr>
          <p:cNvSpPr>
            <a:spLocks noChangeAspect="1"/>
          </p:cNvSpPr>
          <p:nvPr/>
        </p:nvSpPr>
        <p:spPr>
          <a:xfrm>
            <a:off x="8585917" y="3458714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2" name="Oval 111">
            <a:extLst>
              <a:ext uri="{FF2B5EF4-FFF2-40B4-BE49-F238E27FC236}">
                <a16:creationId xmlns:a16="http://schemas.microsoft.com/office/drawing/2014/main" id="{57727C4D-1D9F-57BC-4EF9-DDBDAC9D912F}"/>
              </a:ext>
            </a:extLst>
          </p:cNvPr>
          <p:cNvSpPr>
            <a:spLocks noChangeAspect="1"/>
          </p:cNvSpPr>
          <p:nvPr/>
        </p:nvSpPr>
        <p:spPr>
          <a:xfrm>
            <a:off x="9408242" y="3458714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3" name="Oval 112">
            <a:extLst>
              <a:ext uri="{FF2B5EF4-FFF2-40B4-BE49-F238E27FC236}">
                <a16:creationId xmlns:a16="http://schemas.microsoft.com/office/drawing/2014/main" id="{1E7AD947-48CE-8488-4D4A-0DE4821657C2}"/>
              </a:ext>
            </a:extLst>
          </p:cNvPr>
          <p:cNvSpPr>
            <a:spLocks noChangeAspect="1"/>
          </p:cNvSpPr>
          <p:nvPr/>
        </p:nvSpPr>
        <p:spPr>
          <a:xfrm>
            <a:off x="10227392" y="3458714"/>
            <a:ext cx="119934" cy="119934"/>
          </a:xfrm>
          <a:prstGeom prst="ellipse">
            <a:avLst/>
          </a:prstGeom>
          <a:solidFill>
            <a:srgbClr val="61E1E0"/>
          </a:solidFill>
          <a:ln w="31750" cap="flat" cmpd="sng" algn="ctr">
            <a:solidFill>
              <a:srgbClr val="89D328"/>
            </a:solidFill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4" name="Título 1">
            <a:extLst>
              <a:ext uri="{FF2B5EF4-FFF2-40B4-BE49-F238E27FC236}">
                <a16:creationId xmlns:a16="http://schemas.microsoft.com/office/drawing/2014/main" id="{2AD2EAB2-01E3-C9AB-E5F3-284AC6F4CF6E}"/>
              </a:ext>
            </a:extLst>
          </p:cNvPr>
          <p:cNvSpPr txBox="1">
            <a:spLocks/>
          </p:cNvSpPr>
          <p:nvPr/>
        </p:nvSpPr>
        <p:spPr>
          <a:xfrm>
            <a:off x="713309" y="285679"/>
            <a:ext cx="7648375" cy="4498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2400" b="1" dirty="0"/>
              <a:t>CALENDARIO DEPORTIVO</a:t>
            </a:r>
          </a:p>
        </p:txBody>
      </p:sp>
    </p:spTree>
    <p:extLst>
      <p:ext uri="{BB962C8B-B14F-4D97-AF65-F5344CB8AC3E}">
        <p14:creationId xmlns:p14="http://schemas.microsoft.com/office/powerpoint/2010/main" val="25294172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Placeholder 37" descr="A group of people standing around a table with a computer&#10;&#10;Description automatically generated with medium confidence">
            <a:extLst>
              <a:ext uri="{FF2B5EF4-FFF2-40B4-BE49-F238E27FC236}">
                <a16:creationId xmlns:a16="http://schemas.microsoft.com/office/drawing/2014/main" id="{80CEEE88-D5D7-7040-86DE-84F344ED57A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847" b="20847"/>
          <a:stretch/>
        </p:blipFill>
        <p:spPr/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CCCFB1AE-0646-964D-B946-F83227FBE6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2024 Addressability Recommenda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478A14-F774-0A40-9309-C79812A13F1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B7E5B5-D155-2243-A948-39AFEC208E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1D7550-0EB0-3A43-B3ED-278106F7B6C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FB5340AF-D8AF-7C7B-C427-027A605CBF9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0"/>
            <a:ext cx="12193588" cy="6858000"/>
          </a:xfrm>
        </p:spPr>
        <p:txBody>
          <a:bodyPr/>
          <a:lstStyle/>
          <a:p>
            <a:r>
              <a:rPr lang="es-MX"/>
              <a:t> 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258E83AD-E589-D765-FDC8-069501B6AF82}"/>
              </a:ext>
            </a:extLst>
          </p:cNvPr>
          <p:cNvSpPr/>
          <p:nvPr/>
        </p:nvSpPr>
        <p:spPr>
          <a:xfrm>
            <a:off x="904082" y="1937377"/>
            <a:ext cx="2463665" cy="3609659"/>
          </a:xfrm>
          <a:prstGeom prst="rect">
            <a:avLst/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Moment Opportuni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(Brief description of recommendation)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07280371-BAE2-4681-F773-FA62ED61885D}"/>
              </a:ext>
            </a:extLst>
          </p:cNvPr>
          <p:cNvSpPr/>
          <p:nvPr/>
        </p:nvSpPr>
        <p:spPr>
          <a:xfrm>
            <a:off x="904082" y="5542656"/>
            <a:ext cx="2463665" cy="164796"/>
          </a:xfrm>
          <a:prstGeom prst="rect">
            <a:avLst/>
          </a:prstGeom>
          <a:solidFill>
            <a:srgbClr val="89D328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>
              <a:defRPr/>
            </a:pPr>
            <a:endParaRPr kumimoji="0" lang="en-GB" sz="1600" b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5DE661B3-88B5-E090-875D-F504B4764E50}"/>
              </a:ext>
            </a:extLst>
          </p:cNvPr>
          <p:cNvSpPr/>
          <p:nvPr/>
        </p:nvSpPr>
        <p:spPr>
          <a:xfrm>
            <a:off x="3545682" y="1937377"/>
            <a:ext cx="2463665" cy="3609659"/>
          </a:xfrm>
          <a:prstGeom prst="rect">
            <a:avLst/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>
                <a:solidFill>
                  <a:srgbClr val="011627"/>
                </a:solidFill>
              </a:rPr>
              <a:t>Territory Opportunity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(Brief description of recommendation)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DFBEAF49-8EF1-8143-8572-BC2667EC406B}"/>
              </a:ext>
            </a:extLst>
          </p:cNvPr>
          <p:cNvSpPr/>
          <p:nvPr/>
        </p:nvSpPr>
        <p:spPr>
          <a:xfrm>
            <a:off x="3545682" y="5542656"/>
            <a:ext cx="2463665" cy="16479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>
              <a:defRPr/>
            </a:pPr>
            <a:endParaRPr kumimoji="0" lang="en-GB" sz="1600" b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FFAB1F8A-9FD3-D97F-A29D-F7B20C735D56}"/>
              </a:ext>
            </a:extLst>
          </p:cNvPr>
          <p:cNvSpPr/>
          <p:nvPr/>
        </p:nvSpPr>
        <p:spPr>
          <a:xfrm>
            <a:off x="6187282" y="1937377"/>
            <a:ext cx="2463665" cy="3609659"/>
          </a:xfrm>
          <a:prstGeom prst="rect">
            <a:avLst/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>
                <a:solidFill>
                  <a:srgbClr val="011627"/>
                </a:solidFill>
              </a:rPr>
              <a:t>Innovation Opportunity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algn="ctr"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(Brief description of recommendation)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DAA78A00-7455-05C7-EDBB-703E69277FF6}"/>
              </a:ext>
            </a:extLst>
          </p:cNvPr>
          <p:cNvSpPr/>
          <p:nvPr/>
        </p:nvSpPr>
        <p:spPr>
          <a:xfrm>
            <a:off x="6187282" y="5542656"/>
            <a:ext cx="2463665" cy="164796"/>
          </a:xfrm>
          <a:prstGeom prst="rect">
            <a:avLst/>
          </a:prstGeom>
          <a:solidFill>
            <a:schemeClr val="accent3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>
              <a:defRPr/>
            </a:pPr>
            <a:endParaRPr kumimoji="0" lang="en-GB" sz="1600" b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DD5C568B-FF75-040E-D1FE-F6A064443DDD}"/>
              </a:ext>
            </a:extLst>
          </p:cNvPr>
          <p:cNvSpPr/>
          <p:nvPr/>
        </p:nvSpPr>
        <p:spPr>
          <a:xfrm>
            <a:off x="8828882" y="1937377"/>
            <a:ext cx="2463665" cy="3609659"/>
          </a:xfrm>
          <a:prstGeom prst="rect">
            <a:avLst/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Data Opportuni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(Brief description of recommendation)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54CEDB6E-66C6-F057-254D-BEBB9412993F}"/>
              </a:ext>
            </a:extLst>
          </p:cNvPr>
          <p:cNvSpPr/>
          <p:nvPr/>
        </p:nvSpPr>
        <p:spPr>
          <a:xfrm>
            <a:off x="8828882" y="5542656"/>
            <a:ext cx="2463665" cy="164796"/>
          </a:xfrm>
          <a:prstGeom prst="rect">
            <a:avLst/>
          </a:prstGeom>
          <a:solidFill>
            <a:schemeClr val="accent4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>
              <a:defRPr/>
            </a:pPr>
            <a:endParaRPr kumimoji="0" lang="en-GB" sz="1600" b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57309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9" name="Rounded Rectangle 2158">
            <a:extLst>
              <a:ext uri="{FF2B5EF4-FFF2-40B4-BE49-F238E27FC236}">
                <a16:creationId xmlns:a16="http://schemas.microsoft.com/office/drawing/2014/main" id="{05370993-3878-5CA1-B590-85FCBB3D5E91}"/>
              </a:ext>
            </a:extLst>
          </p:cNvPr>
          <p:cNvSpPr/>
          <p:nvPr/>
        </p:nvSpPr>
        <p:spPr>
          <a:xfrm>
            <a:off x="10246360" y="1219509"/>
            <a:ext cx="1600115" cy="4796616"/>
          </a:xfrm>
          <a:prstGeom prst="roundRect">
            <a:avLst>
              <a:gd name="adj" fmla="val 5238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pic>
        <p:nvPicPr>
          <p:cNvPr id="2161" name="Picture 2160">
            <a:extLst>
              <a:ext uri="{FF2B5EF4-FFF2-40B4-BE49-F238E27FC236}">
                <a16:creationId xmlns:a16="http://schemas.microsoft.com/office/drawing/2014/main" id="{B4E1F7AA-5B6B-BFFC-4606-23A2D5CFB0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14274" y="1399855"/>
            <a:ext cx="1264286" cy="1789372"/>
          </a:xfrm>
          <a:prstGeom prst="roundRect">
            <a:avLst>
              <a:gd name="adj" fmla="val 5268"/>
            </a:avLst>
          </a:prstGeom>
        </p:spPr>
      </p:pic>
      <p:pic>
        <p:nvPicPr>
          <p:cNvPr id="2163" name="Picture 2162">
            <a:extLst>
              <a:ext uri="{FF2B5EF4-FFF2-40B4-BE49-F238E27FC236}">
                <a16:creationId xmlns:a16="http://schemas.microsoft.com/office/drawing/2014/main" id="{F82EB553-0762-D8A1-2569-EE6C53F686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10188" y="3564425"/>
            <a:ext cx="1272459" cy="2026509"/>
          </a:xfrm>
          <a:prstGeom prst="roundRect">
            <a:avLst>
              <a:gd name="adj" fmla="val 5268"/>
            </a:avLst>
          </a:prstGeom>
        </p:spPr>
      </p:pic>
      <p:grpSp>
        <p:nvGrpSpPr>
          <p:cNvPr id="2122" name="Group 2121">
            <a:extLst>
              <a:ext uri="{FF2B5EF4-FFF2-40B4-BE49-F238E27FC236}">
                <a16:creationId xmlns:a16="http://schemas.microsoft.com/office/drawing/2014/main" id="{C3E1549E-6739-D675-B368-2761E66638B7}"/>
              </a:ext>
            </a:extLst>
          </p:cNvPr>
          <p:cNvGrpSpPr/>
          <p:nvPr/>
        </p:nvGrpSpPr>
        <p:grpSpPr>
          <a:xfrm>
            <a:off x="7866173" y="3687877"/>
            <a:ext cx="1431695" cy="842457"/>
            <a:chOff x="4416295" y="1368923"/>
            <a:chExt cx="7772400" cy="4879477"/>
          </a:xfrm>
        </p:grpSpPr>
        <p:pic>
          <p:nvPicPr>
            <p:cNvPr id="2123" name="Picture 2122">
              <a:extLst>
                <a:ext uri="{FF2B5EF4-FFF2-40B4-BE49-F238E27FC236}">
                  <a16:creationId xmlns:a16="http://schemas.microsoft.com/office/drawing/2014/main" id="{72FD245C-7766-571B-99C4-89F77976CA5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416295" y="1368923"/>
              <a:ext cx="7772400" cy="4879477"/>
            </a:xfrm>
            <a:prstGeom prst="rect">
              <a:avLst/>
            </a:prstGeom>
          </p:spPr>
        </p:pic>
        <p:pic>
          <p:nvPicPr>
            <p:cNvPr id="2124" name="Picture 2123">
              <a:extLst>
                <a:ext uri="{FF2B5EF4-FFF2-40B4-BE49-F238E27FC236}">
                  <a16:creationId xmlns:a16="http://schemas.microsoft.com/office/drawing/2014/main" id="{857554C5-83CC-3AC4-E50B-EBE95EF51C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b="90126"/>
            <a:stretch/>
          </p:blipFill>
          <p:spPr>
            <a:xfrm>
              <a:off x="5771763" y="2220886"/>
              <a:ext cx="4742528" cy="590380"/>
            </a:xfrm>
            <a:prstGeom prst="rect">
              <a:avLst/>
            </a:prstGeom>
          </p:spPr>
        </p:pic>
        <p:sp>
          <p:nvSpPr>
            <p:cNvPr id="2125" name="Owal 12">
              <a:extLst>
                <a:ext uri="{FF2B5EF4-FFF2-40B4-BE49-F238E27FC236}">
                  <a16:creationId xmlns:a16="http://schemas.microsoft.com/office/drawing/2014/main" id="{22A938F9-B143-6D57-C4AA-8CE89E29204A}"/>
                </a:ext>
              </a:extLst>
            </p:cNvPr>
            <p:cNvSpPr/>
            <p:nvPr/>
          </p:nvSpPr>
          <p:spPr>
            <a:xfrm>
              <a:off x="10776693" y="2649890"/>
              <a:ext cx="464127" cy="360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800" b="1" i="0" u="none" strike="noStrike" kern="1200" cap="none" spc="0" normalizeH="0" baseline="0" noProof="0">
                  <a:ln w="0"/>
                  <a:solidFill>
                    <a:srgbClr val="89D328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Century Gothic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2126" name="Owal 12">
              <a:extLst>
                <a:ext uri="{FF2B5EF4-FFF2-40B4-BE49-F238E27FC236}">
                  <a16:creationId xmlns:a16="http://schemas.microsoft.com/office/drawing/2014/main" id="{509C33A3-116C-7127-C6DE-F9533FE79652}"/>
                </a:ext>
              </a:extLst>
            </p:cNvPr>
            <p:cNvSpPr/>
            <p:nvPr/>
          </p:nvSpPr>
          <p:spPr>
            <a:xfrm>
              <a:off x="10781020" y="4762290"/>
              <a:ext cx="464127" cy="360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800" b="1" i="0" u="none" strike="noStrike" kern="1200" cap="none" spc="0" normalizeH="0" baseline="0" noProof="0">
                  <a:ln w="0"/>
                  <a:solidFill>
                    <a:srgbClr val="89D328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Century Gothic"/>
                  <a:ea typeface="+mn-ea"/>
                  <a:cs typeface="+mn-cs"/>
                </a:rPr>
                <a:t>2</a:t>
              </a:r>
            </a:p>
          </p:txBody>
        </p:sp>
        <p:pic>
          <p:nvPicPr>
            <p:cNvPr id="2127" name="Picture 16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DADDA04F-A8D7-3EA2-D54F-BDC4F45C118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708248" y="1981724"/>
              <a:ext cx="5048490" cy="3492578"/>
            </a:xfrm>
            <a:prstGeom prst="rect">
              <a:avLst/>
            </a:prstGeom>
          </p:spPr>
        </p:pic>
        <p:sp>
          <p:nvSpPr>
            <p:cNvPr id="2128" name="Rectangle 2127">
              <a:extLst>
                <a:ext uri="{FF2B5EF4-FFF2-40B4-BE49-F238E27FC236}">
                  <a16:creationId xmlns:a16="http://schemas.microsoft.com/office/drawing/2014/main" id="{A46A8F8C-AD57-1466-A332-0F72AA1B34CB}"/>
                </a:ext>
              </a:extLst>
            </p:cNvPr>
            <p:cNvSpPr/>
            <p:nvPr/>
          </p:nvSpPr>
          <p:spPr>
            <a:xfrm>
              <a:off x="6666896" y="4758770"/>
              <a:ext cx="4050603" cy="720737"/>
            </a:xfrm>
            <a:prstGeom prst="rect">
              <a:avLst/>
            </a:prstGeom>
            <a:noFill/>
            <a:ln w="38100">
              <a:solidFill>
                <a:schemeClr val="bg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129" name="Rectangle 2128">
              <a:extLst>
                <a:ext uri="{FF2B5EF4-FFF2-40B4-BE49-F238E27FC236}">
                  <a16:creationId xmlns:a16="http://schemas.microsoft.com/office/drawing/2014/main" id="{66556259-60D3-6615-99BE-16E2EDDE2419}"/>
                </a:ext>
              </a:extLst>
            </p:cNvPr>
            <p:cNvSpPr/>
            <p:nvPr/>
          </p:nvSpPr>
          <p:spPr>
            <a:xfrm>
              <a:off x="6726941" y="2806016"/>
              <a:ext cx="4029917" cy="10687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130" name="Rectangle 2129">
              <a:extLst>
                <a:ext uri="{FF2B5EF4-FFF2-40B4-BE49-F238E27FC236}">
                  <a16:creationId xmlns:a16="http://schemas.microsoft.com/office/drawing/2014/main" id="{95E7E69D-9182-A4BE-B6A6-3F26E1D1A2EA}"/>
                </a:ext>
              </a:extLst>
            </p:cNvPr>
            <p:cNvSpPr/>
            <p:nvPr/>
          </p:nvSpPr>
          <p:spPr>
            <a:xfrm>
              <a:off x="6724768" y="2868621"/>
              <a:ext cx="4031312" cy="923293"/>
            </a:xfrm>
            <a:prstGeom prst="rect">
              <a:avLst/>
            </a:prstGeom>
            <a:noFill/>
            <a:ln w="38100">
              <a:solidFill>
                <a:schemeClr val="bg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pic>
          <p:nvPicPr>
            <p:cNvPr id="2131" name="Picture 2130">
              <a:extLst>
                <a:ext uri="{FF2B5EF4-FFF2-40B4-BE49-F238E27FC236}">
                  <a16:creationId xmlns:a16="http://schemas.microsoft.com/office/drawing/2014/main" id="{3AF65F64-AA35-0B1E-119D-191A2926BC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41631" b="35194"/>
            <a:stretch/>
          </p:blipFill>
          <p:spPr>
            <a:xfrm>
              <a:off x="7592464" y="2873871"/>
              <a:ext cx="2425036" cy="854142"/>
            </a:xfrm>
            <a:prstGeom prst="rect">
              <a:avLst/>
            </a:prstGeom>
          </p:spPr>
        </p:pic>
        <p:pic>
          <p:nvPicPr>
            <p:cNvPr id="2132" name="Picture 2131">
              <a:extLst>
                <a:ext uri="{FF2B5EF4-FFF2-40B4-BE49-F238E27FC236}">
                  <a16:creationId xmlns:a16="http://schemas.microsoft.com/office/drawing/2014/main" id="{681B6335-5725-627F-394A-C18176ED9C0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715123" y="4818781"/>
              <a:ext cx="3980212" cy="655522"/>
            </a:xfrm>
            <a:prstGeom prst="rect">
              <a:avLst/>
            </a:prstGeom>
          </p:spPr>
        </p:pic>
      </p:grpSp>
      <p:pic>
        <p:nvPicPr>
          <p:cNvPr id="2138" name="Picture 2137">
            <a:extLst>
              <a:ext uri="{FF2B5EF4-FFF2-40B4-BE49-F238E27FC236}">
                <a16:creationId xmlns:a16="http://schemas.microsoft.com/office/drawing/2014/main" id="{1C97E05B-D3E9-CB88-6313-EDD4E90B842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297880" y="3661297"/>
            <a:ext cx="648939" cy="865252"/>
          </a:xfrm>
          <a:prstGeom prst="rect">
            <a:avLst/>
          </a:prstGeom>
        </p:spPr>
      </p:pic>
      <p:grpSp>
        <p:nvGrpSpPr>
          <p:cNvPr id="2065" name="Group 2064">
            <a:extLst>
              <a:ext uri="{FF2B5EF4-FFF2-40B4-BE49-F238E27FC236}">
                <a16:creationId xmlns:a16="http://schemas.microsoft.com/office/drawing/2014/main" id="{2E1640A4-9CEE-2AB6-38FC-67A9FFA73DDC}"/>
              </a:ext>
            </a:extLst>
          </p:cNvPr>
          <p:cNvGrpSpPr/>
          <p:nvPr/>
        </p:nvGrpSpPr>
        <p:grpSpPr>
          <a:xfrm>
            <a:off x="-1106906" y="1230659"/>
            <a:ext cx="3410094" cy="4912201"/>
            <a:chOff x="2032000" y="719665"/>
            <a:chExt cx="8128000" cy="5423667"/>
          </a:xfrm>
        </p:grpSpPr>
        <p:sp>
          <p:nvSpPr>
            <p:cNvPr id="2066" name="Freeform 2065">
              <a:extLst>
                <a:ext uri="{FF2B5EF4-FFF2-40B4-BE49-F238E27FC236}">
                  <a16:creationId xmlns:a16="http://schemas.microsoft.com/office/drawing/2014/main" id="{8E529FAD-D015-7550-2F2B-DE41FB54946E}"/>
                </a:ext>
              </a:extLst>
            </p:cNvPr>
            <p:cNvSpPr/>
            <p:nvPr/>
          </p:nvSpPr>
          <p:spPr>
            <a:xfrm>
              <a:off x="2032000" y="719665"/>
              <a:ext cx="8128000" cy="1354668"/>
            </a:xfrm>
            <a:custGeom>
              <a:avLst/>
              <a:gdLst>
                <a:gd name="connsiteX0" fmla="*/ 0 w 8128000"/>
                <a:gd name="connsiteY0" fmla="*/ 1354666 h 1354666"/>
                <a:gd name="connsiteX1" fmla="*/ 1016000 w 8128000"/>
                <a:gd name="connsiteY1" fmla="*/ 0 h 1354666"/>
                <a:gd name="connsiteX2" fmla="*/ 7112001 w 8128000"/>
                <a:gd name="connsiteY2" fmla="*/ 0 h 1354666"/>
                <a:gd name="connsiteX3" fmla="*/ 8128000 w 8128000"/>
                <a:gd name="connsiteY3" fmla="*/ 1354666 h 1354666"/>
                <a:gd name="connsiteX4" fmla="*/ 0 w 8128000"/>
                <a:gd name="connsiteY4" fmla="*/ 1354666 h 1354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28000" h="1354666">
                  <a:moveTo>
                    <a:pt x="8128000" y="1"/>
                  </a:moveTo>
                  <a:lnTo>
                    <a:pt x="7112000" y="1354665"/>
                  </a:lnTo>
                  <a:lnTo>
                    <a:pt x="1015999" y="1354665"/>
                  </a:lnTo>
                  <a:lnTo>
                    <a:pt x="0" y="1"/>
                  </a:lnTo>
                  <a:lnTo>
                    <a:pt x="812800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04949" tIns="82551" rIns="1504951" bIns="82551" numCol="1" spcCol="1270" anchor="ctr" anchorCtr="0">
              <a:noAutofit/>
            </a:bodyPr>
            <a:lstStyle/>
            <a:p>
              <a:pPr marL="0" marR="0" lvl="0" indent="0" algn="ctr" defTabSz="28892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2067" name="Freeform 2066">
              <a:extLst>
                <a:ext uri="{FF2B5EF4-FFF2-40B4-BE49-F238E27FC236}">
                  <a16:creationId xmlns:a16="http://schemas.microsoft.com/office/drawing/2014/main" id="{1C60DA9C-F65E-9522-7603-AD0AEFEA3C6D}"/>
                </a:ext>
              </a:extLst>
            </p:cNvPr>
            <p:cNvSpPr/>
            <p:nvPr/>
          </p:nvSpPr>
          <p:spPr>
            <a:xfrm>
              <a:off x="3047999" y="2074331"/>
              <a:ext cx="6096000" cy="1354668"/>
            </a:xfrm>
            <a:custGeom>
              <a:avLst/>
              <a:gdLst>
                <a:gd name="connsiteX0" fmla="*/ 0 w 6096000"/>
                <a:gd name="connsiteY0" fmla="*/ 1354666 h 1354666"/>
                <a:gd name="connsiteX1" fmla="*/ 1016000 w 6096000"/>
                <a:gd name="connsiteY1" fmla="*/ 0 h 1354666"/>
                <a:gd name="connsiteX2" fmla="*/ 5080001 w 6096000"/>
                <a:gd name="connsiteY2" fmla="*/ 0 h 1354666"/>
                <a:gd name="connsiteX3" fmla="*/ 6096000 w 6096000"/>
                <a:gd name="connsiteY3" fmla="*/ 1354666 h 1354666"/>
                <a:gd name="connsiteX4" fmla="*/ 0 w 6096000"/>
                <a:gd name="connsiteY4" fmla="*/ 1354666 h 1354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6000" h="1354666">
                  <a:moveTo>
                    <a:pt x="6096000" y="1"/>
                  </a:moveTo>
                  <a:lnTo>
                    <a:pt x="5080000" y="1354665"/>
                  </a:lnTo>
                  <a:lnTo>
                    <a:pt x="1015999" y="1354665"/>
                  </a:lnTo>
                  <a:lnTo>
                    <a:pt x="0" y="1"/>
                  </a:lnTo>
                  <a:lnTo>
                    <a:pt x="6096000" y="1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49350" tIns="82551" rIns="1149350" bIns="82551" numCol="1" spcCol="1270" anchor="ctr" anchorCtr="0">
              <a:noAutofit/>
            </a:bodyPr>
            <a:lstStyle/>
            <a:p>
              <a:pPr marL="0" marR="0" lvl="0" indent="0" algn="ctr" defTabSz="28892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2068" name="Freeform 2067">
              <a:extLst>
                <a:ext uri="{FF2B5EF4-FFF2-40B4-BE49-F238E27FC236}">
                  <a16:creationId xmlns:a16="http://schemas.microsoft.com/office/drawing/2014/main" id="{75C04300-2771-40FF-4CFE-33159D3A6F2B}"/>
                </a:ext>
              </a:extLst>
            </p:cNvPr>
            <p:cNvSpPr/>
            <p:nvPr/>
          </p:nvSpPr>
          <p:spPr>
            <a:xfrm>
              <a:off x="4063999" y="3403504"/>
              <a:ext cx="4064000" cy="1354667"/>
            </a:xfrm>
            <a:custGeom>
              <a:avLst/>
              <a:gdLst>
                <a:gd name="connsiteX0" fmla="*/ 0 w 4064000"/>
                <a:gd name="connsiteY0" fmla="*/ 1354666 h 1354666"/>
                <a:gd name="connsiteX1" fmla="*/ 1016000 w 4064000"/>
                <a:gd name="connsiteY1" fmla="*/ 0 h 1354666"/>
                <a:gd name="connsiteX2" fmla="*/ 3048001 w 4064000"/>
                <a:gd name="connsiteY2" fmla="*/ 0 h 1354666"/>
                <a:gd name="connsiteX3" fmla="*/ 4064000 w 4064000"/>
                <a:gd name="connsiteY3" fmla="*/ 1354666 h 1354666"/>
                <a:gd name="connsiteX4" fmla="*/ 0 w 4064000"/>
                <a:gd name="connsiteY4" fmla="*/ 1354666 h 1354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4000" h="1354666">
                  <a:moveTo>
                    <a:pt x="4064000" y="1"/>
                  </a:moveTo>
                  <a:lnTo>
                    <a:pt x="3048000" y="1354665"/>
                  </a:lnTo>
                  <a:lnTo>
                    <a:pt x="1015999" y="1354665"/>
                  </a:lnTo>
                  <a:lnTo>
                    <a:pt x="0" y="1"/>
                  </a:lnTo>
                  <a:lnTo>
                    <a:pt x="4064000" y="1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93750" tIns="82550" rIns="793751" bIns="82551" numCol="1" spcCol="1270" anchor="ctr" anchorCtr="0">
              <a:noAutofit/>
            </a:bodyPr>
            <a:lstStyle/>
            <a:p>
              <a:pPr marL="0" marR="0" lvl="0" indent="0" algn="ctr" defTabSz="28892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2069" name="Freeform 2068">
              <a:extLst>
                <a:ext uri="{FF2B5EF4-FFF2-40B4-BE49-F238E27FC236}">
                  <a16:creationId xmlns:a16="http://schemas.microsoft.com/office/drawing/2014/main" id="{FEA6853A-EE71-0AF4-21AD-7C0D2E9F7372}"/>
                </a:ext>
              </a:extLst>
            </p:cNvPr>
            <p:cNvSpPr/>
            <p:nvPr/>
          </p:nvSpPr>
          <p:spPr>
            <a:xfrm>
              <a:off x="4867544" y="4505394"/>
              <a:ext cx="2456912" cy="1637938"/>
            </a:xfrm>
            <a:custGeom>
              <a:avLst/>
              <a:gdLst>
                <a:gd name="connsiteX0" fmla="*/ 0 w 2032000"/>
                <a:gd name="connsiteY0" fmla="*/ 1354666 h 1354666"/>
                <a:gd name="connsiteX1" fmla="*/ 1016000 w 2032000"/>
                <a:gd name="connsiteY1" fmla="*/ 0 h 1354666"/>
                <a:gd name="connsiteX2" fmla="*/ 1016001 w 2032000"/>
                <a:gd name="connsiteY2" fmla="*/ 0 h 1354666"/>
                <a:gd name="connsiteX3" fmla="*/ 2032000 w 2032000"/>
                <a:gd name="connsiteY3" fmla="*/ 1354666 h 1354666"/>
                <a:gd name="connsiteX4" fmla="*/ 0 w 2032000"/>
                <a:gd name="connsiteY4" fmla="*/ 1354666 h 1354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2000" h="1354666">
                  <a:moveTo>
                    <a:pt x="2032000" y="0"/>
                  </a:moveTo>
                  <a:lnTo>
                    <a:pt x="1016000" y="1354666"/>
                  </a:lnTo>
                  <a:lnTo>
                    <a:pt x="1015999" y="1354666"/>
                  </a:lnTo>
                  <a:lnTo>
                    <a:pt x="0" y="0"/>
                  </a:lnTo>
                  <a:lnTo>
                    <a:pt x="203200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2551" tIns="82550" rIns="82550" bIns="82550" numCol="1" spcCol="1270" anchor="ctr" anchorCtr="0">
              <a:noAutofit/>
            </a:bodyPr>
            <a:lstStyle/>
            <a:p>
              <a:pPr marL="0" marR="0" lvl="0" indent="0" algn="ctr" defTabSz="28892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18953DEA-8A5E-C1BE-7EF2-F0B944586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589" y="418380"/>
            <a:ext cx="10765383" cy="615790"/>
          </a:xfrm>
        </p:spPr>
        <p:txBody>
          <a:bodyPr/>
          <a:lstStyle/>
          <a:p>
            <a:r>
              <a:rPr lang="en-GB" dirty="0"/>
              <a:t>Funnel – </a:t>
            </a:r>
            <a:r>
              <a:rPr lang="en-GB" dirty="0" err="1"/>
              <a:t>Activación</a:t>
            </a:r>
            <a:r>
              <a:rPr lang="en-GB" dirty="0"/>
              <a:t> </a:t>
            </a:r>
            <a:r>
              <a:rPr lang="en-GB" dirty="0" err="1"/>
              <a:t>táctica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7A2F4A-535F-6587-C9D9-EEFCE37907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ExtraLight" pitchFamily="2" charset="77"/>
                <a:ea typeface="+mn-ea"/>
                <a:cs typeface="Poppins Extra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ExtraLight" pitchFamily="2" charset="77"/>
              <a:ea typeface="+mn-ea"/>
              <a:cs typeface="Poppins ExtraLight" pitchFamily="2" charset="77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A40B8EA-3B81-7F48-EC5A-4776CF01A73C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29" name="Round Same-side Corner of Rectangle 28">
              <a:extLst>
                <a:ext uri="{FF2B5EF4-FFF2-40B4-BE49-F238E27FC236}">
                  <a16:creationId xmlns:a16="http://schemas.microsoft.com/office/drawing/2014/main" id="{092079B0-3B93-E00C-0ADF-6AE2519BA57F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FB520263-A55C-9397-2F3D-F2D569AC063D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B6336617-74E2-990B-5D5B-06CC587DB055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F4D87CC5-2801-4547-A16C-BF78EC361752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43" name="Google Shape;1194;p40">
              <a:extLst>
                <a:ext uri="{FF2B5EF4-FFF2-40B4-BE49-F238E27FC236}">
                  <a16:creationId xmlns:a16="http://schemas.microsoft.com/office/drawing/2014/main" id="{736E64E0-466F-43EE-5AA5-0A8FC6DCD5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2070" name="Rectangle 2069">
            <a:extLst>
              <a:ext uri="{FF2B5EF4-FFF2-40B4-BE49-F238E27FC236}">
                <a16:creationId xmlns:a16="http://schemas.microsoft.com/office/drawing/2014/main" id="{16C4B0A0-A029-8348-89BA-9097E5BD7C2C}"/>
              </a:ext>
            </a:extLst>
          </p:cNvPr>
          <p:cNvSpPr/>
          <p:nvPr/>
        </p:nvSpPr>
        <p:spPr>
          <a:xfrm>
            <a:off x="0" y="1155032"/>
            <a:ext cx="598141" cy="49878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55" name="Shape 2651">
            <a:extLst>
              <a:ext uri="{FF2B5EF4-FFF2-40B4-BE49-F238E27FC236}">
                <a16:creationId xmlns:a16="http://schemas.microsoft.com/office/drawing/2014/main" id="{D611D401-7175-6EDA-8F02-9E5008916A38}"/>
              </a:ext>
            </a:extLst>
          </p:cNvPr>
          <p:cNvSpPr/>
          <p:nvPr/>
        </p:nvSpPr>
        <p:spPr>
          <a:xfrm rot="16200000">
            <a:off x="-228047" y="1349563"/>
            <a:ext cx="1528395" cy="68763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lang="en-US" sz="1200" b="1" kern="0" dirty="0">
                <a:solidFill>
                  <a:srgbClr val="3353D0"/>
                </a:solidFill>
                <a:latin typeface="Poppins" pitchFamily="2" charset="77"/>
                <a:cs typeface="Poppins" pitchFamily="2" charset="77"/>
                <a:sym typeface="Source Sans Pro"/>
              </a:rPr>
              <a:t>POSICIONAMIENTO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3353D0"/>
              </a:solidFill>
              <a:effectLst/>
              <a:uLnTx/>
              <a:uFillTx/>
              <a:latin typeface="Poppins" pitchFamily="2" charset="77"/>
              <a:ea typeface="Century Gothic" charset="0"/>
              <a:cs typeface="Poppins" pitchFamily="2" charset="77"/>
              <a:sym typeface="Source Sans Pro"/>
            </a:endParaRPr>
          </a:p>
        </p:txBody>
      </p:sp>
      <p:sp>
        <p:nvSpPr>
          <p:cNvPr id="56" name="Shape 2649">
            <a:extLst>
              <a:ext uri="{FF2B5EF4-FFF2-40B4-BE49-F238E27FC236}">
                <a16:creationId xmlns:a16="http://schemas.microsoft.com/office/drawing/2014/main" id="{4E8B37EF-CD28-C841-2D63-EBD49F12B5EE}"/>
              </a:ext>
            </a:extLst>
          </p:cNvPr>
          <p:cNvSpPr/>
          <p:nvPr/>
        </p:nvSpPr>
        <p:spPr>
          <a:xfrm rot="16200000">
            <a:off x="-571045" y="3220956"/>
            <a:ext cx="2201808" cy="67504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Source Sans Pro"/>
              </a:rPr>
              <a:t>CONSIDERACIÓN</a:t>
            </a:r>
          </a:p>
        </p:txBody>
      </p:sp>
      <p:sp>
        <p:nvSpPr>
          <p:cNvPr id="57" name="Shape 2649">
            <a:extLst>
              <a:ext uri="{FF2B5EF4-FFF2-40B4-BE49-F238E27FC236}">
                <a16:creationId xmlns:a16="http://schemas.microsoft.com/office/drawing/2014/main" id="{897D6576-C4C1-7BB4-CDB6-2B3A95F732D0}"/>
              </a:ext>
            </a:extLst>
          </p:cNvPr>
          <p:cNvSpPr/>
          <p:nvPr/>
        </p:nvSpPr>
        <p:spPr>
          <a:xfrm rot="16200000">
            <a:off x="-205587" y="5057307"/>
            <a:ext cx="1483475" cy="68762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89D328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Source Sans Pro"/>
              </a:rPr>
              <a:t>ACCIÓN</a:t>
            </a:r>
          </a:p>
        </p:txBody>
      </p:sp>
      <p:cxnSp>
        <p:nvCxnSpPr>
          <p:cNvPr id="2072" name="Straight Connector 2071">
            <a:extLst>
              <a:ext uri="{FF2B5EF4-FFF2-40B4-BE49-F238E27FC236}">
                <a16:creationId xmlns:a16="http://schemas.microsoft.com/office/drawing/2014/main" id="{2570BFC1-321B-9619-26E9-63426A20F148}"/>
              </a:ext>
            </a:extLst>
          </p:cNvPr>
          <p:cNvCxnSpPr>
            <a:cxnSpLocks/>
          </p:cNvCxnSpPr>
          <p:nvPr/>
        </p:nvCxnSpPr>
        <p:spPr>
          <a:xfrm>
            <a:off x="198228" y="2457576"/>
            <a:ext cx="9900812" cy="0"/>
          </a:xfrm>
          <a:prstGeom prst="line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3" name="Straight Connector 2072">
            <a:extLst>
              <a:ext uri="{FF2B5EF4-FFF2-40B4-BE49-F238E27FC236}">
                <a16:creationId xmlns:a16="http://schemas.microsoft.com/office/drawing/2014/main" id="{AAB66274-08B4-58EC-DB4D-063D364D7115}"/>
              </a:ext>
            </a:extLst>
          </p:cNvPr>
          <p:cNvCxnSpPr>
            <a:cxnSpLocks/>
          </p:cNvCxnSpPr>
          <p:nvPr/>
        </p:nvCxnSpPr>
        <p:spPr>
          <a:xfrm>
            <a:off x="192335" y="4664512"/>
            <a:ext cx="9906705" cy="0"/>
          </a:xfrm>
          <a:prstGeom prst="line">
            <a:avLst/>
          </a:prstGeom>
          <a:ln w="12700">
            <a:solidFill>
              <a:schemeClr val="accent6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78" name="Picture 4" descr="Player.pl – aplikacja do oglądania polskiej telewizji przez internet  (iPhone, iPad) | Mac, iPhone, iPad, iOS, Apple - nadgryzione.pl">
            <a:extLst>
              <a:ext uri="{FF2B5EF4-FFF2-40B4-BE49-F238E27FC236}">
                <a16:creationId xmlns:a16="http://schemas.microsoft.com/office/drawing/2014/main" id="{81ECC1D2-5823-91CC-F484-37033BED45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02" r="23256"/>
          <a:stretch/>
        </p:blipFill>
        <p:spPr bwMode="auto">
          <a:xfrm>
            <a:off x="2485358" y="2030615"/>
            <a:ext cx="265266" cy="317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79" name="Google Shape;1856;p241">
            <a:extLst>
              <a:ext uri="{FF2B5EF4-FFF2-40B4-BE49-F238E27FC236}">
                <a16:creationId xmlns:a16="http://schemas.microsoft.com/office/drawing/2014/main" id="{5A4CFD5F-6EEC-5A5A-0F65-930443CF2049}"/>
              </a:ext>
            </a:extLst>
          </p:cNvPr>
          <p:cNvSpPr/>
          <p:nvPr/>
        </p:nvSpPr>
        <p:spPr>
          <a:xfrm>
            <a:off x="2418356" y="1219509"/>
            <a:ext cx="249848" cy="253290"/>
          </a:xfrm>
          <a:custGeom>
            <a:avLst/>
            <a:gdLst/>
            <a:ahLst/>
            <a:cxnLst/>
            <a:rect l="l" t="t" r="r" b="b"/>
            <a:pathLst>
              <a:path w="353" h="353" extrusionOk="0">
                <a:moveTo>
                  <a:pt x="305" y="144"/>
                </a:moveTo>
                <a:cubicBezTo>
                  <a:pt x="296" y="144"/>
                  <a:pt x="289" y="151"/>
                  <a:pt x="289" y="160"/>
                </a:cubicBezTo>
                <a:cubicBezTo>
                  <a:pt x="289" y="169"/>
                  <a:pt x="296" y="176"/>
                  <a:pt x="305" y="176"/>
                </a:cubicBezTo>
                <a:cubicBezTo>
                  <a:pt x="313" y="176"/>
                  <a:pt x="321" y="169"/>
                  <a:pt x="321" y="160"/>
                </a:cubicBezTo>
                <a:cubicBezTo>
                  <a:pt x="321" y="151"/>
                  <a:pt x="313" y="144"/>
                  <a:pt x="305" y="144"/>
                </a:cubicBezTo>
                <a:moveTo>
                  <a:pt x="224" y="144"/>
                </a:moveTo>
                <a:cubicBezTo>
                  <a:pt x="48" y="144"/>
                  <a:pt x="48" y="144"/>
                  <a:pt x="48" y="144"/>
                </a:cubicBezTo>
                <a:cubicBezTo>
                  <a:pt x="48" y="305"/>
                  <a:pt x="48" y="305"/>
                  <a:pt x="48" y="305"/>
                </a:cubicBezTo>
                <a:cubicBezTo>
                  <a:pt x="224" y="305"/>
                  <a:pt x="224" y="305"/>
                  <a:pt x="224" y="305"/>
                </a:cubicBezTo>
                <a:lnTo>
                  <a:pt x="224" y="144"/>
                </a:lnTo>
                <a:close/>
                <a:moveTo>
                  <a:pt x="208" y="289"/>
                </a:moveTo>
                <a:cubicBezTo>
                  <a:pt x="64" y="289"/>
                  <a:pt x="64" y="289"/>
                  <a:pt x="64" y="289"/>
                </a:cubicBezTo>
                <a:cubicBezTo>
                  <a:pt x="64" y="160"/>
                  <a:pt x="64" y="160"/>
                  <a:pt x="64" y="160"/>
                </a:cubicBezTo>
                <a:cubicBezTo>
                  <a:pt x="208" y="160"/>
                  <a:pt x="208" y="160"/>
                  <a:pt x="208" y="160"/>
                </a:cubicBezTo>
                <a:lnTo>
                  <a:pt x="208" y="289"/>
                </a:lnTo>
                <a:close/>
                <a:moveTo>
                  <a:pt x="321" y="96"/>
                </a:moveTo>
                <a:cubicBezTo>
                  <a:pt x="215" y="96"/>
                  <a:pt x="215" y="96"/>
                  <a:pt x="215" y="96"/>
                </a:cubicBezTo>
                <a:cubicBezTo>
                  <a:pt x="213" y="85"/>
                  <a:pt x="207" y="76"/>
                  <a:pt x="197" y="70"/>
                </a:cubicBezTo>
                <a:cubicBezTo>
                  <a:pt x="236" y="31"/>
                  <a:pt x="236" y="31"/>
                  <a:pt x="236" y="31"/>
                </a:cubicBezTo>
                <a:cubicBezTo>
                  <a:pt x="238" y="32"/>
                  <a:pt x="239" y="32"/>
                  <a:pt x="240" y="32"/>
                </a:cubicBezTo>
                <a:cubicBezTo>
                  <a:pt x="249" y="32"/>
                  <a:pt x="256" y="25"/>
                  <a:pt x="256" y="16"/>
                </a:cubicBezTo>
                <a:cubicBezTo>
                  <a:pt x="256" y="7"/>
                  <a:pt x="249" y="0"/>
                  <a:pt x="240" y="0"/>
                </a:cubicBezTo>
                <a:cubicBezTo>
                  <a:pt x="232" y="0"/>
                  <a:pt x="224" y="7"/>
                  <a:pt x="224" y="16"/>
                </a:cubicBezTo>
                <a:cubicBezTo>
                  <a:pt x="224" y="17"/>
                  <a:pt x="225" y="19"/>
                  <a:pt x="225" y="20"/>
                </a:cubicBezTo>
                <a:cubicBezTo>
                  <a:pt x="180" y="64"/>
                  <a:pt x="180" y="64"/>
                  <a:pt x="180" y="64"/>
                </a:cubicBezTo>
                <a:cubicBezTo>
                  <a:pt x="179" y="64"/>
                  <a:pt x="178" y="64"/>
                  <a:pt x="176" y="64"/>
                </a:cubicBezTo>
                <a:cubicBezTo>
                  <a:pt x="175" y="64"/>
                  <a:pt x="173" y="64"/>
                  <a:pt x="172" y="64"/>
                </a:cubicBezTo>
                <a:cubicBezTo>
                  <a:pt x="127" y="20"/>
                  <a:pt x="127" y="20"/>
                  <a:pt x="127" y="20"/>
                </a:cubicBezTo>
                <a:cubicBezTo>
                  <a:pt x="128" y="19"/>
                  <a:pt x="128" y="17"/>
                  <a:pt x="128" y="16"/>
                </a:cubicBezTo>
                <a:cubicBezTo>
                  <a:pt x="128" y="7"/>
                  <a:pt x="121" y="0"/>
                  <a:pt x="112" y="0"/>
                </a:cubicBezTo>
                <a:cubicBezTo>
                  <a:pt x="103" y="0"/>
                  <a:pt x="96" y="7"/>
                  <a:pt x="96" y="16"/>
                </a:cubicBezTo>
                <a:cubicBezTo>
                  <a:pt x="96" y="25"/>
                  <a:pt x="103" y="32"/>
                  <a:pt x="112" y="32"/>
                </a:cubicBezTo>
                <a:cubicBezTo>
                  <a:pt x="113" y="32"/>
                  <a:pt x="115" y="32"/>
                  <a:pt x="116" y="31"/>
                </a:cubicBezTo>
                <a:cubicBezTo>
                  <a:pt x="155" y="70"/>
                  <a:pt x="155" y="70"/>
                  <a:pt x="155" y="70"/>
                </a:cubicBezTo>
                <a:cubicBezTo>
                  <a:pt x="146" y="76"/>
                  <a:pt x="139" y="85"/>
                  <a:pt x="137" y="96"/>
                </a:cubicBezTo>
                <a:cubicBezTo>
                  <a:pt x="32" y="96"/>
                  <a:pt x="32" y="96"/>
                  <a:pt x="32" y="96"/>
                </a:cubicBezTo>
                <a:cubicBezTo>
                  <a:pt x="14" y="96"/>
                  <a:pt x="0" y="110"/>
                  <a:pt x="0" y="128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3"/>
                  <a:pt x="32" y="353"/>
                </a:cubicBezTo>
                <a:cubicBezTo>
                  <a:pt x="321" y="353"/>
                  <a:pt x="321" y="353"/>
                  <a:pt x="321" y="353"/>
                </a:cubicBezTo>
                <a:cubicBezTo>
                  <a:pt x="338" y="353"/>
                  <a:pt x="353" y="339"/>
                  <a:pt x="353" y="321"/>
                </a:cubicBezTo>
                <a:cubicBezTo>
                  <a:pt x="353" y="128"/>
                  <a:pt x="353" y="128"/>
                  <a:pt x="353" y="128"/>
                </a:cubicBezTo>
                <a:cubicBezTo>
                  <a:pt x="353" y="110"/>
                  <a:pt x="338" y="96"/>
                  <a:pt x="321" y="96"/>
                </a:cubicBezTo>
                <a:moveTo>
                  <a:pt x="256" y="337"/>
                </a:move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128"/>
                  <a:pt x="16" y="128"/>
                  <a:pt x="16" y="128"/>
                </a:cubicBezTo>
                <a:cubicBezTo>
                  <a:pt x="16" y="119"/>
                  <a:pt x="23" y="112"/>
                  <a:pt x="32" y="112"/>
                </a:cubicBezTo>
                <a:cubicBezTo>
                  <a:pt x="256" y="112"/>
                  <a:pt x="256" y="112"/>
                  <a:pt x="256" y="112"/>
                </a:cubicBezTo>
                <a:lnTo>
                  <a:pt x="256" y="337"/>
                </a:lnTo>
                <a:close/>
                <a:moveTo>
                  <a:pt x="337" y="321"/>
                </a:moveTo>
                <a:cubicBezTo>
                  <a:pt x="337" y="330"/>
                  <a:pt x="330" y="337"/>
                  <a:pt x="321" y="337"/>
                </a:cubicBezTo>
                <a:cubicBezTo>
                  <a:pt x="273" y="337"/>
                  <a:pt x="273" y="337"/>
                  <a:pt x="273" y="337"/>
                </a:cubicBezTo>
                <a:cubicBezTo>
                  <a:pt x="273" y="112"/>
                  <a:pt x="273" y="112"/>
                  <a:pt x="273" y="112"/>
                </a:cubicBezTo>
                <a:cubicBezTo>
                  <a:pt x="321" y="112"/>
                  <a:pt x="321" y="112"/>
                  <a:pt x="321" y="112"/>
                </a:cubicBezTo>
                <a:cubicBezTo>
                  <a:pt x="330" y="112"/>
                  <a:pt x="337" y="119"/>
                  <a:pt x="337" y="128"/>
                </a:cubicBezTo>
                <a:lnTo>
                  <a:pt x="337" y="321"/>
                </a:lnTo>
                <a:close/>
                <a:moveTo>
                  <a:pt x="305" y="225"/>
                </a:moveTo>
                <a:cubicBezTo>
                  <a:pt x="300" y="225"/>
                  <a:pt x="297" y="228"/>
                  <a:pt x="297" y="233"/>
                </a:cubicBezTo>
                <a:cubicBezTo>
                  <a:pt x="297" y="237"/>
                  <a:pt x="300" y="241"/>
                  <a:pt x="305" y="241"/>
                </a:cubicBezTo>
                <a:cubicBezTo>
                  <a:pt x="309" y="241"/>
                  <a:pt x="313" y="237"/>
                  <a:pt x="313" y="233"/>
                </a:cubicBezTo>
                <a:cubicBezTo>
                  <a:pt x="313" y="228"/>
                  <a:pt x="309" y="225"/>
                  <a:pt x="305" y="225"/>
                </a:cubicBezTo>
                <a:moveTo>
                  <a:pt x="305" y="192"/>
                </a:moveTo>
                <a:cubicBezTo>
                  <a:pt x="300" y="192"/>
                  <a:pt x="297" y="196"/>
                  <a:pt x="297" y="200"/>
                </a:cubicBezTo>
                <a:cubicBezTo>
                  <a:pt x="297" y="205"/>
                  <a:pt x="300" y="208"/>
                  <a:pt x="305" y="208"/>
                </a:cubicBezTo>
                <a:cubicBezTo>
                  <a:pt x="309" y="208"/>
                  <a:pt x="313" y="205"/>
                  <a:pt x="313" y="200"/>
                </a:cubicBezTo>
                <a:cubicBezTo>
                  <a:pt x="313" y="196"/>
                  <a:pt x="309" y="192"/>
                  <a:pt x="305" y="192"/>
                </a:cubicBezTo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Calibri"/>
              <a:cs typeface="Poppins" pitchFamily="2" charset="77"/>
              <a:sym typeface="Calibri"/>
            </a:endParaRPr>
          </a:p>
        </p:txBody>
      </p:sp>
      <p:sp>
        <p:nvSpPr>
          <p:cNvPr id="2080" name="Google Shape;1282;p221">
            <a:extLst>
              <a:ext uri="{FF2B5EF4-FFF2-40B4-BE49-F238E27FC236}">
                <a16:creationId xmlns:a16="http://schemas.microsoft.com/office/drawing/2014/main" id="{F0FB290F-23C1-AC81-F682-BE6D76A68F32}"/>
              </a:ext>
            </a:extLst>
          </p:cNvPr>
          <p:cNvSpPr txBox="1"/>
          <p:nvPr/>
        </p:nvSpPr>
        <p:spPr>
          <a:xfrm>
            <a:off x="2753827" y="1080372"/>
            <a:ext cx="1014143" cy="5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LINEAR TV/ AV</a:t>
            </a:r>
            <a:endParaRPr kumimoji="0" lang="en-GB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" pitchFamily="2" charset="77"/>
              <a:ea typeface="Uber Move"/>
              <a:cs typeface="Poppins" pitchFamily="2" charset="77"/>
              <a:sym typeface="Uber Move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GRPs 30” = 1,200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R1+ = 60%</a:t>
            </a:r>
          </a:p>
        </p:txBody>
      </p:sp>
      <p:sp>
        <p:nvSpPr>
          <p:cNvPr id="2081" name="Google Shape;1901;p243">
            <a:extLst>
              <a:ext uri="{FF2B5EF4-FFF2-40B4-BE49-F238E27FC236}">
                <a16:creationId xmlns:a16="http://schemas.microsoft.com/office/drawing/2014/main" id="{2A0B7263-C6C7-D8A8-7B2B-AE90961DA1A5}"/>
              </a:ext>
            </a:extLst>
          </p:cNvPr>
          <p:cNvSpPr/>
          <p:nvPr/>
        </p:nvSpPr>
        <p:spPr>
          <a:xfrm>
            <a:off x="4116754" y="1228596"/>
            <a:ext cx="238597" cy="224951"/>
          </a:xfrm>
          <a:custGeom>
            <a:avLst/>
            <a:gdLst/>
            <a:ahLst/>
            <a:cxnLst/>
            <a:rect l="l" t="t" r="r" b="b"/>
            <a:pathLst>
              <a:path w="353" h="354" extrusionOk="0">
                <a:moveTo>
                  <a:pt x="203" y="144"/>
                </a:moveTo>
                <a:cubicBezTo>
                  <a:pt x="209" y="144"/>
                  <a:pt x="215" y="139"/>
                  <a:pt x="215" y="139"/>
                </a:cubicBezTo>
                <a:cubicBezTo>
                  <a:pt x="215" y="143"/>
                  <a:pt x="215" y="143"/>
                  <a:pt x="215" y="143"/>
                </a:cubicBezTo>
                <a:cubicBezTo>
                  <a:pt x="225" y="143"/>
                  <a:pt x="225" y="143"/>
                  <a:pt x="225" y="143"/>
                </a:cubicBezTo>
                <a:cubicBezTo>
                  <a:pt x="225" y="96"/>
                  <a:pt x="225" y="96"/>
                  <a:pt x="225" y="96"/>
                </a:cubicBezTo>
                <a:cubicBezTo>
                  <a:pt x="215" y="96"/>
                  <a:pt x="215" y="96"/>
                  <a:pt x="215" y="96"/>
                </a:cubicBezTo>
                <a:cubicBezTo>
                  <a:pt x="215" y="133"/>
                  <a:pt x="215" y="133"/>
                  <a:pt x="215" y="133"/>
                </a:cubicBezTo>
                <a:cubicBezTo>
                  <a:pt x="215" y="133"/>
                  <a:pt x="212" y="137"/>
                  <a:pt x="208" y="137"/>
                </a:cubicBezTo>
                <a:cubicBezTo>
                  <a:pt x="205" y="137"/>
                  <a:pt x="205" y="134"/>
                  <a:pt x="205" y="134"/>
                </a:cubicBezTo>
                <a:cubicBezTo>
                  <a:pt x="205" y="96"/>
                  <a:pt x="205" y="96"/>
                  <a:pt x="205" y="96"/>
                </a:cubicBezTo>
                <a:cubicBezTo>
                  <a:pt x="195" y="96"/>
                  <a:pt x="195" y="96"/>
                  <a:pt x="195" y="96"/>
                </a:cubicBezTo>
                <a:cubicBezTo>
                  <a:pt x="195" y="138"/>
                  <a:pt x="195" y="138"/>
                  <a:pt x="195" y="138"/>
                </a:cubicBezTo>
                <a:cubicBezTo>
                  <a:pt x="195" y="138"/>
                  <a:pt x="196" y="144"/>
                  <a:pt x="203" y="144"/>
                </a:cubicBezTo>
                <a:moveTo>
                  <a:pt x="169" y="144"/>
                </a:moveTo>
                <a:cubicBezTo>
                  <a:pt x="173" y="144"/>
                  <a:pt x="173" y="144"/>
                  <a:pt x="173" y="144"/>
                </a:cubicBezTo>
                <a:cubicBezTo>
                  <a:pt x="180" y="144"/>
                  <a:pt x="186" y="138"/>
                  <a:pt x="186" y="131"/>
                </a:cubicBezTo>
                <a:cubicBezTo>
                  <a:pt x="186" y="110"/>
                  <a:pt x="186" y="110"/>
                  <a:pt x="186" y="110"/>
                </a:cubicBezTo>
                <a:cubicBezTo>
                  <a:pt x="186" y="102"/>
                  <a:pt x="180" y="96"/>
                  <a:pt x="173" y="96"/>
                </a:cubicBezTo>
                <a:cubicBezTo>
                  <a:pt x="169" y="96"/>
                  <a:pt x="169" y="96"/>
                  <a:pt x="169" y="96"/>
                </a:cubicBezTo>
                <a:cubicBezTo>
                  <a:pt x="162" y="96"/>
                  <a:pt x="156" y="102"/>
                  <a:pt x="156" y="110"/>
                </a:cubicBezTo>
                <a:cubicBezTo>
                  <a:pt x="156" y="131"/>
                  <a:pt x="156" y="131"/>
                  <a:pt x="156" y="131"/>
                </a:cubicBezTo>
                <a:cubicBezTo>
                  <a:pt x="156" y="138"/>
                  <a:pt x="162" y="144"/>
                  <a:pt x="169" y="144"/>
                </a:cubicBezTo>
                <a:moveTo>
                  <a:pt x="166" y="109"/>
                </a:moveTo>
                <a:cubicBezTo>
                  <a:pt x="166" y="106"/>
                  <a:pt x="168" y="104"/>
                  <a:pt x="171" y="104"/>
                </a:cubicBezTo>
                <a:cubicBezTo>
                  <a:pt x="174" y="104"/>
                  <a:pt x="176" y="106"/>
                  <a:pt x="176" y="109"/>
                </a:cubicBezTo>
                <a:cubicBezTo>
                  <a:pt x="176" y="132"/>
                  <a:pt x="176" y="132"/>
                  <a:pt x="176" y="132"/>
                </a:cubicBezTo>
                <a:cubicBezTo>
                  <a:pt x="176" y="135"/>
                  <a:pt x="174" y="137"/>
                  <a:pt x="171" y="137"/>
                </a:cubicBezTo>
                <a:cubicBezTo>
                  <a:pt x="168" y="137"/>
                  <a:pt x="166" y="135"/>
                  <a:pt x="166" y="132"/>
                </a:cubicBezTo>
                <a:lnTo>
                  <a:pt x="166" y="109"/>
                </a:lnTo>
                <a:close/>
                <a:moveTo>
                  <a:pt x="130" y="143"/>
                </a:moveTo>
                <a:cubicBezTo>
                  <a:pt x="142" y="143"/>
                  <a:pt x="142" y="143"/>
                  <a:pt x="142" y="143"/>
                </a:cubicBezTo>
                <a:cubicBezTo>
                  <a:pt x="142" y="118"/>
                  <a:pt x="142" y="118"/>
                  <a:pt x="142" y="118"/>
                </a:cubicBezTo>
                <a:cubicBezTo>
                  <a:pt x="155" y="82"/>
                  <a:pt x="155" y="82"/>
                  <a:pt x="155" y="82"/>
                </a:cubicBezTo>
                <a:cubicBezTo>
                  <a:pt x="145" y="82"/>
                  <a:pt x="145" y="82"/>
                  <a:pt x="145" y="82"/>
                </a:cubicBezTo>
                <a:cubicBezTo>
                  <a:pt x="136" y="106"/>
                  <a:pt x="136" y="106"/>
                  <a:pt x="136" y="106"/>
                </a:cubicBezTo>
                <a:cubicBezTo>
                  <a:pt x="128" y="82"/>
                  <a:pt x="128" y="82"/>
                  <a:pt x="128" y="82"/>
                </a:cubicBezTo>
                <a:cubicBezTo>
                  <a:pt x="116" y="82"/>
                  <a:pt x="116" y="82"/>
                  <a:pt x="116" y="82"/>
                </a:cubicBezTo>
                <a:cubicBezTo>
                  <a:pt x="130" y="118"/>
                  <a:pt x="130" y="118"/>
                  <a:pt x="130" y="118"/>
                </a:cubicBezTo>
                <a:lnTo>
                  <a:pt x="130" y="143"/>
                </a:lnTo>
                <a:close/>
                <a:moveTo>
                  <a:pt x="321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4"/>
                  <a:pt x="32" y="354"/>
                </a:cubicBezTo>
                <a:cubicBezTo>
                  <a:pt x="321" y="354"/>
                  <a:pt x="321" y="354"/>
                  <a:pt x="321" y="354"/>
                </a:cubicBezTo>
                <a:cubicBezTo>
                  <a:pt x="339" y="354"/>
                  <a:pt x="353" y="339"/>
                  <a:pt x="353" y="321"/>
                </a:cubicBezTo>
                <a:cubicBezTo>
                  <a:pt x="353" y="32"/>
                  <a:pt x="353" y="32"/>
                  <a:pt x="353" y="32"/>
                </a:cubicBezTo>
                <a:cubicBezTo>
                  <a:pt x="353" y="15"/>
                  <a:pt x="339" y="0"/>
                  <a:pt x="321" y="0"/>
                </a:cubicBezTo>
                <a:moveTo>
                  <a:pt x="337" y="321"/>
                </a:moveTo>
                <a:cubicBezTo>
                  <a:pt x="337" y="330"/>
                  <a:pt x="330" y="338"/>
                  <a:pt x="321" y="338"/>
                </a:cubicBezTo>
                <a:cubicBezTo>
                  <a:pt x="32" y="338"/>
                  <a:pt x="32" y="338"/>
                  <a:pt x="32" y="338"/>
                </a:cubicBezTo>
                <a:cubicBezTo>
                  <a:pt x="23" y="338"/>
                  <a:pt x="16" y="330"/>
                  <a:pt x="16" y="321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24"/>
                  <a:pt x="23" y="16"/>
                  <a:pt x="32" y="16"/>
                </a:cubicBezTo>
                <a:cubicBezTo>
                  <a:pt x="321" y="16"/>
                  <a:pt x="321" y="16"/>
                  <a:pt x="321" y="16"/>
                </a:cubicBezTo>
                <a:cubicBezTo>
                  <a:pt x="330" y="16"/>
                  <a:pt x="337" y="24"/>
                  <a:pt x="337" y="32"/>
                </a:cubicBezTo>
                <a:lnTo>
                  <a:pt x="337" y="321"/>
                </a:lnTo>
                <a:close/>
                <a:moveTo>
                  <a:pt x="196" y="198"/>
                </a:moveTo>
                <a:cubicBezTo>
                  <a:pt x="194" y="198"/>
                  <a:pt x="192" y="199"/>
                  <a:pt x="191" y="201"/>
                </a:cubicBezTo>
                <a:cubicBezTo>
                  <a:pt x="191" y="234"/>
                  <a:pt x="191" y="234"/>
                  <a:pt x="191" y="234"/>
                </a:cubicBezTo>
                <a:cubicBezTo>
                  <a:pt x="192" y="235"/>
                  <a:pt x="194" y="236"/>
                  <a:pt x="196" y="236"/>
                </a:cubicBezTo>
                <a:cubicBezTo>
                  <a:pt x="201" y="236"/>
                  <a:pt x="201" y="231"/>
                  <a:pt x="201" y="231"/>
                </a:cubicBezTo>
                <a:cubicBezTo>
                  <a:pt x="201" y="204"/>
                  <a:pt x="201" y="204"/>
                  <a:pt x="201" y="204"/>
                </a:cubicBezTo>
                <a:cubicBezTo>
                  <a:pt x="201" y="204"/>
                  <a:pt x="200" y="198"/>
                  <a:pt x="196" y="198"/>
                </a:cubicBezTo>
                <a:moveTo>
                  <a:pt x="237" y="155"/>
                </a:moveTo>
                <a:cubicBezTo>
                  <a:pt x="237" y="155"/>
                  <a:pt x="207" y="153"/>
                  <a:pt x="176" y="153"/>
                </a:cubicBezTo>
                <a:cubicBezTo>
                  <a:pt x="146" y="153"/>
                  <a:pt x="116" y="155"/>
                  <a:pt x="116" y="155"/>
                </a:cubicBezTo>
                <a:cubicBezTo>
                  <a:pt x="102" y="155"/>
                  <a:pt x="91" y="165"/>
                  <a:pt x="91" y="178"/>
                </a:cubicBezTo>
                <a:cubicBezTo>
                  <a:pt x="91" y="178"/>
                  <a:pt x="88" y="194"/>
                  <a:pt x="88" y="209"/>
                </a:cubicBezTo>
                <a:cubicBezTo>
                  <a:pt x="88" y="225"/>
                  <a:pt x="91" y="240"/>
                  <a:pt x="91" y="240"/>
                </a:cubicBezTo>
                <a:cubicBezTo>
                  <a:pt x="91" y="253"/>
                  <a:pt x="102" y="264"/>
                  <a:pt x="116" y="264"/>
                </a:cubicBezTo>
                <a:cubicBezTo>
                  <a:pt x="116" y="264"/>
                  <a:pt x="146" y="265"/>
                  <a:pt x="176" y="265"/>
                </a:cubicBezTo>
                <a:cubicBezTo>
                  <a:pt x="206" y="265"/>
                  <a:pt x="237" y="264"/>
                  <a:pt x="237" y="264"/>
                </a:cubicBezTo>
                <a:cubicBezTo>
                  <a:pt x="251" y="264"/>
                  <a:pt x="262" y="253"/>
                  <a:pt x="262" y="240"/>
                </a:cubicBezTo>
                <a:cubicBezTo>
                  <a:pt x="262" y="240"/>
                  <a:pt x="265" y="224"/>
                  <a:pt x="265" y="209"/>
                </a:cubicBezTo>
                <a:cubicBezTo>
                  <a:pt x="265" y="194"/>
                  <a:pt x="262" y="178"/>
                  <a:pt x="262" y="178"/>
                </a:cubicBezTo>
                <a:cubicBezTo>
                  <a:pt x="262" y="165"/>
                  <a:pt x="251" y="155"/>
                  <a:pt x="237" y="155"/>
                </a:cubicBezTo>
                <a:moveTo>
                  <a:pt x="140" y="181"/>
                </a:moveTo>
                <a:cubicBezTo>
                  <a:pt x="128" y="181"/>
                  <a:pt x="128" y="181"/>
                  <a:pt x="128" y="181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16" y="244"/>
                  <a:pt x="116" y="244"/>
                  <a:pt x="116" y="244"/>
                </a:cubicBezTo>
                <a:cubicBezTo>
                  <a:pt x="116" y="181"/>
                  <a:pt x="116" y="181"/>
                  <a:pt x="116" y="181"/>
                </a:cubicBezTo>
                <a:cubicBezTo>
                  <a:pt x="104" y="181"/>
                  <a:pt x="104" y="181"/>
                  <a:pt x="104" y="181"/>
                </a:cubicBezTo>
                <a:cubicBezTo>
                  <a:pt x="104" y="171"/>
                  <a:pt x="104" y="171"/>
                  <a:pt x="104" y="171"/>
                </a:cubicBezTo>
                <a:cubicBezTo>
                  <a:pt x="140" y="171"/>
                  <a:pt x="140" y="171"/>
                  <a:pt x="140" y="171"/>
                </a:cubicBezTo>
                <a:lnTo>
                  <a:pt x="140" y="181"/>
                </a:lnTo>
                <a:close/>
                <a:moveTo>
                  <a:pt x="172" y="244"/>
                </a:moveTo>
                <a:cubicBezTo>
                  <a:pt x="162" y="244"/>
                  <a:pt x="162" y="244"/>
                  <a:pt x="162" y="244"/>
                </a:cubicBezTo>
                <a:cubicBezTo>
                  <a:pt x="162" y="239"/>
                  <a:pt x="162" y="239"/>
                  <a:pt x="162" y="239"/>
                </a:cubicBezTo>
                <a:cubicBezTo>
                  <a:pt x="162" y="239"/>
                  <a:pt x="156" y="245"/>
                  <a:pt x="150" y="245"/>
                </a:cubicBezTo>
                <a:cubicBezTo>
                  <a:pt x="143" y="245"/>
                  <a:pt x="142" y="238"/>
                  <a:pt x="142" y="238"/>
                </a:cubicBezTo>
                <a:cubicBezTo>
                  <a:pt x="142" y="189"/>
                  <a:pt x="142" y="189"/>
                  <a:pt x="142" y="189"/>
                </a:cubicBezTo>
                <a:cubicBezTo>
                  <a:pt x="152" y="189"/>
                  <a:pt x="152" y="189"/>
                  <a:pt x="152" y="189"/>
                </a:cubicBezTo>
                <a:cubicBezTo>
                  <a:pt x="152" y="235"/>
                  <a:pt x="152" y="235"/>
                  <a:pt x="152" y="235"/>
                </a:cubicBezTo>
                <a:cubicBezTo>
                  <a:pt x="152" y="235"/>
                  <a:pt x="152" y="238"/>
                  <a:pt x="155" y="238"/>
                </a:cubicBezTo>
                <a:cubicBezTo>
                  <a:pt x="159" y="238"/>
                  <a:pt x="162" y="234"/>
                  <a:pt x="162" y="234"/>
                </a:cubicBezTo>
                <a:cubicBezTo>
                  <a:pt x="162" y="189"/>
                  <a:pt x="162" y="189"/>
                  <a:pt x="162" y="189"/>
                </a:cubicBezTo>
                <a:cubicBezTo>
                  <a:pt x="172" y="189"/>
                  <a:pt x="172" y="189"/>
                  <a:pt x="172" y="189"/>
                </a:cubicBezTo>
                <a:lnTo>
                  <a:pt x="172" y="244"/>
                </a:lnTo>
                <a:close/>
                <a:moveTo>
                  <a:pt x="211" y="232"/>
                </a:moveTo>
                <a:cubicBezTo>
                  <a:pt x="211" y="232"/>
                  <a:pt x="211" y="245"/>
                  <a:pt x="202" y="245"/>
                </a:cubicBezTo>
                <a:cubicBezTo>
                  <a:pt x="196" y="245"/>
                  <a:pt x="193" y="242"/>
                  <a:pt x="191" y="239"/>
                </a:cubicBezTo>
                <a:cubicBezTo>
                  <a:pt x="191" y="244"/>
                  <a:pt x="191" y="244"/>
                  <a:pt x="191" y="244"/>
                </a:cubicBezTo>
                <a:cubicBezTo>
                  <a:pt x="180" y="244"/>
                  <a:pt x="180" y="244"/>
                  <a:pt x="180" y="244"/>
                </a:cubicBezTo>
                <a:cubicBezTo>
                  <a:pt x="180" y="171"/>
                  <a:pt x="180" y="171"/>
                  <a:pt x="180" y="171"/>
                </a:cubicBezTo>
                <a:cubicBezTo>
                  <a:pt x="191" y="171"/>
                  <a:pt x="191" y="171"/>
                  <a:pt x="191" y="171"/>
                </a:cubicBezTo>
                <a:cubicBezTo>
                  <a:pt x="191" y="195"/>
                  <a:pt x="191" y="195"/>
                  <a:pt x="191" y="195"/>
                </a:cubicBezTo>
                <a:cubicBezTo>
                  <a:pt x="193" y="193"/>
                  <a:pt x="197" y="189"/>
                  <a:pt x="202" y="189"/>
                </a:cubicBezTo>
                <a:cubicBezTo>
                  <a:pt x="208" y="189"/>
                  <a:pt x="211" y="195"/>
                  <a:pt x="211" y="202"/>
                </a:cubicBezTo>
                <a:lnTo>
                  <a:pt x="211" y="232"/>
                </a:lnTo>
                <a:close/>
                <a:moveTo>
                  <a:pt x="250" y="203"/>
                </a:moveTo>
                <a:cubicBezTo>
                  <a:pt x="250" y="219"/>
                  <a:pt x="250" y="219"/>
                  <a:pt x="250" y="219"/>
                </a:cubicBezTo>
                <a:cubicBezTo>
                  <a:pt x="229" y="219"/>
                  <a:pt x="229" y="219"/>
                  <a:pt x="229" y="219"/>
                </a:cubicBezTo>
                <a:cubicBezTo>
                  <a:pt x="229" y="231"/>
                  <a:pt x="229" y="231"/>
                  <a:pt x="229" y="231"/>
                </a:cubicBezTo>
                <a:cubicBezTo>
                  <a:pt x="229" y="231"/>
                  <a:pt x="229" y="236"/>
                  <a:pt x="234" y="236"/>
                </a:cubicBezTo>
                <a:cubicBezTo>
                  <a:pt x="239" y="236"/>
                  <a:pt x="239" y="231"/>
                  <a:pt x="239" y="231"/>
                </a:cubicBezTo>
                <a:cubicBezTo>
                  <a:pt x="239" y="225"/>
                  <a:pt x="239" y="225"/>
                  <a:pt x="239" y="225"/>
                </a:cubicBezTo>
                <a:cubicBezTo>
                  <a:pt x="250" y="225"/>
                  <a:pt x="250" y="225"/>
                  <a:pt x="250" y="225"/>
                </a:cubicBezTo>
                <a:cubicBezTo>
                  <a:pt x="250" y="234"/>
                  <a:pt x="250" y="234"/>
                  <a:pt x="250" y="234"/>
                </a:cubicBezTo>
                <a:cubicBezTo>
                  <a:pt x="250" y="234"/>
                  <a:pt x="248" y="245"/>
                  <a:pt x="235" y="245"/>
                </a:cubicBezTo>
                <a:cubicBezTo>
                  <a:pt x="222" y="245"/>
                  <a:pt x="219" y="234"/>
                  <a:pt x="219" y="234"/>
                </a:cubicBezTo>
                <a:cubicBezTo>
                  <a:pt x="219" y="203"/>
                  <a:pt x="219" y="203"/>
                  <a:pt x="219" y="203"/>
                </a:cubicBezTo>
                <a:cubicBezTo>
                  <a:pt x="219" y="203"/>
                  <a:pt x="219" y="189"/>
                  <a:pt x="235" y="189"/>
                </a:cubicBezTo>
                <a:cubicBezTo>
                  <a:pt x="251" y="189"/>
                  <a:pt x="250" y="203"/>
                  <a:pt x="250" y="203"/>
                </a:cubicBezTo>
                <a:moveTo>
                  <a:pt x="234" y="198"/>
                </a:moveTo>
                <a:cubicBezTo>
                  <a:pt x="229" y="198"/>
                  <a:pt x="229" y="204"/>
                  <a:pt x="229" y="204"/>
                </a:cubicBezTo>
                <a:cubicBezTo>
                  <a:pt x="229" y="211"/>
                  <a:pt x="229" y="211"/>
                  <a:pt x="229" y="211"/>
                </a:cubicBezTo>
                <a:cubicBezTo>
                  <a:pt x="239" y="211"/>
                  <a:pt x="239" y="211"/>
                  <a:pt x="239" y="211"/>
                </a:cubicBezTo>
                <a:cubicBezTo>
                  <a:pt x="239" y="204"/>
                  <a:pt x="239" y="204"/>
                  <a:pt x="239" y="204"/>
                </a:cubicBezTo>
                <a:cubicBezTo>
                  <a:pt x="239" y="204"/>
                  <a:pt x="239" y="198"/>
                  <a:pt x="234" y="198"/>
                </a:cubicBezTo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Calibri"/>
              <a:cs typeface="Poppins" pitchFamily="2" charset="77"/>
              <a:sym typeface="Calibri"/>
            </a:endParaRPr>
          </a:p>
        </p:txBody>
      </p:sp>
      <p:sp>
        <p:nvSpPr>
          <p:cNvPr id="2082" name="Google Shape;1282;p221">
            <a:extLst>
              <a:ext uri="{FF2B5EF4-FFF2-40B4-BE49-F238E27FC236}">
                <a16:creationId xmlns:a16="http://schemas.microsoft.com/office/drawing/2014/main" id="{009A5783-C640-371C-7D8D-EF55C328F2FE}"/>
              </a:ext>
            </a:extLst>
          </p:cNvPr>
          <p:cNvSpPr txBox="1"/>
          <p:nvPr/>
        </p:nvSpPr>
        <p:spPr>
          <a:xfrm>
            <a:off x="4435768" y="1080372"/>
            <a:ext cx="1261048" cy="1116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YOUTUBE (DV360)</a:t>
            </a:r>
            <a:r>
              <a:rPr kumimoji="0" lang="en-GB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 </a:t>
            </a: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" pitchFamily="2" charset="77"/>
              <a:ea typeface="Uber Move"/>
              <a:cs typeface="Poppins" pitchFamily="2" charset="77"/>
              <a:sym typeface="Uber Move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Generic product launch communicate to high value audiences. Optimised by impression.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Format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30s, 15s, 6s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KPIs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VTR 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Measurement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BLS – Ad Recall</a:t>
            </a:r>
          </a:p>
        </p:txBody>
      </p:sp>
      <p:pic>
        <p:nvPicPr>
          <p:cNvPr id="2083" name="Obraz 25">
            <a:extLst>
              <a:ext uri="{FF2B5EF4-FFF2-40B4-BE49-F238E27FC236}">
                <a16:creationId xmlns:a16="http://schemas.microsoft.com/office/drawing/2014/main" id="{ED095AE9-CA46-AB3F-61E6-7081A3D0DB56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45083" y="2100807"/>
            <a:ext cx="624426" cy="214782"/>
          </a:xfrm>
          <a:prstGeom prst="rect">
            <a:avLst/>
          </a:prstGeom>
        </p:spPr>
      </p:pic>
      <p:pic>
        <p:nvPicPr>
          <p:cNvPr id="2084" name="Picture 5" descr="Logo&#10;&#10;Description automatically generated">
            <a:extLst>
              <a:ext uri="{FF2B5EF4-FFF2-40B4-BE49-F238E27FC236}">
                <a16:creationId xmlns:a16="http://schemas.microsoft.com/office/drawing/2014/main" id="{8AEB7AA9-508D-BDE4-AC8D-9850D49F3A1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772514" y="1733726"/>
            <a:ext cx="771022" cy="335934"/>
          </a:xfrm>
          <a:prstGeom prst="rect">
            <a:avLst/>
          </a:prstGeom>
        </p:spPr>
      </p:pic>
      <p:pic>
        <p:nvPicPr>
          <p:cNvPr id="2085" name="Picture 6" descr="Logo&#10;&#10;Description automatically generated">
            <a:extLst>
              <a:ext uri="{FF2B5EF4-FFF2-40B4-BE49-F238E27FC236}">
                <a16:creationId xmlns:a16="http://schemas.microsoft.com/office/drawing/2014/main" id="{6A26F4FE-405F-78A6-8C3E-2867778E395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484079" y="1757793"/>
            <a:ext cx="254488" cy="275653"/>
          </a:xfrm>
          <a:prstGeom prst="rect">
            <a:avLst/>
          </a:prstGeom>
        </p:spPr>
      </p:pic>
      <p:pic>
        <p:nvPicPr>
          <p:cNvPr id="2086" name="Picture 10" descr="Diagram&#10;&#10;Description automatically generated">
            <a:extLst>
              <a:ext uri="{FF2B5EF4-FFF2-40B4-BE49-F238E27FC236}">
                <a16:creationId xmlns:a16="http://schemas.microsoft.com/office/drawing/2014/main" id="{5EB56252-0142-9369-12D8-614EC442B6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9176" y="1484546"/>
            <a:ext cx="732637" cy="410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7" name="Picture 2086">
            <a:extLst>
              <a:ext uri="{FF2B5EF4-FFF2-40B4-BE49-F238E27FC236}">
                <a16:creationId xmlns:a16="http://schemas.microsoft.com/office/drawing/2014/main" id="{94D5963B-659C-993F-295D-BD53AD1109E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606921" y="1916703"/>
            <a:ext cx="732638" cy="438868"/>
          </a:xfrm>
          <a:prstGeom prst="rect">
            <a:avLst/>
          </a:prstGeom>
        </p:spPr>
      </p:pic>
      <p:sp>
        <p:nvSpPr>
          <p:cNvPr id="2088" name="Google Shape;1282;p221">
            <a:extLst>
              <a:ext uri="{FF2B5EF4-FFF2-40B4-BE49-F238E27FC236}">
                <a16:creationId xmlns:a16="http://schemas.microsoft.com/office/drawing/2014/main" id="{0537D83B-3CB7-1C42-C3EE-9ACE4AC560B6}"/>
              </a:ext>
            </a:extLst>
          </p:cNvPr>
          <p:cNvSpPr txBox="1"/>
          <p:nvPr/>
        </p:nvSpPr>
        <p:spPr>
          <a:xfrm>
            <a:off x="7572632" y="1080372"/>
            <a:ext cx="840066" cy="1130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OOH</a:t>
            </a:r>
            <a:endParaRPr kumimoji="0" lang="en-GB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" pitchFamily="2" charset="77"/>
              <a:ea typeface="Uber Move"/>
              <a:cs typeface="Poppins" pitchFamily="2" charset="77"/>
              <a:sym typeface="Uber Move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Generic product launch communicate/visibility on the go.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KPIs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Traffic</a:t>
            </a:r>
          </a:p>
        </p:txBody>
      </p:sp>
      <p:sp>
        <p:nvSpPr>
          <p:cNvPr id="2089" name="Google Shape;1282;p221">
            <a:extLst>
              <a:ext uri="{FF2B5EF4-FFF2-40B4-BE49-F238E27FC236}">
                <a16:creationId xmlns:a16="http://schemas.microsoft.com/office/drawing/2014/main" id="{2ACE25B6-FBF8-BF65-7DC7-8036D7F8EE67}"/>
              </a:ext>
            </a:extLst>
          </p:cNvPr>
          <p:cNvSpPr txBox="1"/>
          <p:nvPr/>
        </p:nvSpPr>
        <p:spPr>
          <a:xfrm>
            <a:off x="8756817" y="1080372"/>
            <a:ext cx="1180200" cy="11308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EVENT &amp; PR</a:t>
            </a:r>
            <a:endParaRPr kumimoji="0" lang="en-GB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" pitchFamily="2" charset="77"/>
              <a:ea typeface="Uber Move"/>
              <a:cs typeface="Poppins" pitchFamily="2" charset="77"/>
              <a:sym typeface="Uber Move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Product launch communicate through media voice.</a:t>
            </a:r>
          </a:p>
        </p:txBody>
      </p:sp>
      <p:sp>
        <p:nvSpPr>
          <p:cNvPr id="2090" name="Google Shape;1282;p221">
            <a:extLst>
              <a:ext uri="{FF2B5EF4-FFF2-40B4-BE49-F238E27FC236}">
                <a16:creationId xmlns:a16="http://schemas.microsoft.com/office/drawing/2014/main" id="{CFCCA0A7-5ADB-99F2-5FCE-8C337EDA2F81}"/>
              </a:ext>
            </a:extLst>
          </p:cNvPr>
          <p:cNvSpPr txBox="1"/>
          <p:nvPr/>
        </p:nvSpPr>
        <p:spPr>
          <a:xfrm>
            <a:off x="5995277" y="1080372"/>
            <a:ext cx="1577355" cy="5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META - OLV R&amp;F</a:t>
            </a:r>
            <a:endParaRPr kumimoji="0" lang="en-GB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" pitchFamily="2" charset="77"/>
              <a:ea typeface="Uber Move"/>
              <a:cs typeface="Poppins" pitchFamily="2" charset="77"/>
              <a:sym typeface="Uber Move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Generic product </a:t>
            </a:r>
            <a:b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</a:b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launch communicate </a:t>
            </a:r>
            <a:b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</a:b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to high value </a:t>
            </a:r>
            <a:b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</a:b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audiences. Optimised </a:t>
            </a:r>
            <a:b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</a:b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by impression.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Format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15s, 6s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KPIs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Reach &amp; Freq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Measurement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BLS – Ad Recall</a:t>
            </a:r>
          </a:p>
        </p:txBody>
      </p:sp>
      <p:sp>
        <p:nvSpPr>
          <p:cNvPr id="2100" name="Google Shape;1282;p221">
            <a:extLst>
              <a:ext uri="{FF2B5EF4-FFF2-40B4-BE49-F238E27FC236}">
                <a16:creationId xmlns:a16="http://schemas.microsoft.com/office/drawing/2014/main" id="{CDB71FCF-8841-C7B9-B621-E5A3C5C30C73}"/>
              </a:ext>
            </a:extLst>
          </p:cNvPr>
          <p:cNvSpPr txBox="1"/>
          <p:nvPr/>
        </p:nvSpPr>
        <p:spPr>
          <a:xfrm>
            <a:off x="3540100" y="2433872"/>
            <a:ext cx="1297052" cy="5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SOCIAL OLV</a:t>
            </a:r>
            <a:endParaRPr kumimoji="0" lang="en-GB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" pitchFamily="2" charset="77"/>
              <a:ea typeface="Uber Move"/>
              <a:cs typeface="Poppins" pitchFamily="2" charset="77"/>
              <a:sym typeface="Uber Move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Increasing consideration and driving switch from competitor products.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KPIs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VTR 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Measurement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BLS – Consideration</a:t>
            </a:r>
          </a:p>
        </p:txBody>
      </p:sp>
      <p:sp>
        <p:nvSpPr>
          <p:cNvPr id="2101" name="Google Shape;1282;p221">
            <a:extLst>
              <a:ext uri="{FF2B5EF4-FFF2-40B4-BE49-F238E27FC236}">
                <a16:creationId xmlns:a16="http://schemas.microsoft.com/office/drawing/2014/main" id="{52FB7375-990F-EFCC-DD93-D13C8BC4CFE6}"/>
              </a:ext>
            </a:extLst>
          </p:cNvPr>
          <p:cNvSpPr txBox="1"/>
          <p:nvPr/>
        </p:nvSpPr>
        <p:spPr>
          <a:xfrm>
            <a:off x="2168329" y="2433872"/>
            <a:ext cx="924338" cy="5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SEARCH AD</a:t>
            </a:r>
            <a:endParaRPr kumimoji="0" lang="en-GB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" pitchFamily="2" charset="77"/>
              <a:ea typeface="Uber Move"/>
              <a:cs typeface="Poppins" pitchFamily="2" charset="77"/>
              <a:sym typeface="Uber Move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Increasing consideration and driving switch from competitor products.</a:t>
            </a:r>
          </a:p>
        </p:txBody>
      </p:sp>
      <p:sp>
        <p:nvSpPr>
          <p:cNvPr id="2102" name="Google Shape;1282;p221">
            <a:extLst>
              <a:ext uri="{FF2B5EF4-FFF2-40B4-BE49-F238E27FC236}">
                <a16:creationId xmlns:a16="http://schemas.microsoft.com/office/drawing/2014/main" id="{2B4D5FE1-2541-CA20-CCB7-5E64091093F8}"/>
              </a:ext>
            </a:extLst>
          </p:cNvPr>
          <p:cNvSpPr txBox="1"/>
          <p:nvPr/>
        </p:nvSpPr>
        <p:spPr>
          <a:xfrm>
            <a:off x="5297662" y="3326875"/>
            <a:ext cx="1252177" cy="1032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WEBSITE CONVERSION – RETARGETING AD</a:t>
            </a:r>
            <a:endParaRPr kumimoji="0" lang="en-GB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" pitchFamily="2" charset="77"/>
              <a:ea typeface="Uber Move"/>
              <a:cs typeface="Poppins" pitchFamily="2" charset="77"/>
              <a:sym typeface="Uber Move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Increasing purchase intent and lead them to product list /purchase page.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KPIs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%Acquisition, Click to website, Pageview</a:t>
            </a:r>
            <a:b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</a:b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Measurement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BLS – Purchase Intent</a:t>
            </a:r>
          </a:p>
        </p:txBody>
      </p:sp>
      <p:sp>
        <p:nvSpPr>
          <p:cNvPr id="2103" name="Google Shape;1282;p221">
            <a:extLst>
              <a:ext uri="{FF2B5EF4-FFF2-40B4-BE49-F238E27FC236}">
                <a16:creationId xmlns:a16="http://schemas.microsoft.com/office/drawing/2014/main" id="{FE8E9ACB-FBDB-4EDC-13EA-745DE8DB5109}"/>
              </a:ext>
            </a:extLst>
          </p:cNvPr>
          <p:cNvSpPr txBox="1"/>
          <p:nvPr/>
        </p:nvSpPr>
        <p:spPr>
          <a:xfrm>
            <a:off x="2168329" y="3503224"/>
            <a:ext cx="930263" cy="5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SEARCH ADS</a:t>
            </a:r>
            <a:endParaRPr kumimoji="0" lang="en-GB" sz="5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" pitchFamily="2" charset="77"/>
              <a:ea typeface="Uber Move"/>
              <a:cs typeface="Poppins" pitchFamily="2" charset="77"/>
              <a:sym typeface="Uber Move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Increasing purchase intent and lead them to product list /purchase page.</a:t>
            </a:r>
          </a:p>
        </p:txBody>
      </p:sp>
      <p:sp>
        <p:nvSpPr>
          <p:cNvPr id="2104" name="Google Shape;1282;p221">
            <a:extLst>
              <a:ext uri="{FF2B5EF4-FFF2-40B4-BE49-F238E27FC236}">
                <a16:creationId xmlns:a16="http://schemas.microsoft.com/office/drawing/2014/main" id="{2BD2132E-8DED-DAC4-5FF3-380FCCC44328}"/>
              </a:ext>
            </a:extLst>
          </p:cNvPr>
          <p:cNvSpPr txBox="1"/>
          <p:nvPr/>
        </p:nvSpPr>
        <p:spPr>
          <a:xfrm>
            <a:off x="3540100" y="3503224"/>
            <a:ext cx="1240596" cy="1116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YOUTUBE (DV360)</a:t>
            </a:r>
            <a:endParaRPr kumimoji="0" lang="en-GB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" pitchFamily="2" charset="77"/>
              <a:ea typeface="Uber Move"/>
              <a:cs typeface="Poppins" pitchFamily="2" charset="77"/>
              <a:sym typeface="Uber Move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Increasing purchase intent and lead them to product list /purchase page.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KPIs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%Acquisition, %CTR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Measurement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BLS – Purchase Intent</a:t>
            </a:r>
          </a:p>
        </p:txBody>
      </p:sp>
      <p:grpSp>
        <p:nvGrpSpPr>
          <p:cNvPr id="2105" name="Group 2104">
            <a:extLst>
              <a:ext uri="{FF2B5EF4-FFF2-40B4-BE49-F238E27FC236}">
                <a16:creationId xmlns:a16="http://schemas.microsoft.com/office/drawing/2014/main" id="{AE79D207-B597-120A-FE8C-8DEC7FC9ABC2}"/>
              </a:ext>
            </a:extLst>
          </p:cNvPr>
          <p:cNvGrpSpPr/>
          <p:nvPr/>
        </p:nvGrpSpPr>
        <p:grpSpPr>
          <a:xfrm>
            <a:off x="4855684" y="2582446"/>
            <a:ext cx="417634" cy="799236"/>
            <a:chOff x="8974070" y="974423"/>
            <a:chExt cx="2966336" cy="5676745"/>
          </a:xfrm>
        </p:grpSpPr>
        <p:pic>
          <p:nvPicPr>
            <p:cNvPr id="2106" name="Picture 2105">
              <a:extLst>
                <a:ext uri="{FF2B5EF4-FFF2-40B4-BE49-F238E27FC236}">
                  <a16:creationId xmlns:a16="http://schemas.microsoft.com/office/drawing/2014/main" id="{4B761DFF-5AE2-97A4-DD54-CEF1C8C8838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303860" y="2287463"/>
              <a:ext cx="2425036" cy="3685627"/>
            </a:xfrm>
            <a:prstGeom prst="rect">
              <a:avLst/>
            </a:prstGeom>
          </p:spPr>
        </p:pic>
        <p:pic>
          <p:nvPicPr>
            <p:cNvPr id="2107" name="Picture 2106" descr="Text&#10;&#10;Description automatically generated with low confidence">
              <a:extLst>
                <a:ext uri="{FF2B5EF4-FFF2-40B4-BE49-F238E27FC236}">
                  <a16:creationId xmlns:a16="http://schemas.microsoft.com/office/drawing/2014/main" id="{4B458B17-D69C-5E68-FD88-C4D0B2B4E94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l="35352" t="9023" r="39455" b="5267"/>
            <a:stretch/>
          </p:blipFill>
          <p:spPr>
            <a:xfrm>
              <a:off x="8974070" y="974423"/>
              <a:ext cx="2966336" cy="5676745"/>
            </a:xfrm>
            <a:prstGeom prst="rect">
              <a:avLst/>
            </a:prstGeom>
          </p:spPr>
        </p:pic>
      </p:grpSp>
      <p:grpSp>
        <p:nvGrpSpPr>
          <p:cNvPr id="2108" name="Group 2107">
            <a:extLst>
              <a:ext uri="{FF2B5EF4-FFF2-40B4-BE49-F238E27FC236}">
                <a16:creationId xmlns:a16="http://schemas.microsoft.com/office/drawing/2014/main" id="{3EE0BD52-17D7-B213-C5BE-1273D8C7F57C}"/>
              </a:ext>
            </a:extLst>
          </p:cNvPr>
          <p:cNvGrpSpPr/>
          <p:nvPr/>
        </p:nvGrpSpPr>
        <p:grpSpPr>
          <a:xfrm>
            <a:off x="5461836" y="2608672"/>
            <a:ext cx="607469" cy="821957"/>
            <a:chOff x="7423714" y="974427"/>
            <a:chExt cx="3566170" cy="4894352"/>
          </a:xfrm>
        </p:grpSpPr>
        <p:pic>
          <p:nvPicPr>
            <p:cNvPr id="2109" name="Picture 2108" descr="Text&#10;&#10;Description automatically generated with low confidence">
              <a:extLst>
                <a:ext uri="{FF2B5EF4-FFF2-40B4-BE49-F238E27FC236}">
                  <a16:creationId xmlns:a16="http://schemas.microsoft.com/office/drawing/2014/main" id="{04485B49-8F3F-EEC8-13B9-D70DA64B7F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l="35352" t="9023" r="39455" b="5267"/>
            <a:stretch/>
          </p:blipFill>
          <p:spPr>
            <a:xfrm>
              <a:off x="8575853" y="974427"/>
              <a:ext cx="2414031" cy="4619789"/>
            </a:xfrm>
            <a:prstGeom prst="rect">
              <a:avLst/>
            </a:prstGeom>
          </p:spPr>
        </p:pic>
        <p:pic>
          <p:nvPicPr>
            <p:cNvPr id="2110" name="Picture 2109">
              <a:extLst>
                <a:ext uri="{FF2B5EF4-FFF2-40B4-BE49-F238E27FC236}">
                  <a16:creationId xmlns:a16="http://schemas.microsoft.com/office/drawing/2014/main" id="{4ADE3C28-30FE-FAD1-BD67-399ED9B93B7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804866" y="2134298"/>
              <a:ext cx="1973518" cy="2999396"/>
            </a:xfrm>
            <a:prstGeom prst="rect">
              <a:avLst/>
            </a:prstGeom>
          </p:spPr>
        </p:pic>
        <p:sp>
          <p:nvSpPr>
            <p:cNvPr id="2111" name="Rounded Rectangle 18">
              <a:extLst>
                <a:ext uri="{FF2B5EF4-FFF2-40B4-BE49-F238E27FC236}">
                  <a16:creationId xmlns:a16="http://schemas.microsoft.com/office/drawing/2014/main" id="{49F2AA1B-2895-1940-42D2-F8CE55ACA61F}"/>
                </a:ext>
              </a:extLst>
            </p:cNvPr>
            <p:cNvSpPr/>
            <p:nvPr/>
          </p:nvSpPr>
          <p:spPr>
            <a:xfrm>
              <a:off x="7423714" y="4762395"/>
              <a:ext cx="2863834" cy="1106384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5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Buy now</a:t>
              </a:r>
            </a:p>
          </p:txBody>
        </p:sp>
      </p:grpSp>
      <p:pic>
        <p:nvPicPr>
          <p:cNvPr id="2112" name="Picture 2" descr="Meta logo transparent PNG - StickPNG">
            <a:extLst>
              <a:ext uri="{FF2B5EF4-FFF2-40B4-BE49-F238E27FC236}">
                <a16:creationId xmlns:a16="http://schemas.microsoft.com/office/drawing/2014/main" id="{C22A1610-8258-D3F3-031C-2D1B35C3EB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6519" y="2583988"/>
            <a:ext cx="325049" cy="182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3" name="Picture 4" descr="TikTok logo on transparent background 6057996 Vector Art at ...">
            <a:extLst>
              <a:ext uri="{FF2B5EF4-FFF2-40B4-BE49-F238E27FC236}">
                <a16:creationId xmlns:a16="http://schemas.microsoft.com/office/drawing/2014/main" id="{D243FF88-8B53-8DD4-6E8F-B1476E486B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87" t="14564" r="14998" b="14564"/>
          <a:stretch/>
        </p:blipFill>
        <p:spPr bwMode="auto">
          <a:xfrm>
            <a:off x="3254019" y="2846931"/>
            <a:ext cx="210048" cy="21261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14" name="Google Shape;1901;p243">
            <a:extLst>
              <a:ext uri="{FF2B5EF4-FFF2-40B4-BE49-F238E27FC236}">
                <a16:creationId xmlns:a16="http://schemas.microsoft.com/office/drawing/2014/main" id="{32603F96-AC53-37DF-F5AB-40D84D8689DE}"/>
              </a:ext>
            </a:extLst>
          </p:cNvPr>
          <p:cNvSpPr/>
          <p:nvPr/>
        </p:nvSpPr>
        <p:spPr>
          <a:xfrm>
            <a:off x="3244963" y="3611088"/>
            <a:ext cx="228160" cy="213435"/>
          </a:xfrm>
          <a:custGeom>
            <a:avLst/>
            <a:gdLst/>
            <a:ahLst/>
            <a:cxnLst/>
            <a:rect l="l" t="t" r="r" b="b"/>
            <a:pathLst>
              <a:path w="353" h="354" extrusionOk="0">
                <a:moveTo>
                  <a:pt x="203" y="144"/>
                </a:moveTo>
                <a:cubicBezTo>
                  <a:pt x="209" y="144"/>
                  <a:pt x="215" y="139"/>
                  <a:pt x="215" y="139"/>
                </a:cubicBezTo>
                <a:cubicBezTo>
                  <a:pt x="215" y="143"/>
                  <a:pt x="215" y="143"/>
                  <a:pt x="215" y="143"/>
                </a:cubicBezTo>
                <a:cubicBezTo>
                  <a:pt x="225" y="143"/>
                  <a:pt x="225" y="143"/>
                  <a:pt x="225" y="143"/>
                </a:cubicBezTo>
                <a:cubicBezTo>
                  <a:pt x="225" y="96"/>
                  <a:pt x="225" y="96"/>
                  <a:pt x="225" y="96"/>
                </a:cubicBezTo>
                <a:cubicBezTo>
                  <a:pt x="215" y="96"/>
                  <a:pt x="215" y="96"/>
                  <a:pt x="215" y="96"/>
                </a:cubicBezTo>
                <a:cubicBezTo>
                  <a:pt x="215" y="133"/>
                  <a:pt x="215" y="133"/>
                  <a:pt x="215" y="133"/>
                </a:cubicBezTo>
                <a:cubicBezTo>
                  <a:pt x="215" y="133"/>
                  <a:pt x="212" y="137"/>
                  <a:pt x="208" y="137"/>
                </a:cubicBezTo>
                <a:cubicBezTo>
                  <a:pt x="205" y="137"/>
                  <a:pt x="205" y="134"/>
                  <a:pt x="205" y="134"/>
                </a:cubicBezTo>
                <a:cubicBezTo>
                  <a:pt x="205" y="96"/>
                  <a:pt x="205" y="96"/>
                  <a:pt x="205" y="96"/>
                </a:cubicBezTo>
                <a:cubicBezTo>
                  <a:pt x="195" y="96"/>
                  <a:pt x="195" y="96"/>
                  <a:pt x="195" y="96"/>
                </a:cubicBezTo>
                <a:cubicBezTo>
                  <a:pt x="195" y="138"/>
                  <a:pt x="195" y="138"/>
                  <a:pt x="195" y="138"/>
                </a:cubicBezTo>
                <a:cubicBezTo>
                  <a:pt x="195" y="138"/>
                  <a:pt x="196" y="144"/>
                  <a:pt x="203" y="144"/>
                </a:cubicBezTo>
                <a:moveTo>
                  <a:pt x="169" y="144"/>
                </a:moveTo>
                <a:cubicBezTo>
                  <a:pt x="173" y="144"/>
                  <a:pt x="173" y="144"/>
                  <a:pt x="173" y="144"/>
                </a:cubicBezTo>
                <a:cubicBezTo>
                  <a:pt x="180" y="144"/>
                  <a:pt x="186" y="138"/>
                  <a:pt x="186" y="131"/>
                </a:cubicBezTo>
                <a:cubicBezTo>
                  <a:pt x="186" y="110"/>
                  <a:pt x="186" y="110"/>
                  <a:pt x="186" y="110"/>
                </a:cubicBezTo>
                <a:cubicBezTo>
                  <a:pt x="186" y="102"/>
                  <a:pt x="180" y="96"/>
                  <a:pt x="173" y="96"/>
                </a:cubicBezTo>
                <a:cubicBezTo>
                  <a:pt x="169" y="96"/>
                  <a:pt x="169" y="96"/>
                  <a:pt x="169" y="96"/>
                </a:cubicBezTo>
                <a:cubicBezTo>
                  <a:pt x="162" y="96"/>
                  <a:pt x="156" y="102"/>
                  <a:pt x="156" y="110"/>
                </a:cubicBezTo>
                <a:cubicBezTo>
                  <a:pt x="156" y="131"/>
                  <a:pt x="156" y="131"/>
                  <a:pt x="156" y="131"/>
                </a:cubicBezTo>
                <a:cubicBezTo>
                  <a:pt x="156" y="138"/>
                  <a:pt x="162" y="144"/>
                  <a:pt x="169" y="144"/>
                </a:cubicBezTo>
                <a:moveTo>
                  <a:pt x="166" y="109"/>
                </a:moveTo>
                <a:cubicBezTo>
                  <a:pt x="166" y="106"/>
                  <a:pt x="168" y="104"/>
                  <a:pt x="171" y="104"/>
                </a:cubicBezTo>
                <a:cubicBezTo>
                  <a:pt x="174" y="104"/>
                  <a:pt x="176" y="106"/>
                  <a:pt x="176" y="109"/>
                </a:cubicBezTo>
                <a:cubicBezTo>
                  <a:pt x="176" y="132"/>
                  <a:pt x="176" y="132"/>
                  <a:pt x="176" y="132"/>
                </a:cubicBezTo>
                <a:cubicBezTo>
                  <a:pt x="176" y="135"/>
                  <a:pt x="174" y="137"/>
                  <a:pt x="171" y="137"/>
                </a:cubicBezTo>
                <a:cubicBezTo>
                  <a:pt x="168" y="137"/>
                  <a:pt x="166" y="135"/>
                  <a:pt x="166" y="132"/>
                </a:cubicBezTo>
                <a:lnTo>
                  <a:pt x="166" y="109"/>
                </a:lnTo>
                <a:close/>
                <a:moveTo>
                  <a:pt x="130" y="143"/>
                </a:moveTo>
                <a:cubicBezTo>
                  <a:pt x="142" y="143"/>
                  <a:pt x="142" y="143"/>
                  <a:pt x="142" y="143"/>
                </a:cubicBezTo>
                <a:cubicBezTo>
                  <a:pt x="142" y="118"/>
                  <a:pt x="142" y="118"/>
                  <a:pt x="142" y="118"/>
                </a:cubicBezTo>
                <a:cubicBezTo>
                  <a:pt x="155" y="82"/>
                  <a:pt x="155" y="82"/>
                  <a:pt x="155" y="82"/>
                </a:cubicBezTo>
                <a:cubicBezTo>
                  <a:pt x="145" y="82"/>
                  <a:pt x="145" y="82"/>
                  <a:pt x="145" y="82"/>
                </a:cubicBezTo>
                <a:cubicBezTo>
                  <a:pt x="136" y="106"/>
                  <a:pt x="136" y="106"/>
                  <a:pt x="136" y="106"/>
                </a:cubicBezTo>
                <a:cubicBezTo>
                  <a:pt x="128" y="82"/>
                  <a:pt x="128" y="82"/>
                  <a:pt x="128" y="82"/>
                </a:cubicBezTo>
                <a:cubicBezTo>
                  <a:pt x="116" y="82"/>
                  <a:pt x="116" y="82"/>
                  <a:pt x="116" y="82"/>
                </a:cubicBezTo>
                <a:cubicBezTo>
                  <a:pt x="130" y="118"/>
                  <a:pt x="130" y="118"/>
                  <a:pt x="130" y="118"/>
                </a:cubicBezTo>
                <a:lnTo>
                  <a:pt x="130" y="143"/>
                </a:lnTo>
                <a:close/>
                <a:moveTo>
                  <a:pt x="321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4"/>
                  <a:pt x="32" y="354"/>
                </a:cubicBezTo>
                <a:cubicBezTo>
                  <a:pt x="321" y="354"/>
                  <a:pt x="321" y="354"/>
                  <a:pt x="321" y="354"/>
                </a:cubicBezTo>
                <a:cubicBezTo>
                  <a:pt x="339" y="354"/>
                  <a:pt x="353" y="339"/>
                  <a:pt x="353" y="321"/>
                </a:cubicBezTo>
                <a:cubicBezTo>
                  <a:pt x="353" y="32"/>
                  <a:pt x="353" y="32"/>
                  <a:pt x="353" y="32"/>
                </a:cubicBezTo>
                <a:cubicBezTo>
                  <a:pt x="353" y="15"/>
                  <a:pt x="339" y="0"/>
                  <a:pt x="321" y="0"/>
                </a:cubicBezTo>
                <a:moveTo>
                  <a:pt x="337" y="321"/>
                </a:moveTo>
                <a:cubicBezTo>
                  <a:pt x="337" y="330"/>
                  <a:pt x="330" y="338"/>
                  <a:pt x="321" y="338"/>
                </a:cubicBezTo>
                <a:cubicBezTo>
                  <a:pt x="32" y="338"/>
                  <a:pt x="32" y="338"/>
                  <a:pt x="32" y="338"/>
                </a:cubicBezTo>
                <a:cubicBezTo>
                  <a:pt x="23" y="338"/>
                  <a:pt x="16" y="330"/>
                  <a:pt x="16" y="321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24"/>
                  <a:pt x="23" y="16"/>
                  <a:pt x="32" y="16"/>
                </a:cubicBezTo>
                <a:cubicBezTo>
                  <a:pt x="321" y="16"/>
                  <a:pt x="321" y="16"/>
                  <a:pt x="321" y="16"/>
                </a:cubicBezTo>
                <a:cubicBezTo>
                  <a:pt x="330" y="16"/>
                  <a:pt x="337" y="24"/>
                  <a:pt x="337" y="32"/>
                </a:cubicBezTo>
                <a:lnTo>
                  <a:pt x="337" y="321"/>
                </a:lnTo>
                <a:close/>
                <a:moveTo>
                  <a:pt x="196" y="198"/>
                </a:moveTo>
                <a:cubicBezTo>
                  <a:pt x="194" y="198"/>
                  <a:pt x="192" y="199"/>
                  <a:pt x="191" y="201"/>
                </a:cubicBezTo>
                <a:cubicBezTo>
                  <a:pt x="191" y="234"/>
                  <a:pt x="191" y="234"/>
                  <a:pt x="191" y="234"/>
                </a:cubicBezTo>
                <a:cubicBezTo>
                  <a:pt x="192" y="235"/>
                  <a:pt x="194" y="236"/>
                  <a:pt x="196" y="236"/>
                </a:cubicBezTo>
                <a:cubicBezTo>
                  <a:pt x="201" y="236"/>
                  <a:pt x="201" y="231"/>
                  <a:pt x="201" y="231"/>
                </a:cubicBezTo>
                <a:cubicBezTo>
                  <a:pt x="201" y="204"/>
                  <a:pt x="201" y="204"/>
                  <a:pt x="201" y="204"/>
                </a:cubicBezTo>
                <a:cubicBezTo>
                  <a:pt x="201" y="204"/>
                  <a:pt x="200" y="198"/>
                  <a:pt x="196" y="198"/>
                </a:cubicBezTo>
                <a:moveTo>
                  <a:pt x="237" y="155"/>
                </a:moveTo>
                <a:cubicBezTo>
                  <a:pt x="237" y="155"/>
                  <a:pt x="207" y="153"/>
                  <a:pt x="176" y="153"/>
                </a:cubicBezTo>
                <a:cubicBezTo>
                  <a:pt x="146" y="153"/>
                  <a:pt x="116" y="155"/>
                  <a:pt x="116" y="155"/>
                </a:cubicBezTo>
                <a:cubicBezTo>
                  <a:pt x="102" y="155"/>
                  <a:pt x="91" y="165"/>
                  <a:pt x="91" y="178"/>
                </a:cubicBezTo>
                <a:cubicBezTo>
                  <a:pt x="91" y="178"/>
                  <a:pt x="88" y="194"/>
                  <a:pt x="88" y="209"/>
                </a:cubicBezTo>
                <a:cubicBezTo>
                  <a:pt x="88" y="225"/>
                  <a:pt x="91" y="240"/>
                  <a:pt x="91" y="240"/>
                </a:cubicBezTo>
                <a:cubicBezTo>
                  <a:pt x="91" y="253"/>
                  <a:pt x="102" y="264"/>
                  <a:pt x="116" y="264"/>
                </a:cubicBezTo>
                <a:cubicBezTo>
                  <a:pt x="116" y="264"/>
                  <a:pt x="146" y="265"/>
                  <a:pt x="176" y="265"/>
                </a:cubicBezTo>
                <a:cubicBezTo>
                  <a:pt x="206" y="265"/>
                  <a:pt x="237" y="264"/>
                  <a:pt x="237" y="264"/>
                </a:cubicBezTo>
                <a:cubicBezTo>
                  <a:pt x="251" y="264"/>
                  <a:pt x="262" y="253"/>
                  <a:pt x="262" y="240"/>
                </a:cubicBezTo>
                <a:cubicBezTo>
                  <a:pt x="262" y="240"/>
                  <a:pt x="265" y="224"/>
                  <a:pt x="265" y="209"/>
                </a:cubicBezTo>
                <a:cubicBezTo>
                  <a:pt x="265" y="194"/>
                  <a:pt x="262" y="178"/>
                  <a:pt x="262" y="178"/>
                </a:cubicBezTo>
                <a:cubicBezTo>
                  <a:pt x="262" y="165"/>
                  <a:pt x="251" y="155"/>
                  <a:pt x="237" y="155"/>
                </a:cubicBezTo>
                <a:moveTo>
                  <a:pt x="140" y="181"/>
                </a:moveTo>
                <a:cubicBezTo>
                  <a:pt x="128" y="181"/>
                  <a:pt x="128" y="181"/>
                  <a:pt x="128" y="181"/>
                </a:cubicBezTo>
                <a:cubicBezTo>
                  <a:pt x="128" y="244"/>
                  <a:pt x="128" y="244"/>
                  <a:pt x="128" y="244"/>
                </a:cubicBezTo>
                <a:cubicBezTo>
                  <a:pt x="116" y="244"/>
                  <a:pt x="116" y="244"/>
                  <a:pt x="116" y="244"/>
                </a:cubicBezTo>
                <a:cubicBezTo>
                  <a:pt x="116" y="181"/>
                  <a:pt x="116" y="181"/>
                  <a:pt x="116" y="181"/>
                </a:cubicBezTo>
                <a:cubicBezTo>
                  <a:pt x="104" y="181"/>
                  <a:pt x="104" y="181"/>
                  <a:pt x="104" y="181"/>
                </a:cubicBezTo>
                <a:cubicBezTo>
                  <a:pt x="104" y="171"/>
                  <a:pt x="104" y="171"/>
                  <a:pt x="104" y="171"/>
                </a:cubicBezTo>
                <a:cubicBezTo>
                  <a:pt x="140" y="171"/>
                  <a:pt x="140" y="171"/>
                  <a:pt x="140" y="171"/>
                </a:cubicBezTo>
                <a:lnTo>
                  <a:pt x="140" y="181"/>
                </a:lnTo>
                <a:close/>
                <a:moveTo>
                  <a:pt x="172" y="244"/>
                </a:moveTo>
                <a:cubicBezTo>
                  <a:pt x="162" y="244"/>
                  <a:pt x="162" y="244"/>
                  <a:pt x="162" y="244"/>
                </a:cubicBezTo>
                <a:cubicBezTo>
                  <a:pt x="162" y="239"/>
                  <a:pt x="162" y="239"/>
                  <a:pt x="162" y="239"/>
                </a:cubicBezTo>
                <a:cubicBezTo>
                  <a:pt x="162" y="239"/>
                  <a:pt x="156" y="245"/>
                  <a:pt x="150" y="245"/>
                </a:cubicBezTo>
                <a:cubicBezTo>
                  <a:pt x="143" y="245"/>
                  <a:pt x="142" y="238"/>
                  <a:pt x="142" y="238"/>
                </a:cubicBezTo>
                <a:cubicBezTo>
                  <a:pt x="142" y="189"/>
                  <a:pt x="142" y="189"/>
                  <a:pt x="142" y="189"/>
                </a:cubicBezTo>
                <a:cubicBezTo>
                  <a:pt x="152" y="189"/>
                  <a:pt x="152" y="189"/>
                  <a:pt x="152" y="189"/>
                </a:cubicBezTo>
                <a:cubicBezTo>
                  <a:pt x="152" y="235"/>
                  <a:pt x="152" y="235"/>
                  <a:pt x="152" y="235"/>
                </a:cubicBezTo>
                <a:cubicBezTo>
                  <a:pt x="152" y="235"/>
                  <a:pt x="152" y="238"/>
                  <a:pt x="155" y="238"/>
                </a:cubicBezTo>
                <a:cubicBezTo>
                  <a:pt x="159" y="238"/>
                  <a:pt x="162" y="234"/>
                  <a:pt x="162" y="234"/>
                </a:cubicBezTo>
                <a:cubicBezTo>
                  <a:pt x="162" y="189"/>
                  <a:pt x="162" y="189"/>
                  <a:pt x="162" y="189"/>
                </a:cubicBezTo>
                <a:cubicBezTo>
                  <a:pt x="172" y="189"/>
                  <a:pt x="172" y="189"/>
                  <a:pt x="172" y="189"/>
                </a:cubicBezTo>
                <a:lnTo>
                  <a:pt x="172" y="244"/>
                </a:lnTo>
                <a:close/>
                <a:moveTo>
                  <a:pt x="211" y="232"/>
                </a:moveTo>
                <a:cubicBezTo>
                  <a:pt x="211" y="232"/>
                  <a:pt x="211" y="245"/>
                  <a:pt x="202" y="245"/>
                </a:cubicBezTo>
                <a:cubicBezTo>
                  <a:pt x="196" y="245"/>
                  <a:pt x="193" y="242"/>
                  <a:pt x="191" y="239"/>
                </a:cubicBezTo>
                <a:cubicBezTo>
                  <a:pt x="191" y="244"/>
                  <a:pt x="191" y="244"/>
                  <a:pt x="191" y="244"/>
                </a:cubicBezTo>
                <a:cubicBezTo>
                  <a:pt x="180" y="244"/>
                  <a:pt x="180" y="244"/>
                  <a:pt x="180" y="244"/>
                </a:cubicBezTo>
                <a:cubicBezTo>
                  <a:pt x="180" y="171"/>
                  <a:pt x="180" y="171"/>
                  <a:pt x="180" y="171"/>
                </a:cubicBezTo>
                <a:cubicBezTo>
                  <a:pt x="191" y="171"/>
                  <a:pt x="191" y="171"/>
                  <a:pt x="191" y="171"/>
                </a:cubicBezTo>
                <a:cubicBezTo>
                  <a:pt x="191" y="195"/>
                  <a:pt x="191" y="195"/>
                  <a:pt x="191" y="195"/>
                </a:cubicBezTo>
                <a:cubicBezTo>
                  <a:pt x="193" y="193"/>
                  <a:pt x="197" y="189"/>
                  <a:pt x="202" y="189"/>
                </a:cubicBezTo>
                <a:cubicBezTo>
                  <a:pt x="208" y="189"/>
                  <a:pt x="211" y="195"/>
                  <a:pt x="211" y="202"/>
                </a:cubicBezTo>
                <a:lnTo>
                  <a:pt x="211" y="232"/>
                </a:lnTo>
                <a:close/>
                <a:moveTo>
                  <a:pt x="250" y="203"/>
                </a:moveTo>
                <a:cubicBezTo>
                  <a:pt x="250" y="219"/>
                  <a:pt x="250" y="219"/>
                  <a:pt x="250" y="219"/>
                </a:cubicBezTo>
                <a:cubicBezTo>
                  <a:pt x="229" y="219"/>
                  <a:pt x="229" y="219"/>
                  <a:pt x="229" y="219"/>
                </a:cubicBezTo>
                <a:cubicBezTo>
                  <a:pt x="229" y="231"/>
                  <a:pt x="229" y="231"/>
                  <a:pt x="229" y="231"/>
                </a:cubicBezTo>
                <a:cubicBezTo>
                  <a:pt x="229" y="231"/>
                  <a:pt x="229" y="236"/>
                  <a:pt x="234" y="236"/>
                </a:cubicBezTo>
                <a:cubicBezTo>
                  <a:pt x="239" y="236"/>
                  <a:pt x="239" y="231"/>
                  <a:pt x="239" y="231"/>
                </a:cubicBezTo>
                <a:cubicBezTo>
                  <a:pt x="239" y="225"/>
                  <a:pt x="239" y="225"/>
                  <a:pt x="239" y="225"/>
                </a:cubicBezTo>
                <a:cubicBezTo>
                  <a:pt x="250" y="225"/>
                  <a:pt x="250" y="225"/>
                  <a:pt x="250" y="225"/>
                </a:cubicBezTo>
                <a:cubicBezTo>
                  <a:pt x="250" y="234"/>
                  <a:pt x="250" y="234"/>
                  <a:pt x="250" y="234"/>
                </a:cubicBezTo>
                <a:cubicBezTo>
                  <a:pt x="250" y="234"/>
                  <a:pt x="248" y="245"/>
                  <a:pt x="235" y="245"/>
                </a:cubicBezTo>
                <a:cubicBezTo>
                  <a:pt x="222" y="245"/>
                  <a:pt x="219" y="234"/>
                  <a:pt x="219" y="234"/>
                </a:cubicBezTo>
                <a:cubicBezTo>
                  <a:pt x="219" y="203"/>
                  <a:pt x="219" y="203"/>
                  <a:pt x="219" y="203"/>
                </a:cubicBezTo>
                <a:cubicBezTo>
                  <a:pt x="219" y="203"/>
                  <a:pt x="219" y="189"/>
                  <a:pt x="235" y="189"/>
                </a:cubicBezTo>
                <a:cubicBezTo>
                  <a:pt x="251" y="189"/>
                  <a:pt x="250" y="203"/>
                  <a:pt x="250" y="203"/>
                </a:cubicBezTo>
                <a:moveTo>
                  <a:pt x="234" y="198"/>
                </a:moveTo>
                <a:cubicBezTo>
                  <a:pt x="229" y="198"/>
                  <a:pt x="229" y="204"/>
                  <a:pt x="229" y="204"/>
                </a:cubicBezTo>
                <a:cubicBezTo>
                  <a:pt x="229" y="211"/>
                  <a:pt x="229" y="211"/>
                  <a:pt x="229" y="211"/>
                </a:cubicBezTo>
                <a:cubicBezTo>
                  <a:pt x="239" y="211"/>
                  <a:pt x="239" y="211"/>
                  <a:pt x="239" y="211"/>
                </a:cubicBezTo>
                <a:cubicBezTo>
                  <a:pt x="239" y="204"/>
                  <a:pt x="239" y="204"/>
                  <a:pt x="239" y="204"/>
                </a:cubicBezTo>
                <a:cubicBezTo>
                  <a:pt x="239" y="204"/>
                  <a:pt x="239" y="198"/>
                  <a:pt x="234" y="198"/>
                </a:cubicBezTo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Calibri"/>
              <a:cs typeface="Poppins" pitchFamily="2" charset="77"/>
              <a:sym typeface="Calibri"/>
            </a:endParaRPr>
          </a:p>
        </p:txBody>
      </p:sp>
      <p:pic>
        <p:nvPicPr>
          <p:cNvPr id="2115" name="Picture 2" descr="Meta logo transparent PNG - StickPNG">
            <a:extLst>
              <a:ext uri="{FF2B5EF4-FFF2-40B4-BE49-F238E27FC236}">
                <a16:creationId xmlns:a16="http://schemas.microsoft.com/office/drawing/2014/main" id="{8377B820-106E-3032-EDAE-7B35EA78A3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089" y="3439813"/>
            <a:ext cx="325049" cy="182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6" name="Picture 4" descr="TikTok logo on transparent background 6057996 Vector Art at ...">
            <a:extLst>
              <a:ext uri="{FF2B5EF4-FFF2-40B4-BE49-F238E27FC236}">
                <a16:creationId xmlns:a16="http://schemas.microsoft.com/office/drawing/2014/main" id="{1A0D6B9E-C706-922C-4C09-42340CB570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87" t="14564" r="14998" b="14564"/>
          <a:stretch/>
        </p:blipFill>
        <p:spPr bwMode="auto">
          <a:xfrm>
            <a:off x="5015722" y="3702756"/>
            <a:ext cx="210048" cy="21261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7" name="Picture 6">
            <a:extLst>
              <a:ext uri="{FF2B5EF4-FFF2-40B4-BE49-F238E27FC236}">
                <a16:creationId xmlns:a16="http://schemas.microsoft.com/office/drawing/2014/main" id="{EEFA5E80-B6EC-A221-33A9-4A0F1D44C8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2975" y="2569396"/>
            <a:ext cx="233028" cy="233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19" name="Rounded Rectangle 18">
            <a:extLst>
              <a:ext uri="{FF2B5EF4-FFF2-40B4-BE49-F238E27FC236}">
                <a16:creationId xmlns:a16="http://schemas.microsoft.com/office/drawing/2014/main" id="{75CE897A-46CE-90E0-C190-3CCDC2E56B9B}"/>
              </a:ext>
            </a:extLst>
          </p:cNvPr>
          <p:cNvSpPr/>
          <p:nvPr/>
        </p:nvSpPr>
        <p:spPr>
          <a:xfrm>
            <a:off x="4601799" y="3216165"/>
            <a:ext cx="577390" cy="1935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Learn More</a:t>
            </a:r>
          </a:p>
        </p:txBody>
      </p:sp>
      <p:pic>
        <p:nvPicPr>
          <p:cNvPr id="2120" name="Picture 6">
            <a:extLst>
              <a:ext uri="{FF2B5EF4-FFF2-40B4-BE49-F238E27FC236}">
                <a16:creationId xmlns:a16="http://schemas.microsoft.com/office/drawing/2014/main" id="{333AD096-FB14-7C23-3BEE-AB6BCB90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2975" y="3619707"/>
            <a:ext cx="233028" cy="233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21" name="Google Shape;1282;p221">
            <a:extLst>
              <a:ext uri="{FF2B5EF4-FFF2-40B4-BE49-F238E27FC236}">
                <a16:creationId xmlns:a16="http://schemas.microsoft.com/office/drawing/2014/main" id="{C94B56AE-DC06-99FB-32B2-0FC4088310FD}"/>
              </a:ext>
            </a:extLst>
          </p:cNvPr>
          <p:cNvSpPr txBox="1"/>
          <p:nvPr/>
        </p:nvSpPr>
        <p:spPr>
          <a:xfrm>
            <a:off x="6955948" y="3503224"/>
            <a:ext cx="988784" cy="1032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POS / ECOMMERCE</a:t>
            </a:r>
            <a:endParaRPr kumimoji="0" lang="en-GB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" pitchFamily="2" charset="77"/>
              <a:ea typeface="Uber Move"/>
              <a:cs typeface="Poppins" pitchFamily="2" charset="77"/>
              <a:sym typeface="Uber Move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Increasing purchase intent and lead them to product list /purchase page.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KPIs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Page View, Add to Basket</a:t>
            </a:r>
          </a:p>
        </p:txBody>
      </p:sp>
      <p:sp>
        <p:nvSpPr>
          <p:cNvPr id="2133" name="Google Shape;1282;p221">
            <a:extLst>
              <a:ext uri="{FF2B5EF4-FFF2-40B4-BE49-F238E27FC236}">
                <a16:creationId xmlns:a16="http://schemas.microsoft.com/office/drawing/2014/main" id="{DBF0CA01-586A-6D7A-5245-D2B0AB54AF2F}"/>
              </a:ext>
            </a:extLst>
          </p:cNvPr>
          <p:cNvSpPr txBox="1"/>
          <p:nvPr/>
        </p:nvSpPr>
        <p:spPr>
          <a:xfrm>
            <a:off x="6955947" y="2433872"/>
            <a:ext cx="1111435" cy="1116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PROGRAMMATIC OLV</a:t>
            </a:r>
            <a:endParaRPr kumimoji="0" lang="en-GB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" pitchFamily="2" charset="77"/>
              <a:ea typeface="Uber Move"/>
              <a:cs typeface="Poppins" pitchFamily="2" charset="77"/>
              <a:sym typeface="Uber Move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Increasing </a:t>
            </a:r>
            <a:b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</a:b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consideration and driving switch from competitor products.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KPIs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VTR 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Measurement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BLS – Consideration</a:t>
            </a:r>
          </a:p>
        </p:txBody>
      </p:sp>
      <p:pic>
        <p:nvPicPr>
          <p:cNvPr id="2134" name="Picture 2133">
            <a:extLst>
              <a:ext uri="{FF2B5EF4-FFF2-40B4-BE49-F238E27FC236}">
                <a16:creationId xmlns:a16="http://schemas.microsoft.com/office/drawing/2014/main" id="{C8DCB90F-37FB-487E-6EE1-ABBAC2CB3C45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197567" y="2912524"/>
            <a:ext cx="627831" cy="689383"/>
          </a:xfrm>
          <a:prstGeom prst="rect">
            <a:avLst/>
          </a:prstGeom>
        </p:spPr>
      </p:pic>
      <p:pic>
        <p:nvPicPr>
          <p:cNvPr id="2135" name="Picture 8" descr="Ecommerce - Free commerce icons">
            <a:extLst>
              <a:ext uri="{FF2B5EF4-FFF2-40B4-BE49-F238E27FC236}">
                <a16:creationId xmlns:a16="http://schemas.microsoft.com/office/drawing/2014/main" id="{556F6302-EDB1-681E-4451-48BB9A0D62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6707" y="3609495"/>
            <a:ext cx="247946" cy="247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36" name="Google Shape;1282;p221">
            <a:extLst>
              <a:ext uri="{FF2B5EF4-FFF2-40B4-BE49-F238E27FC236}">
                <a16:creationId xmlns:a16="http://schemas.microsoft.com/office/drawing/2014/main" id="{48947ED5-EB8C-FEC8-2979-15993434E519}"/>
              </a:ext>
            </a:extLst>
          </p:cNvPr>
          <p:cNvSpPr txBox="1"/>
          <p:nvPr/>
        </p:nvSpPr>
        <p:spPr>
          <a:xfrm>
            <a:off x="8936252" y="2433872"/>
            <a:ext cx="1075205" cy="12274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INFLUENCER </a:t>
            </a:r>
            <a:b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</a:br>
            <a:b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</a:b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Increasing consideration and driving switch from competitor products.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10 Influencers, mixed channels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KPIs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Engagement</a:t>
            </a:r>
          </a:p>
        </p:txBody>
      </p:sp>
      <p:pic>
        <p:nvPicPr>
          <p:cNvPr id="2137" name="Picture 4" descr="Influencer xnimrodx Lineal icon">
            <a:extLst>
              <a:ext uri="{FF2B5EF4-FFF2-40B4-BE49-F238E27FC236}">
                <a16:creationId xmlns:a16="http://schemas.microsoft.com/office/drawing/2014/main" id="{7CCE9B78-554A-04C1-6E3D-1609891C97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4634" y="2559577"/>
            <a:ext cx="280811" cy="280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39" name="Picture 16" descr="Programmatic Icons - Free SVG &amp; PNG Programmatic Images - Noun Project">
            <a:extLst>
              <a:ext uri="{FF2B5EF4-FFF2-40B4-BE49-F238E27FC236}">
                <a16:creationId xmlns:a16="http://schemas.microsoft.com/office/drawing/2014/main" id="{F4DE1F4E-5B83-73DE-BE80-3E0D5D3661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7507" y="2534481"/>
            <a:ext cx="226346" cy="226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40" name="Google Shape;1282;p221">
            <a:extLst>
              <a:ext uri="{FF2B5EF4-FFF2-40B4-BE49-F238E27FC236}">
                <a16:creationId xmlns:a16="http://schemas.microsoft.com/office/drawing/2014/main" id="{2E838CDC-0586-36E7-021A-08DB70D179DD}"/>
              </a:ext>
            </a:extLst>
          </p:cNvPr>
          <p:cNvSpPr txBox="1"/>
          <p:nvPr/>
        </p:nvSpPr>
        <p:spPr>
          <a:xfrm>
            <a:off x="1480278" y="4740353"/>
            <a:ext cx="1162031" cy="5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SHOPPING ADS</a:t>
            </a:r>
            <a:endParaRPr kumimoji="0" lang="en-GB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" pitchFamily="2" charset="77"/>
              <a:ea typeface="Uber Move"/>
              <a:cs typeface="Poppins" pitchFamily="2" charset="77"/>
              <a:sym typeface="Uber Move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Performance marketing for sales driven.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KPIs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GMV (Sales), ROAS, ROI, %conversion</a:t>
            </a:r>
          </a:p>
        </p:txBody>
      </p:sp>
      <p:sp>
        <p:nvSpPr>
          <p:cNvPr id="2141" name="Google Shape;1282;p221">
            <a:extLst>
              <a:ext uri="{FF2B5EF4-FFF2-40B4-BE49-F238E27FC236}">
                <a16:creationId xmlns:a16="http://schemas.microsoft.com/office/drawing/2014/main" id="{F477E487-2654-5004-349F-2E34A1AF9277}"/>
              </a:ext>
            </a:extLst>
          </p:cNvPr>
          <p:cNvSpPr txBox="1"/>
          <p:nvPr/>
        </p:nvSpPr>
        <p:spPr>
          <a:xfrm>
            <a:off x="3024665" y="4740353"/>
            <a:ext cx="1151414" cy="1032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META (CPAS &amp; CASS)</a:t>
            </a:r>
            <a:endParaRPr kumimoji="0" lang="en-GB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" pitchFamily="2" charset="77"/>
              <a:ea typeface="Uber Move"/>
              <a:cs typeface="Poppins" pitchFamily="2" charset="77"/>
              <a:sym typeface="Uber Move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Drive online conversion &amp; O2O to local drugstore.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KPIs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GMV (Sales), ROAS, ROI, %conversion</a:t>
            </a:r>
          </a:p>
        </p:txBody>
      </p:sp>
      <p:pic>
        <p:nvPicPr>
          <p:cNvPr id="2142" name="Picture 2" descr="Meta logo transparent PNG - StickPNG">
            <a:extLst>
              <a:ext uri="{FF2B5EF4-FFF2-40B4-BE49-F238E27FC236}">
                <a16:creationId xmlns:a16="http://schemas.microsoft.com/office/drawing/2014/main" id="{2CC967EF-F919-591E-8B15-98BE067475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7419" y="4905721"/>
            <a:ext cx="325049" cy="182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43" name="Picture 6">
            <a:extLst>
              <a:ext uri="{FF2B5EF4-FFF2-40B4-BE49-F238E27FC236}">
                <a16:creationId xmlns:a16="http://schemas.microsoft.com/office/drawing/2014/main" id="{1480883E-279D-C3D7-5AE8-8FB30D2706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4330" y="4880627"/>
            <a:ext cx="233028" cy="233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44" name="Picture 4" descr="TikTok logo on transparent background 6057996 Vector Art at ...">
            <a:extLst>
              <a:ext uri="{FF2B5EF4-FFF2-40B4-BE49-F238E27FC236}">
                <a16:creationId xmlns:a16="http://schemas.microsoft.com/office/drawing/2014/main" id="{DB7A8B19-DB4F-9087-2EAD-C1D906427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87" t="14564" r="14998" b="14564"/>
          <a:stretch/>
        </p:blipFill>
        <p:spPr bwMode="auto">
          <a:xfrm>
            <a:off x="1231130" y="5133952"/>
            <a:ext cx="210048" cy="21261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57" name="Group 2156">
            <a:extLst>
              <a:ext uri="{FF2B5EF4-FFF2-40B4-BE49-F238E27FC236}">
                <a16:creationId xmlns:a16="http://schemas.microsoft.com/office/drawing/2014/main" id="{1DACBA0E-545D-C8DC-8303-21372521102A}"/>
              </a:ext>
            </a:extLst>
          </p:cNvPr>
          <p:cNvGrpSpPr/>
          <p:nvPr/>
        </p:nvGrpSpPr>
        <p:grpSpPr>
          <a:xfrm>
            <a:off x="4333009" y="4720087"/>
            <a:ext cx="933589" cy="1405315"/>
            <a:chOff x="4333009" y="4713084"/>
            <a:chExt cx="1062610" cy="1599528"/>
          </a:xfrm>
        </p:grpSpPr>
        <p:pic>
          <p:nvPicPr>
            <p:cNvPr id="2146" name="Picture 2145">
              <a:extLst>
                <a:ext uri="{FF2B5EF4-FFF2-40B4-BE49-F238E27FC236}">
                  <a16:creationId xmlns:a16="http://schemas.microsoft.com/office/drawing/2014/main" id="{C2E4AF27-24A0-8CB1-D270-F733847B5FE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/>
            <a:srcRect r="50874"/>
            <a:stretch/>
          </p:blipFill>
          <p:spPr>
            <a:xfrm>
              <a:off x="4333009" y="4713084"/>
              <a:ext cx="1045349" cy="711007"/>
            </a:xfrm>
            <a:prstGeom prst="rect">
              <a:avLst/>
            </a:prstGeom>
          </p:spPr>
        </p:pic>
        <p:sp>
          <p:nvSpPr>
            <p:cNvPr id="2147" name="Rounded Rectangle 18">
              <a:extLst>
                <a:ext uri="{FF2B5EF4-FFF2-40B4-BE49-F238E27FC236}">
                  <a16:creationId xmlns:a16="http://schemas.microsoft.com/office/drawing/2014/main" id="{3155251B-5251-9D27-18B4-B8A360C9616A}"/>
                </a:ext>
              </a:extLst>
            </p:cNvPr>
            <p:cNvSpPr/>
            <p:nvPr/>
          </p:nvSpPr>
          <p:spPr>
            <a:xfrm>
              <a:off x="4476251" y="5293127"/>
              <a:ext cx="772913" cy="21984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Buy now</a:t>
              </a:r>
            </a:p>
          </p:txBody>
        </p:sp>
        <p:pic>
          <p:nvPicPr>
            <p:cNvPr id="2148" name="Picture 2147">
              <a:extLst>
                <a:ext uri="{FF2B5EF4-FFF2-40B4-BE49-F238E27FC236}">
                  <a16:creationId xmlns:a16="http://schemas.microsoft.com/office/drawing/2014/main" id="{F8CFFFFC-E5D3-FBE9-4DE7-655FCC5A1F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/>
            <a:srcRect l="48230"/>
            <a:stretch/>
          </p:blipFill>
          <p:spPr>
            <a:xfrm>
              <a:off x="4350271" y="5513546"/>
              <a:ext cx="1045348" cy="674687"/>
            </a:xfrm>
            <a:prstGeom prst="rect">
              <a:avLst/>
            </a:prstGeom>
          </p:spPr>
        </p:pic>
        <p:sp>
          <p:nvSpPr>
            <p:cNvPr id="2149" name="Rounded Rectangle 18">
              <a:extLst>
                <a:ext uri="{FF2B5EF4-FFF2-40B4-BE49-F238E27FC236}">
                  <a16:creationId xmlns:a16="http://schemas.microsoft.com/office/drawing/2014/main" id="{D44D8F0B-EB4C-390B-B3A6-C8A92EA233F3}"/>
                </a:ext>
              </a:extLst>
            </p:cNvPr>
            <p:cNvSpPr/>
            <p:nvPr/>
          </p:nvSpPr>
          <p:spPr>
            <a:xfrm>
              <a:off x="4486489" y="6092772"/>
              <a:ext cx="772913" cy="21984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Buy now</a:t>
              </a:r>
            </a:p>
          </p:txBody>
        </p:sp>
      </p:grpSp>
      <p:sp>
        <p:nvSpPr>
          <p:cNvPr id="2150" name="Google Shape;1282;p221">
            <a:extLst>
              <a:ext uri="{FF2B5EF4-FFF2-40B4-BE49-F238E27FC236}">
                <a16:creationId xmlns:a16="http://schemas.microsoft.com/office/drawing/2014/main" id="{50CFF37F-59F7-D655-7311-924DEEBB856C}"/>
              </a:ext>
            </a:extLst>
          </p:cNvPr>
          <p:cNvSpPr txBox="1"/>
          <p:nvPr/>
        </p:nvSpPr>
        <p:spPr>
          <a:xfrm>
            <a:off x="5741124" y="4740353"/>
            <a:ext cx="1058263" cy="1032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AMAZON</a:t>
            </a:r>
            <a:endParaRPr kumimoji="0" lang="en-GB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" pitchFamily="2" charset="77"/>
              <a:ea typeface="Uber Move"/>
              <a:cs typeface="Poppins" pitchFamily="2" charset="77"/>
              <a:sym typeface="Uber Move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Performance marketing for sales driven.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KPIs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GMV (Sales), ROAS, ROI, %conversion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Measurement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BLS – </a:t>
            </a:r>
            <a:b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</a:b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Ad Recall</a:t>
            </a:r>
          </a:p>
        </p:txBody>
      </p:sp>
      <p:pic>
        <p:nvPicPr>
          <p:cNvPr id="2151" name="Picture 8" descr="Amazon icon (png logo symbol) black">
            <a:extLst>
              <a:ext uri="{FF2B5EF4-FFF2-40B4-BE49-F238E27FC236}">
                <a16:creationId xmlns:a16="http://schemas.microsoft.com/office/drawing/2014/main" id="{ABF1D162-B2AD-5CEB-2B7C-54B0F4CD2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8546" y="4870220"/>
            <a:ext cx="253843" cy="253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2" name="Picture 4" descr="Influencer xnimrodx Lineal icon">
            <a:extLst>
              <a:ext uri="{FF2B5EF4-FFF2-40B4-BE49-F238E27FC236}">
                <a16:creationId xmlns:a16="http://schemas.microsoft.com/office/drawing/2014/main" id="{905FBDA2-467B-29AE-B4C3-CA703D9334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096" y="4856736"/>
            <a:ext cx="280811" cy="280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53" name="Group 2152">
            <a:extLst>
              <a:ext uri="{FF2B5EF4-FFF2-40B4-BE49-F238E27FC236}">
                <a16:creationId xmlns:a16="http://schemas.microsoft.com/office/drawing/2014/main" id="{D44D6411-4CD6-8791-FE96-F0C2E824A216}"/>
              </a:ext>
            </a:extLst>
          </p:cNvPr>
          <p:cNvGrpSpPr/>
          <p:nvPr/>
        </p:nvGrpSpPr>
        <p:grpSpPr>
          <a:xfrm>
            <a:off x="8455694" y="4881118"/>
            <a:ext cx="952901" cy="1077476"/>
            <a:chOff x="9829929" y="5117500"/>
            <a:chExt cx="952901" cy="1077476"/>
          </a:xfrm>
        </p:grpSpPr>
        <p:pic>
          <p:nvPicPr>
            <p:cNvPr id="2154" name="Picture 7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089605AD-8CA3-2C63-4D4E-87A137AB7D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7"/>
            <a:srcRect b="32895"/>
            <a:stretch/>
          </p:blipFill>
          <p:spPr>
            <a:xfrm>
              <a:off x="9829929" y="5117500"/>
              <a:ext cx="952901" cy="833006"/>
            </a:xfrm>
            <a:prstGeom prst="rect">
              <a:avLst/>
            </a:prstGeom>
          </p:spPr>
        </p:pic>
        <p:pic>
          <p:nvPicPr>
            <p:cNvPr id="2155" name="Picture 12" descr="Homepage - INCA">
              <a:extLst>
                <a:ext uri="{FF2B5EF4-FFF2-40B4-BE49-F238E27FC236}">
                  <a16:creationId xmlns:a16="http://schemas.microsoft.com/office/drawing/2014/main" id="{91908E97-101F-E166-8ABC-C52FB28643B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03408" y="5978342"/>
              <a:ext cx="457828" cy="2166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156" name="Google Shape;1282;p221">
            <a:extLst>
              <a:ext uri="{FF2B5EF4-FFF2-40B4-BE49-F238E27FC236}">
                <a16:creationId xmlns:a16="http://schemas.microsoft.com/office/drawing/2014/main" id="{3FDE1E7F-4006-DCA6-5126-9BCBDA79A96B}"/>
              </a:ext>
            </a:extLst>
          </p:cNvPr>
          <p:cNvSpPr txBox="1"/>
          <p:nvPr/>
        </p:nvSpPr>
        <p:spPr>
          <a:xfrm>
            <a:off x="7052402" y="4740353"/>
            <a:ext cx="1184581" cy="1290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9050" tIns="19050" rIns="19050" bIns="190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INFLUENCER (AFFILIATE)</a:t>
            </a:r>
            <a:endParaRPr kumimoji="0" lang="en-GB" sz="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" pitchFamily="2" charset="77"/>
              <a:ea typeface="Uber Move"/>
              <a:cs typeface="Poppins" pitchFamily="2" charset="77"/>
              <a:sym typeface="Uber Move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KOLs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Engaged with the audiences based on HVA, KOLs will give review and link to purchase through eCommerce channels.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20 Influencers, mixed channels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rgbClr val="929292"/>
              </a:buClr>
              <a:buSzPts val="800"/>
              <a:buFont typeface="Arial"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KPIs: </a:t>
            </a: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Uber Move"/>
                <a:cs typeface="Poppins" pitchFamily="2" charset="77"/>
                <a:sym typeface="Uber Move"/>
              </a:rPr>
              <a:t>ROI, GMV (Sales)</a:t>
            </a:r>
          </a:p>
        </p:txBody>
      </p:sp>
      <p:sp>
        <p:nvSpPr>
          <p:cNvPr id="2160" name="TextBox 2159">
            <a:extLst>
              <a:ext uri="{FF2B5EF4-FFF2-40B4-BE49-F238E27FC236}">
                <a16:creationId xmlns:a16="http://schemas.microsoft.com/office/drawing/2014/main" id="{008C01E2-4428-176B-2C30-C09F4382E773}"/>
              </a:ext>
            </a:extLst>
          </p:cNvPr>
          <p:cNvSpPr txBox="1"/>
          <p:nvPr/>
        </p:nvSpPr>
        <p:spPr>
          <a:xfrm>
            <a:off x="10475711" y="3205135"/>
            <a:ext cx="11414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Consumer land on PDP page</a:t>
            </a:r>
          </a:p>
        </p:txBody>
      </p:sp>
      <p:sp>
        <p:nvSpPr>
          <p:cNvPr id="2162" name="TextBox 2161">
            <a:extLst>
              <a:ext uri="{FF2B5EF4-FFF2-40B4-BE49-F238E27FC236}">
                <a16:creationId xmlns:a16="http://schemas.microsoft.com/office/drawing/2014/main" id="{AD1977C7-F62C-9A3B-4023-83015BAE1FF6}"/>
              </a:ext>
            </a:extLst>
          </p:cNvPr>
          <p:cNvSpPr txBox="1"/>
          <p:nvPr/>
        </p:nvSpPr>
        <p:spPr>
          <a:xfrm>
            <a:off x="10475711" y="5611532"/>
            <a:ext cx="11414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Consumer land on shopping page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C0BCAB45-9C03-01AF-372F-731D23249DB0}"/>
              </a:ext>
            </a:extLst>
          </p:cNvPr>
          <p:cNvSpPr txBox="1"/>
          <p:nvPr/>
        </p:nvSpPr>
        <p:spPr>
          <a:xfrm>
            <a:off x="3085731" y="3318610"/>
            <a:ext cx="54057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GUATEMALA</a:t>
            </a:r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195606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0" name="Picture 8" descr="Premium Photo | Woman texting on her phone">
            <a:extLst>
              <a:ext uri="{FF2B5EF4-FFF2-40B4-BE49-F238E27FC236}">
                <a16:creationId xmlns:a16="http://schemas.microsoft.com/office/drawing/2014/main" id="{8763BEDC-D4BA-BBD1-0751-E7C7C3A84414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33" r="27433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955D7F7-FCF9-A93A-3DC7-DD6304753E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en-GB" sz="4400" dirty="0"/>
              <a:t>DIGITAL</a:t>
            </a:r>
          </a:p>
          <a:p>
            <a:pPr lvl="0"/>
            <a:r>
              <a:rPr lang="en-GB" sz="4400" dirty="0"/>
              <a:t>Blueprint 2025</a:t>
            </a:r>
          </a:p>
          <a:p>
            <a:pPr lvl="0"/>
            <a:r>
              <a:rPr lang="en-GB" sz="4400" dirty="0"/>
              <a:t>Centro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282E3B8-42B8-09BF-771A-71CE3A56B1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6480" y="5250510"/>
            <a:ext cx="8774265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9288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1">
            <a:extLst>
              <a:ext uri="{FF2B5EF4-FFF2-40B4-BE49-F238E27FC236}">
                <a16:creationId xmlns:a16="http://schemas.microsoft.com/office/drawing/2014/main" id="{129A87A1-094C-1FE7-D1D1-3CD416CE780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27" r="27"/>
          <a:stretch>
            <a:fillRect/>
          </a:stretch>
        </p:blipFill>
        <p:spPr/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0C1BD4EB-3868-4293-F6AB-14D40953A1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395428A-699F-31A8-4F8A-B9A3806760EA}"/>
              </a:ext>
            </a:extLst>
          </p:cNvPr>
          <p:cNvCxnSpPr>
            <a:cxnSpLocks/>
          </p:cNvCxnSpPr>
          <p:nvPr/>
        </p:nvCxnSpPr>
        <p:spPr>
          <a:xfrm>
            <a:off x="305435" y="6227547"/>
            <a:ext cx="6513054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72">
            <a:extLst>
              <a:ext uri="{FF2B5EF4-FFF2-40B4-BE49-F238E27FC236}">
                <a16:creationId xmlns:a16="http://schemas.microsoft.com/office/drawing/2014/main" id="{66D97D18-2DB0-6FBE-B247-5B32934FE7C4}"/>
              </a:ext>
            </a:extLst>
          </p:cNvPr>
          <p:cNvGrpSpPr/>
          <p:nvPr/>
        </p:nvGrpSpPr>
        <p:grpSpPr>
          <a:xfrm>
            <a:off x="5135467" y="172064"/>
            <a:ext cx="7056533" cy="6858000"/>
            <a:chOff x="5135467" y="172064"/>
            <a:chExt cx="7056533" cy="6858000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7B569BC-CDBB-27D6-16B1-09AA7992020C}"/>
                </a:ext>
              </a:extLst>
            </p:cNvPr>
            <p:cNvGrpSpPr/>
            <p:nvPr/>
          </p:nvGrpSpPr>
          <p:grpSpPr>
            <a:xfrm>
              <a:off x="5345289" y="389314"/>
              <a:ext cx="6062787" cy="6079372"/>
              <a:chOff x="5345289" y="389314"/>
              <a:chExt cx="6062787" cy="6079372"/>
            </a:xfrm>
          </p:grpSpPr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79DD9EB9-9A11-2052-2A63-F05E4DC9C5E8}"/>
                  </a:ext>
                </a:extLst>
              </p:cNvPr>
              <p:cNvSpPr/>
              <p:nvPr/>
            </p:nvSpPr>
            <p:spPr>
              <a:xfrm>
                <a:off x="5345289" y="389314"/>
                <a:ext cx="2979005" cy="2977535"/>
              </a:xfrm>
              <a:custGeom>
                <a:avLst/>
                <a:gdLst>
                  <a:gd name="connsiteX0" fmla="*/ 2572233 w 2573506"/>
                  <a:gd name="connsiteY0" fmla="*/ 0 h 2572236"/>
                  <a:gd name="connsiteX1" fmla="*/ 2572233 w 2573506"/>
                  <a:gd name="connsiteY1" fmla="*/ 142684 h 2572236"/>
                  <a:gd name="connsiteX2" fmla="*/ 2573506 w 2573506"/>
                  <a:gd name="connsiteY2" fmla="*/ 142684 h 2572236"/>
                  <a:gd name="connsiteX3" fmla="*/ 2573506 w 2573506"/>
                  <a:gd name="connsiteY3" fmla="*/ 1062736 h 2572236"/>
                  <a:gd name="connsiteX4" fmla="*/ 2572233 w 2573506"/>
                  <a:gd name="connsiteY4" fmla="*/ 1062736 h 2572236"/>
                  <a:gd name="connsiteX5" fmla="*/ 2572233 w 2573506"/>
                  <a:gd name="connsiteY5" fmla="*/ 1211105 h 2572236"/>
                  <a:gd name="connsiteX6" fmla="*/ 2572234 w 2573506"/>
                  <a:gd name="connsiteY6" fmla="*/ 1211105 h 2572236"/>
                  <a:gd name="connsiteX7" fmla="*/ 2572234 w 2573506"/>
                  <a:gd name="connsiteY7" fmla="*/ 1511286 h 2572236"/>
                  <a:gd name="connsiteX8" fmla="*/ 2504193 w 2573506"/>
                  <a:gd name="connsiteY8" fmla="*/ 1514721 h 2572236"/>
                  <a:gd name="connsiteX9" fmla="*/ 1502254 w 2573506"/>
                  <a:gd name="connsiteY9" fmla="*/ 2516661 h 2572236"/>
                  <a:gd name="connsiteX10" fmla="*/ 1499448 w 2573506"/>
                  <a:gd name="connsiteY10" fmla="*/ 2572236 h 2572236"/>
                  <a:gd name="connsiteX11" fmla="*/ 1224473 w 2573506"/>
                  <a:gd name="connsiteY11" fmla="*/ 2572236 h 2572236"/>
                  <a:gd name="connsiteX12" fmla="*/ 1224473 w 2573506"/>
                  <a:gd name="connsiteY12" fmla="*/ 2572235 h 2572236"/>
                  <a:gd name="connsiteX13" fmla="*/ 1116361 w 2573506"/>
                  <a:gd name="connsiteY13" fmla="*/ 2572235 h 2572236"/>
                  <a:gd name="connsiteX14" fmla="*/ 825525 w 2573506"/>
                  <a:gd name="connsiteY14" fmla="*/ 2572235 h 2572236"/>
                  <a:gd name="connsiteX15" fmla="*/ 383107 w 2573506"/>
                  <a:gd name="connsiteY15" fmla="*/ 2572235 h 2572236"/>
                  <a:gd name="connsiteX16" fmla="*/ 154670 w 2573506"/>
                  <a:gd name="connsiteY16" fmla="*/ 2572235 h 2572236"/>
                  <a:gd name="connsiteX17" fmla="*/ 0 w 2573506"/>
                  <a:gd name="connsiteY17" fmla="*/ 2572235 h 2572236"/>
                  <a:gd name="connsiteX18" fmla="*/ 2572233 w 2573506"/>
                  <a:gd name="connsiteY18" fmla="*/ 0 h 2572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73506" h="2572236">
                    <a:moveTo>
                      <a:pt x="2572233" y="0"/>
                    </a:moveTo>
                    <a:lnTo>
                      <a:pt x="2572233" y="142684"/>
                    </a:lnTo>
                    <a:lnTo>
                      <a:pt x="2573506" y="142684"/>
                    </a:lnTo>
                    <a:lnTo>
                      <a:pt x="2573506" y="1062736"/>
                    </a:lnTo>
                    <a:lnTo>
                      <a:pt x="2572233" y="1062736"/>
                    </a:lnTo>
                    <a:lnTo>
                      <a:pt x="2572233" y="1211105"/>
                    </a:lnTo>
                    <a:lnTo>
                      <a:pt x="2572234" y="1211105"/>
                    </a:lnTo>
                    <a:lnTo>
                      <a:pt x="2572234" y="1511286"/>
                    </a:lnTo>
                    <a:lnTo>
                      <a:pt x="2504193" y="1514721"/>
                    </a:lnTo>
                    <a:cubicBezTo>
                      <a:pt x="1975899" y="1568373"/>
                      <a:pt x="1555905" y="1988366"/>
                      <a:pt x="1502254" y="2516661"/>
                    </a:cubicBezTo>
                    <a:lnTo>
                      <a:pt x="1499448" y="2572236"/>
                    </a:lnTo>
                    <a:lnTo>
                      <a:pt x="1224473" y="2572236"/>
                    </a:lnTo>
                    <a:lnTo>
                      <a:pt x="1224473" y="2572235"/>
                    </a:lnTo>
                    <a:lnTo>
                      <a:pt x="1116361" y="2572235"/>
                    </a:lnTo>
                    <a:lnTo>
                      <a:pt x="825525" y="2572235"/>
                    </a:lnTo>
                    <a:lnTo>
                      <a:pt x="383107" y="2572235"/>
                    </a:lnTo>
                    <a:lnTo>
                      <a:pt x="154670" y="2572235"/>
                    </a:lnTo>
                    <a:lnTo>
                      <a:pt x="0" y="2572235"/>
                    </a:lnTo>
                    <a:cubicBezTo>
                      <a:pt x="0" y="1151629"/>
                      <a:pt x="1151628" y="0"/>
                      <a:pt x="257223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277DB8B2-1FF9-AD82-2034-76C722C70DC8}"/>
                  </a:ext>
                </a:extLst>
              </p:cNvPr>
              <p:cNvSpPr/>
              <p:nvPr/>
            </p:nvSpPr>
            <p:spPr>
              <a:xfrm>
                <a:off x="8424327" y="389315"/>
                <a:ext cx="2983749" cy="2977535"/>
              </a:xfrm>
              <a:custGeom>
                <a:avLst/>
                <a:gdLst>
                  <a:gd name="connsiteX0" fmla="*/ 0 w 2577604"/>
                  <a:gd name="connsiteY0" fmla="*/ 0 h 2572236"/>
                  <a:gd name="connsiteX1" fmla="*/ 2577604 w 2577604"/>
                  <a:gd name="connsiteY1" fmla="*/ 2572235 h 2572236"/>
                  <a:gd name="connsiteX2" fmla="*/ 2186404 w 2577604"/>
                  <a:gd name="connsiteY2" fmla="*/ 2572235 h 2572236"/>
                  <a:gd name="connsiteX3" fmla="*/ 2186404 w 2577604"/>
                  <a:gd name="connsiteY3" fmla="*/ 2572234 h 2572236"/>
                  <a:gd name="connsiteX4" fmla="*/ 1743066 w 2577604"/>
                  <a:gd name="connsiteY4" fmla="*/ 2572234 h 2572236"/>
                  <a:gd name="connsiteX5" fmla="*/ 1743066 w 2577604"/>
                  <a:gd name="connsiteY5" fmla="*/ 2572235 h 2572236"/>
                  <a:gd name="connsiteX6" fmla="*/ 1345851 w 2577604"/>
                  <a:gd name="connsiteY6" fmla="*/ 2572235 h 2572236"/>
                  <a:gd name="connsiteX7" fmla="*/ 1345851 w 2577604"/>
                  <a:gd name="connsiteY7" fmla="*/ 2572236 h 2572236"/>
                  <a:gd name="connsiteX8" fmla="*/ 1078555 w 2577604"/>
                  <a:gd name="connsiteY8" fmla="*/ 2572236 h 2572236"/>
                  <a:gd name="connsiteX9" fmla="*/ 1075749 w 2577604"/>
                  <a:gd name="connsiteY9" fmla="*/ 2516659 h 2572236"/>
                  <a:gd name="connsiteX10" fmla="*/ 73810 w 2577604"/>
                  <a:gd name="connsiteY10" fmla="*/ 1514719 h 2572236"/>
                  <a:gd name="connsiteX11" fmla="*/ 0 w 2577604"/>
                  <a:gd name="connsiteY11" fmla="*/ 1510992 h 2572236"/>
                  <a:gd name="connsiteX12" fmla="*/ 0 w 2577604"/>
                  <a:gd name="connsiteY12" fmla="*/ 1235270 h 2572236"/>
                  <a:gd name="connsiteX13" fmla="*/ 0 w 2577604"/>
                  <a:gd name="connsiteY13" fmla="*/ 1211104 h 2572236"/>
                  <a:gd name="connsiteX14" fmla="*/ 0 w 2577604"/>
                  <a:gd name="connsiteY14" fmla="*/ 998130 h 2572236"/>
                  <a:gd name="connsiteX15" fmla="*/ 0 w 2577604"/>
                  <a:gd name="connsiteY15" fmla="*/ 828762 h 2572236"/>
                  <a:gd name="connsiteX16" fmla="*/ 0 w 2577604"/>
                  <a:gd name="connsiteY16" fmla="*/ 376267 h 2572236"/>
                  <a:gd name="connsiteX17" fmla="*/ 0 w 2577604"/>
                  <a:gd name="connsiteY17" fmla="*/ 142682 h 2572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577604" h="2572236">
                    <a:moveTo>
                      <a:pt x="0" y="0"/>
                    </a:moveTo>
                    <a:cubicBezTo>
                      <a:pt x="1423572" y="0"/>
                      <a:pt x="2577604" y="1151629"/>
                      <a:pt x="2577604" y="2572235"/>
                    </a:cubicBezTo>
                    <a:lnTo>
                      <a:pt x="2186404" y="2572235"/>
                    </a:lnTo>
                    <a:lnTo>
                      <a:pt x="2186404" y="2572234"/>
                    </a:lnTo>
                    <a:lnTo>
                      <a:pt x="1743066" y="2572234"/>
                    </a:lnTo>
                    <a:lnTo>
                      <a:pt x="1743066" y="2572235"/>
                    </a:lnTo>
                    <a:lnTo>
                      <a:pt x="1345851" y="2572235"/>
                    </a:lnTo>
                    <a:lnTo>
                      <a:pt x="1345851" y="2572236"/>
                    </a:lnTo>
                    <a:lnTo>
                      <a:pt x="1078555" y="2572236"/>
                    </a:lnTo>
                    <a:lnTo>
                      <a:pt x="1075749" y="2516659"/>
                    </a:lnTo>
                    <a:cubicBezTo>
                      <a:pt x="1022097" y="1988364"/>
                      <a:pt x="602104" y="1568371"/>
                      <a:pt x="73810" y="1514719"/>
                    </a:cubicBezTo>
                    <a:lnTo>
                      <a:pt x="0" y="1510992"/>
                    </a:lnTo>
                    <a:lnTo>
                      <a:pt x="0" y="1235270"/>
                    </a:lnTo>
                    <a:lnTo>
                      <a:pt x="0" y="1211104"/>
                    </a:lnTo>
                    <a:lnTo>
                      <a:pt x="0" y="998130"/>
                    </a:lnTo>
                    <a:lnTo>
                      <a:pt x="0" y="828762"/>
                    </a:lnTo>
                    <a:lnTo>
                      <a:pt x="0" y="376267"/>
                    </a:lnTo>
                    <a:lnTo>
                      <a:pt x="0" y="14268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4A8A410F-6328-4587-5699-EEB3B46E2480}"/>
                  </a:ext>
                </a:extLst>
              </p:cNvPr>
              <p:cNvSpPr/>
              <p:nvPr/>
            </p:nvSpPr>
            <p:spPr>
              <a:xfrm>
                <a:off x="8424327" y="3489415"/>
                <a:ext cx="2981618" cy="2977539"/>
              </a:xfrm>
              <a:custGeom>
                <a:avLst/>
                <a:gdLst>
                  <a:gd name="connsiteX0" fmla="*/ 1574207 w 2575763"/>
                  <a:gd name="connsiteY0" fmla="*/ 0 h 2572239"/>
                  <a:gd name="connsiteX1" fmla="*/ 2336003 w 2575763"/>
                  <a:gd name="connsiteY1" fmla="*/ 0 h 2572239"/>
                  <a:gd name="connsiteX2" fmla="*/ 2336003 w 2575763"/>
                  <a:gd name="connsiteY2" fmla="*/ 4 h 2572239"/>
                  <a:gd name="connsiteX3" fmla="*/ 2575763 w 2575763"/>
                  <a:gd name="connsiteY3" fmla="*/ 4 h 2572239"/>
                  <a:gd name="connsiteX4" fmla="*/ 1 w 2575763"/>
                  <a:gd name="connsiteY4" fmla="*/ 2572239 h 2572239"/>
                  <a:gd name="connsiteX5" fmla="*/ 1 w 2575763"/>
                  <a:gd name="connsiteY5" fmla="*/ 2219561 h 2572239"/>
                  <a:gd name="connsiteX6" fmla="*/ 0 w 2575763"/>
                  <a:gd name="connsiteY6" fmla="*/ 2219561 h 2572239"/>
                  <a:gd name="connsiteX7" fmla="*/ 0 w 2575763"/>
                  <a:gd name="connsiteY7" fmla="*/ 1256889 h 2572239"/>
                  <a:gd name="connsiteX8" fmla="*/ 1 w 2575763"/>
                  <a:gd name="connsiteY8" fmla="*/ 1256889 h 2572239"/>
                  <a:gd name="connsiteX9" fmla="*/ 1 w 2575763"/>
                  <a:gd name="connsiteY9" fmla="*/ 1073748 h 2572239"/>
                  <a:gd name="connsiteX10" fmla="*/ 73811 w 2575763"/>
                  <a:gd name="connsiteY10" fmla="*/ 1070021 h 2572239"/>
                  <a:gd name="connsiteX11" fmla="*/ 1075749 w 2575763"/>
                  <a:gd name="connsiteY11" fmla="*/ 68082 h 2572239"/>
                  <a:gd name="connsiteX12" fmla="*/ 1079187 w 2575763"/>
                  <a:gd name="connsiteY12" fmla="*/ 3 h 2572239"/>
                  <a:gd name="connsiteX13" fmla="*/ 1345853 w 2575763"/>
                  <a:gd name="connsiteY13" fmla="*/ 3 h 2572239"/>
                  <a:gd name="connsiteX14" fmla="*/ 1345853 w 2575763"/>
                  <a:gd name="connsiteY14" fmla="*/ 4 h 2572239"/>
                  <a:gd name="connsiteX15" fmla="*/ 1574207 w 2575763"/>
                  <a:gd name="connsiteY15" fmla="*/ 4 h 2572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75763" h="2572239">
                    <a:moveTo>
                      <a:pt x="1574207" y="0"/>
                    </a:moveTo>
                    <a:lnTo>
                      <a:pt x="2336003" y="0"/>
                    </a:lnTo>
                    <a:lnTo>
                      <a:pt x="2336003" y="4"/>
                    </a:lnTo>
                    <a:lnTo>
                      <a:pt x="2575763" y="4"/>
                    </a:lnTo>
                    <a:cubicBezTo>
                      <a:pt x="2575763" y="1420611"/>
                      <a:pt x="1422555" y="2572239"/>
                      <a:pt x="1" y="2572239"/>
                    </a:cubicBezTo>
                    <a:lnTo>
                      <a:pt x="1" y="2219561"/>
                    </a:lnTo>
                    <a:lnTo>
                      <a:pt x="0" y="2219561"/>
                    </a:lnTo>
                    <a:lnTo>
                      <a:pt x="0" y="1256889"/>
                    </a:lnTo>
                    <a:lnTo>
                      <a:pt x="1" y="1256889"/>
                    </a:lnTo>
                    <a:lnTo>
                      <a:pt x="1" y="1073748"/>
                    </a:lnTo>
                    <a:lnTo>
                      <a:pt x="73811" y="1070021"/>
                    </a:lnTo>
                    <a:cubicBezTo>
                      <a:pt x="602105" y="1016370"/>
                      <a:pt x="1022097" y="596376"/>
                      <a:pt x="1075749" y="68082"/>
                    </a:cubicBezTo>
                    <a:lnTo>
                      <a:pt x="1079187" y="3"/>
                    </a:lnTo>
                    <a:lnTo>
                      <a:pt x="1345853" y="3"/>
                    </a:lnTo>
                    <a:lnTo>
                      <a:pt x="1345853" y="4"/>
                    </a:lnTo>
                    <a:lnTo>
                      <a:pt x="1574207" y="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3442245C-5127-5FED-1A58-C898F22B1057}"/>
                  </a:ext>
                </a:extLst>
              </p:cNvPr>
              <p:cNvSpPr/>
              <p:nvPr/>
            </p:nvSpPr>
            <p:spPr>
              <a:xfrm>
                <a:off x="5345292" y="3489416"/>
                <a:ext cx="2971652" cy="2979270"/>
              </a:xfrm>
              <a:custGeom>
                <a:avLst/>
                <a:gdLst>
                  <a:gd name="connsiteX0" fmla="*/ 239097 w 2567154"/>
                  <a:gd name="connsiteY0" fmla="*/ 0 h 2573735"/>
                  <a:gd name="connsiteX1" fmla="*/ 1046842 w 2567154"/>
                  <a:gd name="connsiteY1" fmla="*/ 0 h 2573735"/>
                  <a:gd name="connsiteX2" fmla="*/ 1046842 w 2567154"/>
                  <a:gd name="connsiteY2" fmla="*/ 1 h 2573735"/>
                  <a:gd name="connsiteX3" fmla="*/ 1234354 w 2567154"/>
                  <a:gd name="connsiteY3" fmla="*/ 1 h 2573735"/>
                  <a:gd name="connsiteX4" fmla="*/ 1234354 w 2567154"/>
                  <a:gd name="connsiteY4" fmla="*/ 4 h 2573735"/>
                  <a:gd name="connsiteX5" fmla="*/ 1498815 w 2567154"/>
                  <a:gd name="connsiteY5" fmla="*/ 4 h 2573735"/>
                  <a:gd name="connsiteX6" fmla="*/ 1502253 w 2567154"/>
                  <a:gd name="connsiteY6" fmla="*/ 68081 h 2573735"/>
                  <a:gd name="connsiteX7" fmla="*/ 2504192 w 2567154"/>
                  <a:gd name="connsiteY7" fmla="*/ 1070020 h 2573735"/>
                  <a:gd name="connsiteX8" fmla="*/ 2565992 w 2567154"/>
                  <a:gd name="connsiteY8" fmla="*/ 1073141 h 2573735"/>
                  <a:gd name="connsiteX9" fmla="*/ 2565992 w 2567154"/>
                  <a:gd name="connsiteY9" fmla="*/ 1089677 h 2573735"/>
                  <a:gd name="connsiteX10" fmla="*/ 2567154 w 2567154"/>
                  <a:gd name="connsiteY10" fmla="*/ 1089677 h 2573735"/>
                  <a:gd name="connsiteX11" fmla="*/ 2567154 w 2567154"/>
                  <a:gd name="connsiteY11" fmla="*/ 2573735 h 2573735"/>
                  <a:gd name="connsiteX12" fmla="*/ 2307528 w 2567154"/>
                  <a:gd name="connsiteY12" fmla="*/ 2560606 h 2573735"/>
                  <a:gd name="connsiteX13" fmla="*/ 0 w 2567154"/>
                  <a:gd name="connsiteY13" fmla="*/ 1 h 2573735"/>
                  <a:gd name="connsiteX14" fmla="*/ 239097 w 2567154"/>
                  <a:gd name="connsiteY14" fmla="*/ 1 h 2573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567154" h="2573735">
                    <a:moveTo>
                      <a:pt x="239097" y="0"/>
                    </a:moveTo>
                    <a:lnTo>
                      <a:pt x="1046842" y="0"/>
                    </a:lnTo>
                    <a:lnTo>
                      <a:pt x="1046842" y="1"/>
                    </a:lnTo>
                    <a:lnTo>
                      <a:pt x="1234354" y="1"/>
                    </a:lnTo>
                    <a:lnTo>
                      <a:pt x="1234354" y="4"/>
                    </a:lnTo>
                    <a:lnTo>
                      <a:pt x="1498815" y="4"/>
                    </a:lnTo>
                    <a:lnTo>
                      <a:pt x="1502253" y="68081"/>
                    </a:lnTo>
                    <a:cubicBezTo>
                      <a:pt x="1555904" y="596375"/>
                      <a:pt x="1975897" y="1016369"/>
                      <a:pt x="2504192" y="1070020"/>
                    </a:cubicBezTo>
                    <a:lnTo>
                      <a:pt x="2565992" y="1073141"/>
                    </a:lnTo>
                    <a:lnTo>
                      <a:pt x="2565992" y="1089677"/>
                    </a:lnTo>
                    <a:lnTo>
                      <a:pt x="2567154" y="1089677"/>
                    </a:lnTo>
                    <a:lnTo>
                      <a:pt x="2567154" y="2573735"/>
                    </a:lnTo>
                    <a:lnTo>
                      <a:pt x="2307528" y="2560606"/>
                    </a:lnTo>
                    <a:cubicBezTo>
                      <a:pt x="1011424" y="2428796"/>
                      <a:pt x="0" y="1332678"/>
                      <a:pt x="0" y="1"/>
                    </a:cubicBezTo>
                    <a:lnTo>
                      <a:pt x="239097" y="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24459DA0-85C7-D5F8-A749-238285BECF6B}"/>
                  </a:ext>
                </a:extLst>
              </p:cNvPr>
              <p:cNvGrpSpPr/>
              <p:nvPr/>
            </p:nvGrpSpPr>
            <p:grpSpPr>
              <a:xfrm>
                <a:off x="10038811" y="3114412"/>
                <a:ext cx="618056" cy="618056"/>
                <a:chOff x="12264617" y="3634638"/>
                <a:chExt cx="533927" cy="533927"/>
              </a:xfrm>
            </p:grpSpPr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C05FB97B-CC93-EA0B-8108-0D8C0AFBF5B8}"/>
                    </a:ext>
                  </a:extLst>
                </p:cNvPr>
                <p:cNvSpPr/>
                <p:nvPr/>
              </p:nvSpPr>
              <p:spPr>
                <a:xfrm>
                  <a:off x="12264617" y="3634638"/>
                  <a:ext cx="533927" cy="533927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-Regular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L-Shape 24">
                  <a:extLst>
                    <a:ext uri="{FF2B5EF4-FFF2-40B4-BE49-F238E27FC236}">
                      <a16:creationId xmlns:a16="http://schemas.microsoft.com/office/drawing/2014/main" id="{B15286AC-F190-1EE3-26AD-3AC2D2BEEA93}"/>
                    </a:ext>
                  </a:extLst>
                </p:cNvPr>
                <p:cNvSpPr/>
                <p:nvPr/>
              </p:nvSpPr>
              <p:spPr>
                <a:xfrm rot="2700000" flipH="1">
                  <a:off x="12439126" y="3774247"/>
                  <a:ext cx="184909" cy="184909"/>
                </a:xfrm>
                <a:prstGeom prst="corner">
                  <a:avLst>
                    <a:gd name="adj1" fmla="val 17364"/>
                    <a:gd name="adj2" fmla="val 17364"/>
                  </a:avLst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endParaRPr>
                </a:p>
              </p:txBody>
            </p:sp>
          </p:grp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5D041CBC-188F-498C-20A3-7F68B749A59D}"/>
                  </a:ext>
                </a:extLst>
              </p:cNvPr>
              <p:cNvSpPr txBox="1"/>
              <p:nvPr/>
            </p:nvSpPr>
            <p:spPr>
              <a:xfrm rot="18864559">
                <a:off x="6165332" y="1930033"/>
                <a:ext cx="2108973" cy="583264"/>
              </a:xfrm>
              <a:prstGeom prst="rect">
                <a:avLst/>
              </a:prstGeom>
              <a:noFill/>
            </p:spPr>
            <p:txBody>
              <a:bodyPr wrap="none" rtlCol="0" anchor="ctr">
                <a:prstTxWarp prst="textArchUp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udience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9545C98-CC64-D7A6-C253-754574318E12}"/>
                  </a:ext>
                </a:extLst>
              </p:cNvPr>
              <p:cNvSpPr/>
              <p:nvPr/>
            </p:nvSpPr>
            <p:spPr>
              <a:xfrm rot="2870013">
                <a:off x="8365533" y="1850059"/>
                <a:ext cx="2182239" cy="583264"/>
              </a:xfrm>
              <a:prstGeom prst="rect">
                <a:avLst/>
              </a:prstGeom>
            </p:spPr>
            <p:txBody>
              <a:bodyPr wrap="none" anchor="ctr">
                <a:prstTxWarp prst="textArchUp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llocation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1A52DE34-6680-7802-F815-A0134B6FD1B2}"/>
                  </a:ext>
                </a:extLst>
              </p:cNvPr>
              <p:cNvSpPr/>
              <p:nvPr/>
            </p:nvSpPr>
            <p:spPr>
              <a:xfrm rot="18914344">
                <a:off x="8391559" y="4040115"/>
                <a:ext cx="2173304" cy="1018669"/>
              </a:xfrm>
              <a:prstGeom prst="rect">
                <a:avLst/>
              </a:prstGeom>
            </p:spPr>
            <p:txBody>
              <a:bodyPr wrap="none" anchor="ctr">
                <a:prstTxWarp prst="textArchDown">
                  <a:avLst>
                    <a:gd name="adj" fmla="val 976732"/>
                  </a:avLst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ctivation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5B2724D8-6C06-9B7A-98D1-F49BAC6678EB}"/>
                  </a:ext>
                </a:extLst>
              </p:cNvPr>
              <p:cNvSpPr/>
              <p:nvPr/>
            </p:nvSpPr>
            <p:spPr>
              <a:xfrm rot="2812719">
                <a:off x="6020890" y="4390819"/>
                <a:ext cx="2182239" cy="583264"/>
              </a:xfrm>
              <a:prstGeom prst="rect">
                <a:avLst/>
              </a:prstGeom>
            </p:spPr>
            <p:txBody>
              <a:bodyPr wrap="none" anchor="ctr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ttribution</a:t>
                </a:r>
              </a:p>
            </p:txBody>
          </p: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75D5D25B-99CE-332E-A810-D64A7EA8F5C6}"/>
                  </a:ext>
                </a:extLst>
              </p:cNvPr>
              <p:cNvGrpSpPr/>
              <p:nvPr/>
            </p:nvGrpSpPr>
            <p:grpSpPr>
              <a:xfrm>
                <a:off x="8076720" y="1081427"/>
                <a:ext cx="618056" cy="618056"/>
                <a:chOff x="12264617" y="1548657"/>
                <a:chExt cx="533927" cy="533927"/>
              </a:xfrm>
            </p:grpSpPr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82F1450E-AB51-630D-5524-E477A90EAFDC}"/>
                    </a:ext>
                  </a:extLst>
                </p:cNvPr>
                <p:cNvSpPr/>
                <p:nvPr/>
              </p:nvSpPr>
              <p:spPr>
                <a:xfrm>
                  <a:off x="12264617" y="1548657"/>
                  <a:ext cx="533927" cy="533927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-Regular"/>
                    <a:ea typeface="+mn-ea"/>
                    <a:cs typeface="+mn-cs"/>
                  </a:endParaRPr>
                </a:p>
              </p:txBody>
            </p:sp>
            <p:grpSp>
              <p:nvGrpSpPr>
                <p:cNvPr id="48" name="Group 47">
                  <a:extLst>
                    <a:ext uri="{FF2B5EF4-FFF2-40B4-BE49-F238E27FC236}">
                      <a16:creationId xmlns:a16="http://schemas.microsoft.com/office/drawing/2014/main" id="{AD0D39D2-6112-690C-8F75-512E57812543}"/>
                    </a:ext>
                  </a:extLst>
                </p:cNvPr>
                <p:cNvGrpSpPr/>
                <p:nvPr/>
              </p:nvGrpSpPr>
              <p:grpSpPr>
                <a:xfrm>
                  <a:off x="12398632" y="1657567"/>
                  <a:ext cx="265896" cy="316107"/>
                  <a:chOff x="5953896" y="907548"/>
                  <a:chExt cx="397410" cy="472458"/>
                </a:xfrm>
                <a:solidFill>
                  <a:schemeClr val="tx1"/>
                </a:solidFill>
              </p:grpSpPr>
              <p:sp>
                <p:nvSpPr>
                  <p:cNvPr id="49" name="L-Shape 3">
                    <a:extLst>
                      <a:ext uri="{FF2B5EF4-FFF2-40B4-BE49-F238E27FC236}">
                        <a16:creationId xmlns:a16="http://schemas.microsoft.com/office/drawing/2014/main" id="{40D77181-04CA-A30B-8768-7DD74912D0CC}"/>
                      </a:ext>
                    </a:extLst>
                  </p:cNvPr>
                  <p:cNvSpPr/>
                  <p:nvPr/>
                </p:nvSpPr>
                <p:spPr>
                  <a:xfrm rot="18763950" flipH="1">
                    <a:off x="5953896" y="907548"/>
                    <a:ext cx="232873" cy="232873"/>
                  </a:xfrm>
                  <a:prstGeom prst="corner">
                    <a:avLst>
                      <a:gd name="adj1" fmla="val 17364"/>
                      <a:gd name="adj2" fmla="val 17364"/>
                    </a:avLst>
                  </a:prstGeom>
                  <a:solidFill>
                    <a:schemeClr val="bg2">
                      <a:lumMod val="75000"/>
                    </a:scheme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itchFamily="2" charset="77"/>
                      <a:ea typeface="+mn-ea"/>
                      <a:cs typeface="Poppins" pitchFamily="2" charset="77"/>
                    </a:endParaRPr>
                  </a:p>
                </p:txBody>
              </p:sp>
              <p:sp>
                <p:nvSpPr>
                  <p:cNvPr id="50" name="L-Shape 39">
                    <a:extLst>
                      <a:ext uri="{FF2B5EF4-FFF2-40B4-BE49-F238E27FC236}">
                        <a16:creationId xmlns:a16="http://schemas.microsoft.com/office/drawing/2014/main" id="{54F615E1-3B4D-EE0F-20CC-1015B19B283B}"/>
                      </a:ext>
                    </a:extLst>
                  </p:cNvPr>
                  <p:cNvSpPr/>
                  <p:nvPr/>
                </p:nvSpPr>
                <p:spPr>
                  <a:xfrm rot="2836050">
                    <a:off x="6118432" y="1147132"/>
                    <a:ext cx="232875" cy="232873"/>
                  </a:xfrm>
                  <a:prstGeom prst="corner">
                    <a:avLst>
                      <a:gd name="adj1" fmla="val 17364"/>
                      <a:gd name="adj2" fmla="val 17364"/>
                    </a:avLst>
                  </a:prstGeom>
                  <a:solidFill>
                    <a:schemeClr val="bg2">
                      <a:lumMod val="75000"/>
                    </a:scheme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itchFamily="2" charset="77"/>
                      <a:ea typeface="+mn-ea"/>
                      <a:cs typeface="Poppins" pitchFamily="2" charset="77"/>
                    </a:endParaRPr>
                  </a:p>
                </p:txBody>
              </p:sp>
            </p:grpSp>
          </p:grp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7B2F954F-5791-477E-9658-876A0A074D28}"/>
                  </a:ext>
                </a:extLst>
              </p:cNvPr>
              <p:cNvSpPr/>
              <p:nvPr/>
            </p:nvSpPr>
            <p:spPr>
              <a:xfrm>
                <a:off x="5345289" y="389315"/>
                <a:ext cx="2979005" cy="2977534"/>
              </a:xfrm>
              <a:custGeom>
                <a:avLst/>
                <a:gdLst>
                  <a:gd name="connsiteX0" fmla="*/ 2572233 w 2573506"/>
                  <a:gd name="connsiteY0" fmla="*/ 0 h 2572235"/>
                  <a:gd name="connsiteX1" fmla="*/ 2572233 w 2573506"/>
                  <a:gd name="connsiteY1" fmla="*/ 142684 h 2572235"/>
                  <a:gd name="connsiteX2" fmla="*/ 2573506 w 2573506"/>
                  <a:gd name="connsiteY2" fmla="*/ 142684 h 2572235"/>
                  <a:gd name="connsiteX3" fmla="*/ 2573506 w 2573506"/>
                  <a:gd name="connsiteY3" fmla="*/ 238705 h 2572235"/>
                  <a:gd name="connsiteX4" fmla="*/ 2367556 w 2573506"/>
                  <a:gd name="connsiteY4" fmla="*/ 249105 h 2572235"/>
                  <a:gd name="connsiteX5" fmla="*/ 237850 w 2573506"/>
                  <a:gd name="connsiteY5" fmla="*/ 2378811 h 2572235"/>
                  <a:gd name="connsiteX6" fmla="*/ 228083 w 2573506"/>
                  <a:gd name="connsiteY6" fmla="*/ 2572235 h 2572235"/>
                  <a:gd name="connsiteX7" fmla="*/ 154670 w 2573506"/>
                  <a:gd name="connsiteY7" fmla="*/ 2572235 h 2572235"/>
                  <a:gd name="connsiteX8" fmla="*/ 0 w 2573506"/>
                  <a:gd name="connsiteY8" fmla="*/ 2572235 h 2572235"/>
                  <a:gd name="connsiteX9" fmla="*/ 2572233 w 2573506"/>
                  <a:gd name="connsiteY9" fmla="*/ 0 h 2572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73506" h="2572235">
                    <a:moveTo>
                      <a:pt x="2572233" y="0"/>
                    </a:moveTo>
                    <a:lnTo>
                      <a:pt x="2572233" y="142684"/>
                    </a:lnTo>
                    <a:lnTo>
                      <a:pt x="2573506" y="142684"/>
                    </a:lnTo>
                    <a:lnTo>
                      <a:pt x="2573506" y="238705"/>
                    </a:lnTo>
                    <a:lnTo>
                      <a:pt x="2367556" y="249105"/>
                    </a:lnTo>
                    <a:cubicBezTo>
                      <a:pt x="1244622" y="363145"/>
                      <a:pt x="351890" y="1255877"/>
                      <a:pt x="237850" y="2378811"/>
                    </a:cubicBezTo>
                    <a:lnTo>
                      <a:pt x="228083" y="2572235"/>
                    </a:lnTo>
                    <a:lnTo>
                      <a:pt x="154670" y="2572235"/>
                    </a:lnTo>
                    <a:lnTo>
                      <a:pt x="0" y="2572235"/>
                    </a:lnTo>
                    <a:cubicBezTo>
                      <a:pt x="0" y="1151629"/>
                      <a:pt x="1151628" y="0"/>
                      <a:pt x="2572233" y="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6A6534C9-7AEF-FB00-ED33-BE8E9A15A6BA}"/>
                  </a:ext>
                </a:extLst>
              </p:cNvPr>
              <p:cNvSpPr/>
              <p:nvPr/>
            </p:nvSpPr>
            <p:spPr>
              <a:xfrm>
                <a:off x="8424327" y="389316"/>
                <a:ext cx="2983749" cy="2977534"/>
              </a:xfrm>
              <a:custGeom>
                <a:avLst/>
                <a:gdLst>
                  <a:gd name="connsiteX0" fmla="*/ 0 w 2577604"/>
                  <a:gd name="connsiteY0" fmla="*/ 0 h 2572235"/>
                  <a:gd name="connsiteX1" fmla="*/ 2577604 w 2577604"/>
                  <a:gd name="connsiteY1" fmla="*/ 2572235 h 2572235"/>
                  <a:gd name="connsiteX2" fmla="*/ 2335011 w 2577604"/>
                  <a:gd name="connsiteY2" fmla="*/ 2572235 h 2572235"/>
                  <a:gd name="connsiteX3" fmla="*/ 2325244 w 2577604"/>
                  <a:gd name="connsiteY3" fmla="*/ 2378810 h 2572235"/>
                  <a:gd name="connsiteX4" fmla="*/ 195538 w 2577604"/>
                  <a:gd name="connsiteY4" fmla="*/ 249104 h 2572235"/>
                  <a:gd name="connsiteX5" fmla="*/ 0 w 2577604"/>
                  <a:gd name="connsiteY5" fmla="*/ 239230 h 2572235"/>
                  <a:gd name="connsiteX6" fmla="*/ 0 w 2577604"/>
                  <a:gd name="connsiteY6" fmla="*/ 142682 h 2572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77604" h="2572235">
                    <a:moveTo>
                      <a:pt x="0" y="0"/>
                    </a:moveTo>
                    <a:cubicBezTo>
                      <a:pt x="1423572" y="0"/>
                      <a:pt x="2577604" y="1151629"/>
                      <a:pt x="2577604" y="2572235"/>
                    </a:cubicBezTo>
                    <a:lnTo>
                      <a:pt x="2335011" y="2572235"/>
                    </a:lnTo>
                    <a:lnTo>
                      <a:pt x="2325244" y="2378810"/>
                    </a:lnTo>
                    <a:cubicBezTo>
                      <a:pt x="2211204" y="1255876"/>
                      <a:pt x="1318471" y="363144"/>
                      <a:pt x="195538" y="249104"/>
                    </a:cubicBezTo>
                    <a:lnTo>
                      <a:pt x="0" y="239230"/>
                    </a:lnTo>
                    <a:lnTo>
                      <a:pt x="0" y="142682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96EF2B60-7873-2198-35E7-08B3CFAE4208}"/>
                  </a:ext>
                </a:extLst>
              </p:cNvPr>
              <p:cNvSpPr/>
              <p:nvPr/>
            </p:nvSpPr>
            <p:spPr>
              <a:xfrm>
                <a:off x="8424329" y="3489415"/>
                <a:ext cx="2981616" cy="2977539"/>
              </a:xfrm>
              <a:custGeom>
                <a:avLst/>
                <a:gdLst>
                  <a:gd name="connsiteX0" fmla="*/ 2334766 w 2575762"/>
                  <a:gd name="connsiteY0" fmla="*/ 0 h 2572239"/>
                  <a:gd name="connsiteX1" fmla="*/ 2336002 w 2575762"/>
                  <a:gd name="connsiteY1" fmla="*/ 0 h 2572239"/>
                  <a:gd name="connsiteX2" fmla="*/ 2336002 w 2575762"/>
                  <a:gd name="connsiteY2" fmla="*/ 4 h 2572239"/>
                  <a:gd name="connsiteX3" fmla="*/ 2575762 w 2575762"/>
                  <a:gd name="connsiteY3" fmla="*/ 4 h 2572239"/>
                  <a:gd name="connsiteX4" fmla="*/ 0 w 2575762"/>
                  <a:gd name="connsiteY4" fmla="*/ 2572239 h 2572239"/>
                  <a:gd name="connsiteX5" fmla="*/ 0 w 2575762"/>
                  <a:gd name="connsiteY5" fmla="*/ 2328177 h 2572239"/>
                  <a:gd name="connsiteX6" fmla="*/ 195537 w 2575762"/>
                  <a:gd name="connsiteY6" fmla="*/ 2318304 h 2572239"/>
                  <a:gd name="connsiteX7" fmla="*/ 2325243 w 2575762"/>
                  <a:gd name="connsiteY7" fmla="*/ 188598 h 2572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75762" h="2572239">
                    <a:moveTo>
                      <a:pt x="2334766" y="0"/>
                    </a:moveTo>
                    <a:lnTo>
                      <a:pt x="2336002" y="0"/>
                    </a:lnTo>
                    <a:lnTo>
                      <a:pt x="2336002" y="4"/>
                    </a:lnTo>
                    <a:lnTo>
                      <a:pt x="2575762" y="4"/>
                    </a:lnTo>
                    <a:cubicBezTo>
                      <a:pt x="2575762" y="1420611"/>
                      <a:pt x="1422554" y="2572239"/>
                      <a:pt x="0" y="2572239"/>
                    </a:cubicBezTo>
                    <a:lnTo>
                      <a:pt x="0" y="2328177"/>
                    </a:lnTo>
                    <a:lnTo>
                      <a:pt x="195537" y="2318304"/>
                    </a:lnTo>
                    <a:cubicBezTo>
                      <a:pt x="1318470" y="2204264"/>
                      <a:pt x="2211203" y="1311532"/>
                      <a:pt x="2325243" y="188598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7E3844FF-0F92-D8F7-374A-3E4F50CC8BFA}"/>
                  </a:ext>
                </a:extLst>
              </p:cNvPr>
              <p:cNvSpPr/>
              <p:nvPr/>
            </p:nvSpPr>
            <p:spPr>
              <a:xfrm>
                <a:off x="5345292" y="3489417"/>
                <a:ext cx="2971652" cy="2979269"/>
              </a:xfrm>
              <a:custGeom>
                <a:avLst/>
                <a:gdLst>
                  <a:gd name="connsiteX0" fmla="*/ 0 w 2567154"/>
                  <a:gd name="connsiteY0" fmla="*/ 0 h 2573734"/>
                  <a:gd name="connsiteX1" fmla="*/ 228323 w 2567154"/>
                  <a:gd name="connsiteY1" fmla="*/ 0 h 2573734"/>
                  <a:gd name="connsiteX2" fmla="*/ 237847 w 2567154"/>
                  <a:gd name="connsiteY2" fmla="*/ 188596 h 2573734"/>
                  <a:gd name="connsiteX3" fmla="*/ 2367553 w 2567154"/>
                  <a:gd name="connsiteY3" fmla="*/ 2318302 h 2573734"/>
                  <a:gd name="connsiteX4" fmla="*/ 2567154 w 2567154"/>
                  <a:gd name="connsiteY4" fmla="*/ 2328381 h 2573734"/>
                  <a:gd name="connsiteX5" fmla="*/ 2567154 w 2567154"/>
                  <a:gd name="connsiteY5" fmla="*/ 2573734 h 2573734"/>
                  <a:gd name="connsiteX6" fmla="*/ 2307528 w 2567154"/>
                  <a:gd name="connsiteY6" fmla="*/ 2560605 h 2573734"/>
                  <a:gd name="connsiteX7" fmla="*/ 0 w 2567154"/>
                  <a:gd name="connsiteY7" fmla="*/ 0 h 2573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67154" h="2573734">
                    <a:moveTo>
                      <a:pt x="0" y="0"/>
                    </a:moveTo>
                    <a:lnTo>
                      <a:pt x="228323" y="0"/>
                    </a:lnTo>
                    <a:lnTo>
                      <a:pt x="237847" y="188596"/>
                    </a:lnTo>
                    <a:cubicBezTo>
                      <a:pt x="351887" y="1311530"/>
                      <a:pt x="1244619" y="2204262"/>
                      <a:pt x="2367553" y="2318302"/>
                    </a:cubicBezTo>
                    <a:lnTo>
                      <a:pt x="2567154" y="2328381"/>
                    </a:lnTo>
                    <a:lnTo>
                      <a:pt x="2567154" y="2573734"/>
                    </a:lnTo>
                    <a:lnTo>
                      <a:pt x="2307528" y="2560605"/>
                    </a:lnTo>
                    <a:cubicBezTo>
                      <a:pt x="1011424" y="2428795"/>
                      <a:pt x="0" y="1332677"/>
                      <a:pt x="0" y="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B22F6817-7D79-C9AB-2FD8-B4C2333BCCA4}"/>
                  </a:ext>
                </a:extLst>
              </p:cNvPr>
              <p:cNvSpPr/>
              <p:nvPr/>
            </p:nvSpPr>
            <p:spPr>
              <a:xfrm>
                <a:off x="5987644" y="985824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7" name="Google Shape;1138;p39">
                <a:extLst>
                  <a:ext uri="{FF2B5EF4-FFF2-40B4-BE49-F238E27FC236}">
                    <a16:creationId xmlns:a16="http://schemas.microsoft.com/office/drawing/2014/main" id="{AF988C19-359F-7A5A-0023-DDFEEC1272F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94820" y="1174417"/>
                <a:ext cx="504693" cy="34186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55" h="21600" extrusionOk="0">
                    <a:moveTo>
                      <a:pt x="10775" y="0"/>
                    </a:moveTo>
                    <a:cubicBezTo>
                      <a:pt x="8891" y="0"/>
                      <a:pt x="7365" y="2267"/>
                      <a:pt x="7365" y="5054"/>
                    </a:cubicBezTo>
                    <a:cubicBezTo>
                      <a:pt x="7365" y="7841"/>
                      <a:pt x="8891" y="10098"/>
                      <a:pt x="10775" y="10098"/>
                    </a:cubicBezTo>
                    <a:cubicBezTo>
                      <a:pt x="12659" y="10098"/>
                      <a:pt x="14185" y="7841"/>
                      <a:pt x="14185" y="5054"/>
                    </a:cubicBezTo>
                    <a:cubicBezTo>
                      <a:pt x="14185" y="2267"/>
                      <a:pt x="12659" y="0"/>
                      <a:pt x="10775" y="0"/>
                    </a:cubicBezTo>
                    <a:close/>
                    <a:moveTo>
                      <a:pt x="10775" y="920"/>
                    </a:moveTo>
                    <a:cubicBezTo>
                      <a:pt x="12316" y="920"/>
                      <a:pt x="13569" y="2774"/>
                      <a:pt x="13569" y="5054"/>
                    </a:cubicBezTo>
                    <a:cubicBezTo>
                      <a:pt x="13569" y="7334"/>
                      <a:pt x="12316" y="9179"/>
                      <a:pt x="10775" y="9179"/>
                    </a:cubicBezTo>
                    <a:cubicBezTo>
                      <a:pt x="9233" y="9179"/>
                      <a:pt x="7987" y="7334"/>
                      <a:pt x="7987" y="5054"/>
                    </a:cubicBezTo>
                    <a:cubicBezTo>
                      <a:pt x="7987" y="2774"/>
                      <a:pt x="9233" y="920"/>
                      <a:pt x="10775" y="920"/>
                    </a:cubicBezTo>
                    <a:close/>
                    <a:moveTo>
                      <a:pt x="4083" y="3907"/>
                    </a:moveTo>
                    <a:cubicBezTo>
                      <a:pt x="2817" y="3905"/>
                      <a:pt x="1790" y="5418"/>
                      <a:pt x="1789" y="7292"/>
                    </a:cubicBezTo>
                    <a:cubicBezTo>
                      <a:pt x="1788" y="9165"/>
                      <a:pt x="2810" y="10685"/>
                      <a:pt x="4077" y="10686"/>
                    </a:cubicBezTo>
                    <a:cubicBezTo>
                      <a:pt x="5344" y="10687"/>
                      <a:pt x="6371" y="9175"/>
                      <a:pt x="6372" y="7301"/>
                    </a:cubicBezTo>
                    <a:cubicBezTo>
                      <a:pt x="6372" y="7300"/>
                      <a:pt x="6372" y="7293"/>
                      <a:pt x="6372" y="7292"/>
                    </a:cubicBezTo>
                    <a:cubicBezTo>
                      <a:pt x="6370" y="5420"/>
                      <a:pt x="5348" y="3909"/>
                      <a:pt x="4083" y="3907"/>
                    </a:cubicBezTo>
                    <a:close/>
                    <a:moveTo>
                      <a:pt x="17479" y="3907"/>
                    </a:moveTo>
                    <a:cubicBezTo>
                      <a:pt x="16212" y="3907"/>
                      <a:pt x="15184" y="5418"/>
                      <a:pt x="15184" y="7292"/>
                    </a:cubicBezTo>
                    <a:cubicBezTo>
                      <a:pt x="15184" y="9165"/>
                      <a:pt x="16212" y="10686"/>
                      <a:pt x="17479" y="10686"/>
                    </a:cubicBezTo>
                    <a:cubicBezTo>
                      <a:pt x="18746" y="10686"/>
                      <a:pt x="19774" y="9165"/>
                      <a:pt x="19774" y="7292"/>
                    </a:cubicBezTo>
                    <a:cubicBezTo>
                      <a:pt x="19772" y="5417"/>
                      <a:pt x="18745" y="3908"/>
                      <a:pt x="17479" y="3907"/>
                    </a:cubicBezTo>
                    <a:close/>
                    <a:moveTo>
                      <a:pt x="4077" y="4817"/>
                    </a:moveTo>
                    <a:cubicBezTo>
                      <a:pt x="5001" y="4816"/>
                      <a:pt x="5749" y="5925"/>
                      <a:pt x="5750" y="7292"/>
                    </a:cubicBezTo>
                    <a:cubicBezTo>
                      <a:pt x="5749" y="8659"/>
                      <a:pt x="5006" y="9764"/>
                      <a:pt x="4083" y="9766"/>
                    </a:cubicBezTo>
                    <a:cubicBezTo>
                      <a:pt x="3159" y="9768"/>
                      <a:pt x="2405" y="8659"/>
                      <a:pt x="2404" y="7292"/>
                    </a:cubicBezTo>
                    <a:cubicBezTo>
                      <a:pt x="2403" y="5925"/>
                      <a:pt x="3153" y="4818"/>
                      <a:pt x="4077" y="4817"/>
                    </a:cubicBezTo>
                    <a:close/>
                    <a:moveTo>
                      <a:pt x="17479" y="4817"/>
                    </a:moveTo>
                    <a:cubicBezTo>
                      <a:pt x="18403" y="4817"/>
                      <a:pt x="19152" y="5925"/>
                      <a:pt x="19152" y="7292"/>
                    </a:cubicBezTo>
                    <a:cubicBezTo>
                      <a:pt x="19151" y="8658"/>
                      <a:pt x="18403" y="9765"/>
                      <a:pt x="17479" y="9766"/>
                    </a:cubicBezTo>
                    <a:cubicBezTo>
                      <a:pt x="16555" y="9766"/>
                      <a:pt x="15806" y="8659"/>
                      <a:pt x="15806" y="7292"/>
                    </a:cubicBezTo>
                    <a:cubicBezTo>
                      <a:pt x="15806" y="5925"/>
                      <a:pt x="16555" y="4817"/>
                      <a:pt x="17479" y="4817"/>
                    </a:cubicBezTo>
                    <a:close/>
                    <a:moveTo>
                      <a:pt x="10775" y="11246"/>
                    </a:moveTo>
                    <a:cubicBezTo>
                      <a:pt x="9400" y="11246"/>
                      <a:pt x="8026" y="11950"/>
                      <a:pt x="6916" y="13360"/>
                    </a:cubicBezTo>
                    <a:cubicBezTo>
                      <a:pt x="6174" y="12202"/>
                      <a:pt x="5143" y="11536"/>
                      <a:pt x="4064" y="11521"/>
                    </a:cubicBezTo>
                    <a:cubicBezTo>
                      <a:pt x="2059" y="11521"/>
                      <a:pt x="280" y="13959"/>
                      <a:pt x="7" y="17068"/>
                    </a:cubicBezTo>
                    <a:cubicBezTo>
                      <a:pt x="-22" y="17394"/>
                      <a:pt x="47" y="17720"/>
                      <a:pt x="193" y="17968"/>
                    </a:cubicBezTo>
                    <a:cubicBezTo>
                      <a:pt x="336" y="18207"/>
                      <a:pt x="541" y="18346"/>
                      <a:pt x="757" y="18348"/>
                    </a:cubicBezTo>
                    <a:lnTo>
                      <a:pt x="4692" y="18348"/>
                    </a:lnTo>
                    <a:cubicBezTo>
                      <a:pt x="4593" y="18844"/>
                      <a:pt x="4519" y="19352"/>
                      <a:pt x="4474" y="19865"/>
                    </a:cubicBezTo>
                    <a:cubicBezTo>
                      <a:pt x="4435" y="20307"/>
                      <a:pt x="4527" y="20751"/>
                      <a:pt x="4724" y="21088"/>
                    </a:cubicBezTo>
                    <a:cubicBezTo>
                      <a:pt x="4917" y="21413"/>
                      <a:pt x="5195" y="21600"/>
                      <a:pt x="5487" y="21600"/>
                    </a:cubicBezTo>
                    <a:lnTo>
                      <a:pt x="16063" y="21600"/>
                    </a:lnTo>
                    <a:cubicBezTo>
                      <a:pt x="16355" y="21600"/>
                      <a:pt x="16633" y="21413"/>
                      <a:pt x="16825" y="21088"/>
                    </a:cubicBezTo>
                    <a:cubicBezTo>
                      <a:pt x="17023" y="20751"/>
                      <a:pt x="17114" y="20307"/>
                      <a:pt x="17075" y="19865"/>
                    </a:cubicBezTo>
                    <a:cubicBezTo>
                      <a:pt x="17030" y="19352"/>
                      <a:pt x="16957" y="18844"/>
                      <a:pt x="16857" y="18348"/>
                    </a:cubicBezTo>
                    <a:lnTo>
                      <a:pt x="20799" y="18348"/>
                    </a:lnTo>
                    <a:cubicBezTo>
                      <a:pt x="21015" y="18346"/>
                      <a:pt x="21220" y="18208"/>
                      <a:pt x="21363" y="17968"/>
                    </a:cubicBezTo>
                    <a:cubicBezTo>
                      <a:pt x="21509" y="17720"/>
                      <a:pt x="21578" y="17394"/>
                      <a:pt x="21549" y="17068"/>
                    </a:cubicBezTo>
                    <a:cubicBezTo>
                      <a:pt x="21276" y="13959"/>
                      <a:pt x="19490" y="11521"/>
                      <a:pt x="17485" y="11521"/>
                    </a:cubicBezTo>
                    <a:cubicBezTo>
                      <a:pt x="16407" y="11536"/>
                      <a:pt x="15376" y="12202"/>
                      <a:pt x="14633" y="13360"/>
                    </a:cubicBezTo>
                    <a:cubicBezTo>
                      <a:pt x="13523" y="11950"/>
                      <a:pt x="12149" y="11246"/>
                      <a:pt x="10775" y="11246"/>
                    </a:cubicBezTo>
                    <a:close/>
                    <a:moveTo>
                      <a:pt x="10775" y="12165"/>
                    </a:moveTo>
                    <a:cubicBezTo>
                      <a:pt x="13578" y="12165"/>
                      <a:pt x="16075" y="15602"/>
                      <a:pt x="16460" y="19979"/>
                    </a:cubicBezTo>
                    <a:cubicBezTo>
                      <a:pt x="16475" y="20160"/>
                      <a:pt x="16439" y="20343"/>
                      <a:pt x="16357" y="20481"/>
                    </a:cubicBezTo>
                    <a:cubicBezTo>
                      <a:pt x="16283" y="20608"/>
                      <a:pt x="16176" y="20690"/>
                      <a:pt x="16063" y="20690"/>
                    </a:cubicBezTo>
                    <a:lnTo>
                      <a:pt x="5487" y="20690"/>
                    </a:lnTo>
                    <a:cubicBezTo>
                      <a:pt x="5373" y="20690"/>
                      <a:pt x="5267" y="20608"/>
                      <a:pt x="5192" y="20481"/>
                    </a:cubicBezTo>
                    <a:cubicBezTo>
                      <a:pt x="5111" y="20343"/>
                      <a:pt x="5074" y="20160"/>
                      <a:pt x="5090" y="19979"/>
                    </a:cubicBezTo>
                    <a:cubicBezTo>
                      <a:pt x="5474" y="15595"/>
                      <a:pt x="7971" y="12165"/>
                      <a:pt x="10775" y="12165"/>
                    </a:cubicBezTo>
                    <a:close/>
                    <a:moveTo>
                      <a:pt x="4064" y="12440"/>
                    </a:moveTo>
                    <a:cubicBezTo>
                      <a:pt x="4968" y="12456"/>
                      <a:pt x="5831" y="13009"/>
                      <a:pt x="6455" y="13976"/>
                    </a:cubicBezTo>
                    <a:cubicBezTo>
                      <a:pt x="5784" y="14959"/>
                      <a:pt x="5255" y="16131"/>
                      <a:pt x="4904" y="17428"/>
                    </a:cubicBezTo>
                    <a:cubicBezTo>
                      <a:pt x="4904" y="17428"/>
                      <a:pt x="757" y="17428"/>
                      <a:pt x="757" y="17428"/>
                    </a:cubicBezTo>
                    <a:cubicBezTo>
                      <a:pt x="719" y="17428"/>
                      <a:pt x="678" y="17405"/>
                      <a:pt x="654" y="17362"/>
                    </a:cubicBezTo>
                    <a:cubicBezTo>
                      <a:pt x="625" y="17314"/>
                      <a:pt x="616" y="17255"/>
                      <a:pt x="622" y="17191"/>
                    </a:cubicBezTo>
                    <a:cubicBezTo>
                      <a:pt x="855" y="14528"/>
                      <a:pt x="2365" y="12440"/>
                      <a:pt x="4064" y="12440"/>
                    </a:cubicBezTo>
                    <a:close/>
                    <a:moveTo>
                      <a:pt x="17485" y="12440"/>
                    </a:moveTo>
                    <a:cubicBezTo>
                      <a:pt x="19191" y="12440"/>
                      <a:pt x="20695" y="14518"/>
                      <a:pt x="20927" y="17181"/>
                    </a:cubicBezTo>
                    <a:cubicBezTo>
                      <a:pt x="20935" y="17244"/>
                      <a:pt x="20923" y="17313"/>
                      <a:pt x="20895" y="17362"/>
                    </a:cubicBezTo>
                    <a:cubicBezTo>
                      <a:pt x="20871" y="17405"/>
                      <a:pt x="20837" y="17428"/>
                      <a:pt x="20799" y="17428"/>
                    </a:cubicBezTo>
                    <a:lnTo>
                      <a:pt x="16646" y="17428"/>
                    </a:lnTo>
                    <a:cubicBezTo>
                      <a:pt x="16294" y="16131"/>
                      <a:pt x="15766" y="14959"/>
                      <a:pt x="15095" y="13976"/>
                    </a:cubicBezTo>
                    <a:cubicBezTo>
                      <a:pt x="15718" y="13009"/>
                      <a:pt x="16582" y="12456"/>
                      <a:pt x="17485" y="1244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36EB5D9D-5DF4-36C5-618F-411123FE9846}"/>
                  </a:ext>
                </a:extLst>
              </p:cNvPr>
              <p:cNvSpPr/>
              <p:nvPr/>
            </p:nvSpPr>
            <p:spPr>
              <a:xfrm>
                <a:off x="10010932" y="985824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9" name="Google Shape;1124;p39">
                <a:extLst>
                  <a:ext uri="{FF2B5EF4-FFF2-40B4-BE49-F238E27FC236}">
                    <a16:creationId xmlns:a16="http://schemas.microsoft.com/office/drawing/2014/main" id="{18D728D0-8914-4608-F2FC-2AF53C6BBDC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156603" y="1105849"/>
                <a:ext cx="425735" cy="4789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035" h="21600" extrusionOk="0">
                    <a:moveTo>
                      <a:pt x="10517" y="0"/>
                    </a:moveTo>
                    <a:cubicBezTo>
                      <a:pt x="9403" y="6"/>
                      <a:pt x="8505" y="835"/>
                      <a:pt x="8508" y="1851"/>
                    </a:cubicBezTo>
                    <a:cubicBezTo>
                      <a:pt x="8512" y="2757"/>
                      <a:pt x="9235" y="3523"/>
                      <a:pt x="10215" y="3661"/>
                    </a:cubicBezTo>
                    <a:cubicBezTo>
                      <a:pt x="10215" y="3661"/>
                      <a:pt x="10195" y="3661"/>
                      <a:pt x="10195" y="3661"/>
                    </a:cubicBezTo>
                    <a:lnTo>
                      <a:pt x="10195" y="4122"/>
                    </a:lnTo>
                    <a:cubicBezTo>
                      <a:pt x="10195" y="4282"/>
                      <a:pt x="10342" y="4410"/>
                      <a:pt x="10517" y="4410"/>
                    </a:cubicBezTo>
                    <a:cubicBezTo>
                      <a:pt x="10692" y="4410"/>
                      <a:pt x="10832" y="4282"/>
                      <a:pt x="10832" y="4122"/>
                    </a:cubicBezTo>
                    <a:lnTo>
                      <a:pt x="10832" y="3661"/>
                    </a:lnTo>
                    <a:cubicBezTo>
                      <a:pt x="11932" y="3500"/>
                      <a:pt x="12683" y="2556"/>
                      <a:pt x="12506" y="1552"/>
                    </a:cubicBezTo>
                    <a:cubicBezTo>
                      <a:pt x="12350" y="660"/>
                      <a:pt x="11507" y="1"/>
                      <a:pt x="10517" y="0"/>
                    </a:cubicBezTo>
                    <a:close/>
                    <a:moveTo>
                      <a:pt x="10510" y="581"/>
                    </a:moveTo>
                    <a:cubicBezTo>
                      <a:pt x="11274" y="582"/>
                      <a:pt x="11890" y="1148"/>
                      <a:pt x="11889" y="1845"/>
                    </a:cubicBezTo>
                    <a:cubicBezTo>
                      <a:pt x="11888" y="2541"/>
                      <a:pt x="11273" y="3109"/>
                      <a:pt x="10510" y="3110"/>
                    </a:cubicBezTo>
                    <a:cubicBezTo>
                      <a:pt x="9746" y="3109"/>
                      <a:pt x="9124" y="2543"/>
                      <a:pt x="9125" y="1845"/>
                    </a:cubicBezTo>
                    <a:cubicBezTo>
                      <a:pt x="9126" y="1150"/>
                      <a:pt x="9748" y="582"/>
                      <a:pt x="10510" y="581"/>
                    </a:cubicBezTo>
                    <a:close/>
                    <a:moveTo>
                      <a:pt x="2028" y="4482"/>
                    </a:moveTo>
                    <a:cubicBezTo>
                      <a:pt x="1321" y="4478"/>
                      <a:pt x="641" y="4818"/>
                      <a:pt x="269" y="5404"/>
                    </a:cubicBezTo>
                    <a:cubicBezTo>
                      <a:pt x="-283" y="6288"/>
                      <a:pt x="51" y="7415"/>
                      <a:pt x="1017" y="7921"/>
                    </a:cubicBezTo>
                    <a:cubicBezTo>
                      <a:pt x="1878" y="8371"/>
                      <a:pt x="2969" y="8177"/>
                      <a:pt x="3591" y="7472"/>
                    </a:cubicBezTo>
                    <a:cubicBezTo>
                      <a:pt x="3591" y="7472"/>
                      <a:pt x="3584" y="7484"/>
                      <a:pt x="3584" y="7484"/>
                    </a:cubicBezTo>
                    <a:lnTo>
                      <a:pt x="4017" y="7717"/>
                    </a:lnTo>
                    <a:cubicBezTo>
                      <a:pt x="4169" y="7797"/>
                      <a:pt x="4363" y="7748"/>
                      <a:pt x="4451" y="7609"/>
                    </a:cubicBezTo>
                    <a:cubicBezTo>
                      <a:pt x="4538" y="7471"/>
                      <a:pt x="4491" y="7294"/>
                      <a:pt x="4339" y="7214"/>
                    </a:cubicBezTo>
                    <a:lnTo>
                      <a:pt x="3899" y="6980"/>
                    </a:lnTo>
                    <a:cubicBezTo>
                      <a:pt x="4297" y="6030"/>
                      <a:pt x="3778" y="4970"/>
                      <a:pt x="2737" y="4608"/>
                    </a:cubicBezTo>
                    <a:cubicBezTo>
                      <a:pt x="2506" y="4527"/>
                      <a:pt x="2264" y="4483"/>
                      <a:pt x="2028" y="4482"/>
                    </a:cubicBezTo>
                    <a:close/>
                    <a:moveTo>
                      <a:pt x="18763" y="4500"/>
                    </a:moveTo>
                    <a:cubicBezTo>
                      <a:pt x="18503" y="4530"/>
                      <a:pt x="18249" y="4606"/>
                      <a:pt x="18008" y="4733"/>
                    </a:cubicBezTo>
                    <a:cubicBezTo>
                      <a:pt x="17151" y="5189"/>
                      <a:pt x="16782" y="6148"/>
                      <a:pt x="17141" y="6992"/>
                    </a:cubicBezTo>
                    <a:cubicBezTo>
                      <a:pt x="17141" y="6992"/>
                      <a:pt x="17135" y="6980"/>
                      <a:pt x="17135" y="6980"/>
                    </a:cubicBezTo>
                    <a:lnTo>
                      <a:pt x="16695" y="7208"/>
                    </a:lnTo>
                    <a:cubicBezTo>
                      <a:pt x="16543" y="7288"/>
                      <a:pt x="16496" y="7465"/>
                      <a:pt x="16583" y="7603"/>
                    </a:cubicBezTo>
                    <a:cubicBezTo>
                      <a:pt x="16671" y="7742"/>
                      <a:pt x="16865" y="7791"/>
                      <a:pt x="17017" y="7711"/>
                    </a:cubicBezTo>
                    <a:lnTo>
                      <a:pt x="17450" y="7478"/>
                    </a:lnTo>
                    <a:cubicBezTo>
                      <a:pt x="18152" y="8267"/>
                      <a:pt x="19428" y="8388"/>
                      <a:pt x="20293" y="7747"/>
                    </a:cubicBezTo>
                    <a:cubicBezTo>
                      <a:pt x="21061" y="7177"/>
                      <a:pt x="21260" y="6181"/>
                      <a:pt x="20765" y="5399"/>
                    </a:cubicBezTo>
                    <a:cubicBezTo>
                      <a:pt x="20343" y="4740"/>
                      <a:pt x="19543" y="4409"/>
                      <a:pt x="18763" y="4500"/>
                    </a:cubicBezTo>
                    <a:close/>
                    <a:moveTo>
                      <a:pt x="18842" y="5063"/>
                    </a:moveTo>
                    <a:cubicBezTo>
                      <a:pt x="19376" y="5003"/>
                      <a:pt x="19927" y="5234"/>
                      <a:pt x="20214" y="5686"/>
                    </a:cubicBezTo>
                    <a:cubicBezTo>
                      <a:pt x="20595" y="6290"/>
                      <a:pt x="20364" y="7058"/>
                      <a:pt x="19702" y="7406"/>
                    </a:cubicBezTo>
                    <a:cubicBezTo>
                      <a:pt x="19041" y="7753"/>
                      <a:pt x="18200" y="7547"/>
                      <a:pt x="17817" y="6944"/>
                    </a:cubicBezTo>
                    <a:cubicBezTo>
                      <a:pt x="17436" y="6340"/>
                      <a:pt x="17661" y="5573"/>
                      <a:pt x="18323" y="5225"/>
                    </a:cubicBezTo>
                    <a:cubicBezTo>
                      <a:pt x="18488" y="5138"/>
                      <a:pt x="18664" y="5083"/>
                      <a:pt x="18842" y="5063"/>
                    </a:cubicBezTo>
                    <a:close/>
                    <a:moveTo>
                      <a:pt x="2186" y="5081"/>
                    </a:moveTo>
                    <a:cubicBezTo>
                      <a:pt x="2364" y="5101"/>
                      <a:pt x="2539" y="5155"/>
                      <a:pt x="2704" y="5243"/>
                    </a:cubicBezTo>
                    <a:cubicBezTo>
                      <a:pt x="3364" y="5592"/>
                      <a:pt x="3590" y="6359"/>
                      <a:pt x="3210" y="6962"/>
                    </a:cubicBezTo>
                    <a:cubicBezTo>
                      <a:pt x="2827" y="7566"/>
                      <a:pt x="1980" y="7773"/>
                      <a:pt x="1319" y="7424"/>
                    </a:cubicBezTo>
                    <a:cubicBezTo>
                      <a:pt x="659" y="7075"/>
                      <a:pt x="433" y="6301"/>
                      <a:pt x="814" y="5698"/>
                    </a:cubicBezTo>
                    <a:cubicBezTo>
                      <a:pt x="1101" y="5246"/>
                      <a:pt x="1651" y="5020"/>
                      <a:pt x="2186" y="5081"/>
                    </a:cubicBezTo>
                    <a:close/>
                    <a:moveTo>
                      <a:pt x="10517" y="5081"/>
                    </a:moveTo>
                    <a:cubicBezTo>
                      <a:pt x="10342" y="5081"/>
                      <a:pt x="10202" y="5215"/>
                      <a:pt x="10202" y="5375"/>
                    </a:cubicBezTo>
                    <a:lnTo>
                      <a:pt x="10202" y="6417"/>
                    </a:lnTo>
                    <a:cubicBezTo>
                      <a:pt x="10202" y="6577"/>
                      <a:pt x="10342" y="6705"/>
                      <a:pt x="10517" y="6705"/>
                    </a:cubicBezTo>
                    <a:cubicBezTo>
                      <a:pt x="10692" y="6705"/>
                      <a:pt x="10839" y="6577"/>
                      <a:pt x="10839" y="6417"/>
                    </a:cubicBezTo>
                    <a:lnTo>
                      <a:pt x="10839" y="5375"/>
                    </a:lnTo>
                    <a:cubicBezTo>
                      <a:pt x="10839" y="5215"/>
                      <a:pt x="10692" y="5081"/>
                      <a:pt x="10517" y="5081"/>
                    </a:cubicBezTo>
                    <a:close/>
                    <a:moveTo>
                      <a:pt x="10530" y="7388"/>
                    </a:moveTo>
                    <a:cubicBezTo>
                      <a:pt x="10355" y="7388"/>
                      <a:pt x="10215" y="7515"/>
                      <a:pt x="10215" y="7675"/>
                    </a:cubicBezTo>
                    <a:lnTo>
                      <a:pt x="10215" y="8113"/>
                    </a:lnTo>
                    <a:lnTo>
                      <a:pt x="9322" y="8113"/>
                    </a:lnTo>
                    <a:cubicBezTo>
                      <a:pt x="8639" y="8113"/>
                      <a:pt x="8046" y="8470"/>
                      <a:pt x="7760" y="8994"/>
                    </a:cubicBezTo>
                    <a:lnTo>
                      <a:pt x="7399" y="8802"/>
                    </a:lnTo>
                    <a:cubicBezTo>
                      <a:pt x="7247" y="8721"/>
                      <a:pt x="7054" y="8772"/>
                      <a:pt x="6965" y="8910"/>
                    </a:cubicBezTo>
                    <a:cubicBezTo>
                      <a:pt x="6877" y="9048"/>
                      <a:pt x="6925" y="9224"/>
                      <a:pt x="7077" y="9305"/>
                    </a:cubicBezTo>
                    <a:lnTo>
                      <a:pt x="7576" y="9575"/>
                    </a:lnTo>
                    <a:cubicBezTo>
                      <a:pt x="7572" y="9618"/>
                      <a:pt x="7576" y="9662"/>
                      <a:pt x="7576" y="9707"/>
                    </a:cubicBezTo>
                    <a:lnTo>
                      <a:pt x="7576" y="11893"/>
                    </a:lnTo>
                    <a:cubicBezTo>
                      <a:pt x="7576" y="11938"/>
                      <a:pt x="7572" y="11982"/>
                      <a:pt x="7576" y="12025"/>
                    </a:cubicBezTo>
                    <a:lnTo>
                      <a:pt x="7077" y="12295"/>
                    </a:lnTo>
                    <a:cubicBezTo>
                      <a:pt x="6925" y="12376"/>
                      <a:pt x="6877" y="12552"/>
                      <a:pt x="6965" y="12690"/>
                    </a:cubicBezTo>
                    <a:cubicBezTo>
                      <a:pt x="7024" y="12783"/>
                      <a:pt x="7132" y="12834"/>
                      <a:pt x="7241" y="12834"/>
                    </a:cubicBezTo>
                    <a:cubicBezTo>
                      <a:pt x="7295" y="12834"/>
                      <a:pt x="7348" y="12819"/>
                      <a:pt x="7399" y="12792"/>
                    </a:cubicBezTo>
                    <a:lnTo>
                      <a:pt x="7760" y="12606"/>
                    </a:lnTo>
                    <a:cubicBezTo>
                      <a:pt x="8046" y="13130"/>
                      <a:pt x="8639" y="13487"/>
                      <a:pt x="9322" y="13487"/>
                    </a:cubicBezTo>
                    <a:lnTo>
                      <a:pt x="10215" y="13487"/>
                    </a:lnTo>
                    <a:lnTo>
                      <a:pt x="10215" y="13925"/>
                    </a:lnTo>
                    <a:cubicBezTo>
                      <a:pt x="10215" y="14085"/>
                      <a:pt x="10355" y="14212"/>
                      <a:pt x="10530" y="14212"/>
                    </a:cubicBezTo>
                    <a:cubicBezTo>
                      <a:pt x="10705" y="14212"/>
                      <a:pt x="10845" y="14085"/>
                      <a:pt x="10845" y="13925"/>
                    </a:cubicBezTo>
                    <a:lnTo>
                      <a:pt x="10845" y="13487"/>
                    </a:lnTo>
                    <a:lnTo>
                      <a:pt x="11718" y="13487"/>
                    </a:lnTo>
                    <a:cubicBezTo>
                      <a:pt x="12402" y="13487"/>
                      <a:pt x="12995" y="13130"/>
                      <a:pt x="13281" y="12606"/>
                    </a:cubicBezTo>
                    <a:lnTo>
                      <a:pt x="13635" y="12792"/>
                    </a:lnTo>
                    <a:cubicBezTo>
                      <a:pt x="13686" y="12819"/>
                      <a:pt x="13745" y="12834"/>
                      <a:pt x="13800" y="12834"/>
                    </a:cubicBezTo>
                    <a:cubicBezTo>
                      <a:pt x="13909" y="12834"/>
                      <a:pt x="14016" y="12783"/>
                      <a:pt x="14075" y="12690"/>
                    </a:cubicBezTo>
                    <a:cubicBezTo>
                      <a:pt x="14164" y="12552"/>
                      <a:pt x="14115" y="12376"/>
                      <a:pt x="13964" y="12295"/>
                    </a:cubicBezTo>
                    <a:lnTo>
                      <a:pt x="13458" y="12025"/>
                    </a:lnTo>
                    <a:cubicBezTo>
                      <a:pt x="13462" y="11982"/>
                      <a:pt x="13465" y="11938"/>
                      <a:pt x="13465" y="11893"/>
                    </a:cubicBezTo>
                    <a:lnTo>
                      <a:pt x="13465" y="9707"/>
                    </a:lnTo>
                    <a:cubicBezTo>
                      <a:pt x="13465" y="9662"/>
                      <a:pt x="13462" y="9618"/>
                      <a:pt x="13458" y="9575"/>
                    </a:cubicBezTo>
                    <a:lnTo>
                      <a:pt x="13964" y="9305"/>
                    </a:lnTo>
                    <a:cubicBezTo>
                      <a:pt x="14115" y="9224"/>
                      <a:pt x="14164" y="9048"/>
                      <a:pt x="14075" y="8910"/>
                    </a:cubicBezTo>
                    <a:cubicBezTo>
                      <a:pt x="13987" y="8772"/>
                      <a:pt x="13787" y="8721"/>
                      <a:pt x="13635" y="8802"/>
                    </a:cubicBezTo>
                    <a:lnTo>
                      <a:pt x="13281" y="8994"/>
                    </a:lnTo>
                    <a:cubicBezTo>
                      <a:pt x="12995" y="8470"/>
                      <a:pt x="12402" y="8113"/>
                      <a:pt x="11718" y="8113"/>
                    </a:cubicBezTo>
                    <a:lnTo>
                      <a:pt x="10845" y="8113"/>
                    </a:lnTo>
                    <a:lnTo>
                      <a:pt x="10845" y="7675"/>
                    </a:lnTo>
                    <a:cubicBezTo>
                      <a:pt x="10845" y="7515"/>
                      <a:pt x="10705" y="7388"/>
                      <a:pt x="10530" y="7388"/>
                    </a:cubicBezTo>
                    <a:close/>
                    <a:moveTo>
                      <a:pt x="5160" y="7687"/>
                    </a:moveTo>
                    <a:cubicBezTo>
                      <a:pt x="5081" y="7706"/>
                      <a:pt x="5007" y="7756"/>
                      <a:pt x="4963" y="7825"/>
                    </a:cubicBezTo>
                    <a:cubicBezTo>
                      <a:pt x="4874" y="7963"/>
                      <a:pt x="4923" y="8145"/>
                      <a:pt x="5074" y="8227"/>
                    </a:cubicBezTo>
                    <a:lnTo>
                      <a:pt x="6059" y="8754"/>
                    </a:lnTo>
                    <a:cubicBezTo>
                      <a:pt x="6210" y="8835"/>
                      <a:pt x="6410" y="8790"/>
                      <a:pt x="6499" y="8652"/>
                    </a:cubicBezTo>
                    <a:cubicBezTo>
                      <a:pt x="6588" y="8514"/>
                      <a:pt x="6532" y="8332"/>
                      <a:pt x="6381" y="8251"/>
                    </a:cubicBezTo>
                    <a:lnTo>
                      <a:pt x="5396" y="7723"/>
                    </a:lnTo>
                    <a:cubicBezTo>
                      <a:pt x="5321" y="7683"/>
                      <a:pt x="5238" y="7669"/>
                      <a:pt x="5160" y="7687"/>
                    </a:cubicBezTo>
                    <a:close/>
                    <a:moveTo>
                      <a:pt x="15881" y="7687"/>
                    </a:moveTo>
                    <a:cubicBezTo>
                      <a:pt x="15802" y="7669"/>
                      <a:pt x="15720" y="7683"/>
                      <a:pt x="15644" y="7723"/>
                    </a:cubicBezTo>
                    <a:lnTo>
                      <a:pt x="14653" y="8251"/>
                    </a:lnTo>
                    <a:cubicBezTo>
                      <a:pt x="14502" y="8332"/>
                      <a:pt x="14453" y="8514"/>
                      <a:pt x="14541" y="8652"/>
                    </a:cubicBezTo>
                    <a:cubicBezTo>
                      <a:pt x="14630" y="8790"/>
                      <a:pt x="14824" y="8835"/>
                      <a:pt x="14975" y="8754"/>
                    </a:cubicBezTo>
                    <a:lnTo>
                      <a:pt x="15966" y="8227"/>
                    </a:lnTo>
                    <a:cubicBezTo>
                      <a:pt x="16117" y="8145"/>
                      <a:pt x="16160" y="7963"/>
                      <a:pt x="16071" y="7825"/>
                    </a:cubicBezTo>
                    <a:cubicBezTo>
                      <a:pt x="16027" y="7756"/>
                      <a:pt x="15959" y="7706"/>
                      <a:pt x="15881" y="7687"/>
                    </a:cubicBezTo>
                    <a:close/>
                    <a:moveTo>
                      <a:pt x="9322" y="8688"/>
                    </a:moveTo>
                    <a:lnTo>
                      <a:pt x="11718" y="8688"/>
                    </a:lnTo>
                    <a:cubicBezTo>
                      <a:pt x="12331" y="8688"/>
                      <a:pt x="12828" y="9147"/>
                      <a:pt x="12828" y="9707"/>
                    </a:cubicBezTo>
                    <a:lnTo>
                      <a:pt x="12828" y="11893"/>
                    </a:lnTo>
                    <a:cubicBezTo>
                      <a:pt x="12828" y="12452"/>
                      <a:pt x="12331" y="12906"/>
                      <a:pt x="11718" y="12906"/>
                    </a:cubicBezTo>
                    <a:lnTo>
                      <a:pt x="9322" y="12906"/>
                    </a:lnTo>
                    <a:cubicBezTo>
                      <a:pt x="8710" y="12906"/>
                      <a:pt x="8206" y="12452"/>
                      <a:pt x="8206" y="11893"/>
                    </a:cubicBezTo>
                    <a:lnTo>
                      <a:pt x="8206" y="9707"/>
                    </a:lnTo>
                    <a:cubicBezTo>
                      <a:pt x="8206" y="9147"/>
                      <a:pt x="8710" y="8688"/>
                      <a:pt x="9322" y="8688"/>
                    </a:cubicBezTo>
                    <a:close/>
                    <a:moveTo>
                      <a:pt x="6302" y="12816"/>
                    </a:moveTo>
                    <a:cubicBezTo>
                      <a:pt x="6224" y="12798"/>
                      <a:pt x="6135" y="12806"/>
                      <a:pt x="6059" y="12846"/>
                    </a:cubicBezTo>
                    <a:lnTo>
                      <a:pt x="5074" y="13373"/>
                    </a:lnTo>
                    <a:cubicBezTo>
                      <a:pt x="4923" y="13455"/>
                      <a:pt x="4874" y="13637"/>
                      <a:pt x="4963" y="13775"/>
                    </a:cubicBezTo>
                    <a:cubicBezTo>
                      <a:pt x="5052" y="13913"/>
                      <a:pt x="5245" y="13958"/>
                      <a:pt x="5396" y="13877"/>
                    </a:cubicBezTo>
                    <a:lnTo>
                      <a:pt x="6381" y="13349"/>
                    </a:lnTo>
                    <a:cubicBezTo>
                      <a:pt x="6532" y="13268"/>
                      <a:pt x="6588" y="13086"/>
                      <a:pt x="6499" y="12948"/>
                    </a:cubicBezTo>
                    <a:cubicBezTo>
                      <a:pt x="6455" y="12879"/>
                      <a:pt x="6381" y="12835"/>
                      <a:pt x="6302" y="12816"/>
                    </a:cubicBezTo>
                    <a:close/>
                    <a:moveTo>
                      <a:pt x="14732" y="12816"/>
                    </a:moveTo>
                    <a:cubicBezTo>
                      <a:pt x="14653" y="12835"/>
                      <a:pt x="14586" y="12879"/>
                      <a:pt x="14541" y="12948"/>
                    </a:cubicBezTo>
                    <a:cubicBezTo>
                      <a:pt x="14452" y="13086"/>
                      <a:pt x="14502" y="13268"/>
                      <a:pt x="14653" y="13349"/>
                    </a:cubicBezTo>
                    <a:lnTo>
                      <a:pt x="15644" y="13877"/>
                    </a:lnTo>
                    <a:cubicBezTo>
                      <a:pt x="15795" y="13958"/>
                      <a:pt x="15982" y="13913"/>
                      <a:pt x="16071" y="13775"/>
                    </a:cubicBezTo>
                    <a:cubicBezTo>
                      <a:pt x="16160" y="13637"/>
                      <a:pt x="16117" y="13455"/>
                      <a:pt x="15966" y="13373"/>
                    </a:cubicBezTo>
                    <a:lnTo>
                      <a:pt x="14975" y="12846"/>
                    </a:lnTo>
                    <a:cubicBezTo>
                      <a:pt x="14899" y="12806"/>
                      <a:pt x="14810" y="12798"/>
                      <a:pt x="14732" y="12816"/>
                    </a:cubicBezTo>
                    <a:close/>
                    <a:moveTo>
                      <a:pt x="2225" y="13451"/>
                    </a:moveTo>
                    <a:cubicBezTo>
                      <a:pt x="1712" y="13403"/>
                      <a:pt x="1180" y="13538"/>
                      <a:pt x="748" y="13859"/>
                    </a:cubicBezTo>
                    <a:cubicBezTo>
                      <a:pt x="-20" y="14429"/>
                      <a:pt x="-226" y="15419"/>
                      <a:pt x="269" y="16201"/>
                    </a:cubicBezTo>
                    <a:cubicBezTo>
                      <a:pt x="831" y="17079"/>
                      <a:pt x="2069" y="17377"/>
                      <a:pt x="3033" y="16867"/>
                    </a:cubicBezTo>
                    <a:cubicBezTo>
                      <a:pt x="3890" y="16411"/>
                      <a:pt x="4258" y="15458"/>
                      <a:pt x="3899" y="14614"/>
                    </a:cubicBezTo>
                    <a:cubicBezTo>
                      <a:pt x="3899" y="14614"/>
                      <a:pt x="3906" y="14626"/>
                      <a:pt x="3906" y="14626"/>
                    </a:cubicBezTo>
                    <a:lnTo>
                      <a:pt x="4339" y="14398"/>
                    </a:lnTo>
                    <a:cubicBezTo>
                      <a:pt x="4491" y="14318"/>
                      <a:pt x="4545" y="14135"/>
                      <a:pt x="4457" y="13997"/>
                    </a:cubicBezTo>
                    <a:cubicBezTo>
                      <a:pt x="4370" y="13858"/>
                      <a:pt x="4176" y="13815"/>
                      <a:pt x="4024" y="13895"/>
                    </a:cubicBezTo>
                    <a:lnTo>
                      <a:pt x="3584" y="14122"/>
                    </a:lnTo>
                    <a:cubicBezTo>
                      <a:pt x="3233" y="13728"/>
                      <a:pt x="2739" y="13500"/>
                      <a:pt x="2225" y="13451"/>
                    </a:cubicBezTo>
                    <a:close/>
                    <a:moveTo>
                      <a:pt x="19341" y="13469"/>
                    </a:moveTo>
                    <a:cubicBezTo>
                      <a:pt x="18641" y="13366"/>
                      <a:pt x="17909" y="13599"/>
                      <a:pt x="17443" y="14128"/>
                    </a:cubicBezTo>
                    <a:cubicBezTo>
                      <a:pt x="17443" y="14128"/>
                      <a:pt x="17450" y="14116"/>
                      <a:pt x="17450" y="14116"/>
                    </a:cubicBezTo>
                    <a:lnTo>
                      <a:pt x="17017" y="13889"/>
                    </a:lnTo>
                    <a:cubicBezTo>
                      <a:pt x="16865" y="13809"/>
                      <a:pt x="16671" y="13858"/>
                      <a:pt x="16583" y="13997"/>
                    </a:cubicBezTo>
                    <a:cubicBezTo>
                      <a:pt x="16496" y="14135"/>
                      <a:pt x="16549" y="14312"/>
                      <a:pt x="16701" y="14392"/>
                    </a:cubicBezTo>
                    <a:lnTo>
                      <a:pt x="17135" y="14620"/>
                    </a:lnTo>
                    <a:cubicBezTo>
                      <a:pt x="16737" y="15570"/>
                      <a:pt x="17263" y="16636"/>
                      <a:pt x="18303" y="16998"/>
                    </a:cubicBezTo>
                    <a:cubicBezTo>
                      <a:pt x="19228" y="17321"/>
                      <a:pt x="20269" y="16984"/>
                      <a:pt x="20765" y="16201"/>
                    </a:cubicBezTo>
                    <a:cubicBezTo>
                      <a:pt x="21317" y="15318"/>
                      <a:pt x="20983" y="14191"/>
                      <a:pt x="20017" y="13685"/>
                    </a:cubicBezTo>
                    <a:cubicBezTo>
                      <a:pt x="19802" y="13573"/>
                      <a:pt x="19574" y="13504"/>
                      <a:pt x="19341" y="13469"/>
                    </a:cubicBezTo>
                    <a:close/>
                    <a:moveTo>
                      <a:pt x="19196" y="14021"/>
                    </a:moveTo>
                    <a:cubicBezTo>
                      <a:pt x="19374" y="14041"/>
                      <a:pt x="19550" y="14095"/>
                      <a:pt x="19715" y="14182"/>
                    </a:cubicBezTo>
                    <a:cubicBezTo>
                      <a:pt x="20375" y="14531"/>
                      <a:pt x="20601" y="15299"/>
                      <a:pt x="20220" y="15902"/>
                    </a:cubicBezTo>
                    <a:cubicBezTo>
                      <a:pt x="19837" y="16505"/>
                      <a:pt x="18991" y="16713"/>
                      <a:pt x="18330" y="16363"/>
                    </a:cubicBezTo>
                    <a:cubicBezTo>
                      <a:pt x="17670" y="16014"/>
                      <a:pt x="17444" y="15247"/>
                      <a:pt x="17824" y="14644"/>
                    </a:cubicBezTo>
                    <a:cubicBezTo>
                      <a:pt x="18111" y="14191"/>
                      <a:pt x="18661" y="13959"/>
                      <a:pt x="19196" y="14021"/>
                    </a:cubicBezTo>
                    <a:close/>
                    <a:moveTo>
                      <a:pt x="1858" y="14039"/>
                    </a:moveTo>
                    <a:cubicBezTo>
                      <a:pt x="2392" y="13978"/>
                      <a:pt x="2936" y="14204"/>
                      <a:pt x="3223" y="14656"/>
                    </a:cubicBezTo>
                    <a:cubicBezTo>
                      <a:pt x="3604" y="15260"/>
                      <a:pt x="3373" y="16033"/>
                      <a:pt x="2711" y="16381"/>
                    </a:cubicBezTo>
                    <a:cubicBezTo>
                      <a:pt x="2050" y="16728"/>
                      <a:pt x="1209" y="16522"/>
                      <a:pt x="827" y="15920"/>
                    </a:cubicBezTo>
                    <a:cubicBezTo>
                      <a:pt x="446" y="15316"/>
                      <a:pt x="670" y="14542"/>
                      <a:pt x="1332" y="14194"/>
                    </a:cubicBezTo>
                    <a:cubicBezTo>
                      <a:pt x="1498" y="14108"/>
                      <a:pt x="1680" y="14059"/>
                      <a:pt x="1858" y="14039"/>
                    </a:cubicBezTo>
                    <a:close/>
                    <a:moveTo>
                      <a:pt x="10517" y="14889"/>
                    </a:moveTo>
                    <a:cubicBezTo>
                      <a:pt x="10342" y="14889"/>
                      <a:pt x="10202" y="15017"/>
                      <a:pt x="10202" y="15177"/>
                    </a:cubicBezTo>
                    <a:lnTo>
                      <a:pt x="10202" y="16225"/>
                    </a:lnTo>
                    <a:cubicBezTo>
                      <a:pt x="10202" y="16385"/>
                      <a:pt x="10342" y="16513"/>
                      <a:pt x="10517" y="16513"/>
                    </a:cubicBezTo>
                    <a:cubicBezTo>
                      <a:pt x="10692" y="16513"/>
                      <a:pt x="10839" y="16385"/>
                      <a:pt x="10839" y="16225"/>
                    </a:cubicBezTo>
                    <a:lnTo>
                      <a:pt x="10839" y="15177"/>
                    </a:lnTo>
                    <a:cubicBezTo>
                      <a:pt x="10839" y="15017"/>
                      <a:pt x="10692" y="14889"/>
                      <a:pt x="10517" y="14889"/>
                    </a:cubicBezTo>
                    <a:close/>
                    <a:moveTo>
                      <a:pt x="10524" y="17190"/>
                    </a:moveTo>
                    <a:cubicBezTo>
                      <a:pt x="10348" y="17190"/>
                      <a:pt x="10202" y="17324"/>
                      <a:pt x="10202" y="17484"/>
                    </a:cubicBezTo>
                    <a:lnTo>
                      <a:pt x="10202" y="17945"/>
                    </a:lnTo>
                    <a:cubicBezTo>
                      <a:pt x="9102" y="18106"/>
                      <a:pt x="8358" y="19050"/>
                      <a:pt x="8534" y="20054"/>
                    </a:cubicBezTo>
                    <a:cubicBezTo>
                      <a:pt x="8691" y="20946"/>
                      <a:pt x="9533" y="21599"/>
                      <a:pt x="10524" y="21600"/>
                    </a:cubicBezTo>
                    <a:cubicBezTo>
                      <a:pt x="11638" y="21594"/>
                      <a:pt x="12535" y="20771"/>
                      <a:pt x="12533" y="19755"/>
                    </a:cubicBezTo>
                    <a:cubicBezTo>
                      <a:pt x="12529" y="18849"/>
                      <a:pt x="11806" y="18077"/>
                      <a:pt x="10826" y="17939"/>
                    </a:cubicBezTo>
                    <a:cubicBezTo>
                      <a:pt x="10826" y="17939"/>
                      <a:pt x="10839" y="17939"/>
                      <a:pt x="10839" y="17939"/>
                    </a:cubicBezTo>
                    <a:lnTo>
                      <a:pt x="10839" y="17484"/>
                    </a:lnTo>
                    <a:cubicBezTo>
                      <a:pt x="10839" y="17324"/>
                      <a:pt x="10699" y="17190"/>
                      <a:pt x="10524" y="17190"/>
                    </a:cubicBezTo>
                    <a:close/>
                    <a:moveTo>
                      <a:pt x="10530" y="18496"/>
                    </a:moveTo>
                    <a:cubicBezTo>
                      <a:pt x="11294" y="18497"/>
                      <a:pt x="11910" y="19063"/>
                      <a:pt x="11909" y="19761"/>
                    </a:cubicBezTo>
                    <a:cubicBezTo>
                      <a:pt x="11908" y="20456"/>
                      <a:pt x="11293" y="21024"/>
                      <a:pt x="10530" y="21025"/>
                    </a:cubicBezTo>
                    <a:cubicBezTo>
                      <a:pt x="9766" y="21024"/>
                      <a:pt x="9144" y="20458"/>
                      <a:pt x="9145" y="19761"/>
                    </a:cubicBezTo>
                    <a:cubicBezTo>
                      <a:pt x="9146" y="19065"/>
                      <a:pt x="9768" y="18497"/>
                      <a:pt x="10530" y="18496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rgbClr val="FFFFFF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F7DD05F9-5111-47F7-BFD3-71B58D84FB84}"/>
                  </a:ext>
                </a:extLst>
              </p:cNvPr>
              <p:cNvSpPr/>
              <p:nvPr/>
            </p:nvSpPr>
            <p:spPr>
              <a:xfrm>
                <a:off x="5987644" y="5179342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A2951D5B-41AB-74A6-DA7A-0DA29F0F4AB7}"/>
                  </a:ext>
                </a:extLst>
              </p:cNvPr>
              <p:cNvSpPr/>
              <p:nvPr/>
            </p:nvSpPr>
            <p:spPr>
              <a:xfrm>
                <a:off x="10067322" y="5111810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Google Shape;1289;p42">
                <a:extLst>
                  <a:ext uri="{FF2B5EF4-FFF2-40B4-BE49-F238E27FC236}">
                    <a16:creationId xmlns:a16="http://schemas.microsoft.com/office/drawing/2014/main" id="{E808E6E3-CF68-BE3F-3306-502E86A421F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137428" y="5325129"/>
                <a:ext cx="395506" cy="3953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29" h="21561" extrusionOk="0">
                    <a:moveTo>
                      <a:pt x="2333" y="17662"/>
                    </a:moveTo>
                    <a:cubicBezTo>
                      <a:pt x="2051" y="17674"/>
                      <a:pt x="1776" y="17573"/>
                      <a:pt x="1568" y="17383"/>
                    </a:cubicBezTo>
                    <a:cubicBezTo>
                      <a:pt x="895" y="16708"/>
                      <a:pt x="698" y="15663"/>
                      <a:pt x="639" y="15099"/>
                    </a:cubicBezTo>
                    <a:cubicBezTo>
                      <a:pt x="631" y="15013"/>
                      <a:pt x="693" y="14937"/>
                      <a:pt x="778" y="14929"/>
                    </a:cubicBezTo>
                    <a:cubicBezTo>
                      <a:pt x="783" y="14928"/>
                      <a:pt x="789" y="14928"/>
                      <a:pt x="794" y="14928"/>
                    </a:cubicBezTo>
                    <a:lnTo>
                      <a:pt x="811" y="14928"/>
                    </a:lnTo>
                    <a:cubicBezTo>
                      <a:pt x="1367" y="14985"/>
                      <a:pt x="2393" y="15178"/>
                      <a:pt x="3066" y="15832"/>
                    </a:cubicBezTo>
                    <a:lnTo>
                      <a:pt x="3080" y="15849"/>
                    </a:lnTo>
                    <a:cubicBezTo>
                      <a:pt x="3397" y="16195"/>
                      <a:pt x="3456" y="16704"/>
                      <a:pt x="3227" y="17113"/>
                    </a:cubicBezTo>
                    <a:cubicBezTo>
                      <a:pt x="3017" y="16822"/>
                      <a:pt x="2768" y="16561"/>
                      <a:pt x="2488" y="16338"/>
                    </a:cubicBezTo>
                    <a:cubicBezTo>
                      <a:pt x="2356" y="16228"/>
                      <a:pt x="2161" y="16246"/>
                      <a:pt x="2051" y="16377"/>
                    </a:cubicBezTo>
                    <a:cubicBezTo>
                      <a:pt x="1942" y="16509"/>
                      <a:pt x="1960" y="16705"/>
                      <a:pt x="2091" y="16814"/>
                    </a:cubicBezTo>
                    <a:cubicBezTo>
                      <a:pt x="2101" y="16822"/>
                      <a:pt x="2111" y="16830"/>
                      <a:pt x="2122" y="16837"/>
                    </a:cubicBezTo>
                    <a:cubicBezTo>
                      <a:pt x="2370" y="17043"/>
                      <a:pt x="2590" y="17281"/>
                      <a:pt x="2775" y="17544"/>
                    </a:cubicBezTo>
                    <a:cubicBezTo>
                      <a:pt x="2638" y="17615"/>
                      <a:pt x="2487" y="17656"/>
                      <a:pt x="2333" y="17662"/>
                    </a:cubicBezTo>
                    <a:cubicBezTo>
                      <a:pt x="2333" y="17662"/>
                      <a:pt x="2333" y="17662"/>
                      <a:pt x="2333" y="17662"/>
                    </a:cubicBezTo>
                    <a:close/>
                    <a:moveTo>
                      <a:pt x="5294" y="15849"/>
                    </a:moveTo>
                    <a:lnTo>
                      <a:pt x="5308" y="15832"/>
                    </a:lnTo>
                    <a:cubicBezTo>
                      <a:pt x="5981" y="15178"/>
                      <a:pt x="7011" y="14985"/>
                      <a:pt x="7563" y="14928"/>
                    </a:cubicBezTo>
                    <a:cubicBezTo>
                      <a:pt x="7648" y="14919"/>
                      <a:pt x="7724" y="14981"/>
                      <a:pt x="7733" y="15066"/>
                    </a:cubicBezTo>
                    <a:cubicBezTo>
                      <a:pt x="7735" y="15077"/>
                      <a:pt x="7735" y="15088"/>
                      <a:pt x="7733" y="15099"/>
                    </a:cubicBezTo>
                    <a:cubicBezTo>
                      <a:pt x="7676" y="15663"/>
                      <a:pt x="7480" y="16708"/>
                      <a:pt x="6816" y="17375"/>
                    </a:cubicBezTo>
                    <a:cubicBezTo>
                      <a:pt x="6485" y="17683"/>
                      <a:pt x="5997" y="17751"/>
                      <a:pt x="5596" y="17544"/>
                    </a:cubicBezTo>
                    <a:cubicBezTo>
                      <a:pt x="5781" y="17279"/>
                      <a:pt x="6002" y="17042"/>
                      <a:pt x="6254" y="16839"/>
                    </a:cubicBezTo>
                    <a:cubicBezTo>
                      <a:pt x="6388" y="16733"/>
                      <a:pt x="6412" y="16538"/>
                      <a:pt x="6306" y="16403"/>
                    </a:cubicBezTo>
                    <a:cubicBezTo>
                      <a:pt x="6205" y="16274"/>
                      <a:pt x="6021" y="16246"/>
                      <a:pt x="5887" y="16339"/>
                    </a:cubicBezTo>
                    <a:cubicBezTo>
                      <a:pt x="5606" y="16563"/>
                      <a:pt x="5357" y="16824"/>
                      <a:pt x="5147" y="17115"/>
                    </a:cubicBezTo>
                    <a:cubicBezTo>
                      <a:pt x="4918" y="16705"/>
                      <a:pt x="4977" y="16195"/>
                      <a:pt x="5294" y="15849"/>
                    </a:cubicBezTo>
                    <a:cubicBezTo>
                      <a:pt x="5294" y="15849"/>
                      <a:pt x="5294" y="15849"/>
                      <a:pt x="5294" y="15849"/>
                    </a:cubicBezTo>
                    <a:close/>
                    <a:moveTo>
                      <a:pt x="8153" y="10232"/>
                    </a:moveTo>
                    <a:cubicBezTo>
                      <a:pt x="7480" y="9557"/>
                      <a:pt x="7283" y="8512"/>
                      <a:pt x="7224" y="7948"/>
                    </a:cubicBezTo>
                    <a:cubicBezTo>
                      <a:pt x="7216" y="7862"/>
                      <a:pt x="7278" y="7786"/>
                      <a:pt x="7363" y="7778"/>
                    </a:cubicBezTo>
                    <a:cubicBezTo>
                      <a:pt x="7368" y="7777"/>
                      <a:pt x="7374" y="7777"/>
                      <a:pt x="7379" y="7777"/>
                    </a:cubicBezTo>
                    <a:lnTo>
                      <a:pt x="7396" y="7777"/>
                    </a:lnTo>
                    <a:cubicBezTo>
                      <a:pt x="7952" y="7834"/>
                      <a:pt x="8978" y="8027"/>
                      <a:pt x="9651" y="8681"/>
                    </a:cubicBezTo>
                    <a:cubicBezTo>
                      <a:pt x="9656" y="8688"/>
                      <a:pt x="9661" y="8693"/>
                      <a:pt x="9667" y="8698"/>
                    </a:cubicBezTo>
                    <a:cubicBezTo>
                      <a:pt x="9982" y="9044"/>
                      <a:pt x="10041" y="9554"/>
                      <a:pt x="9812" y="9962"/>
                    </a:cubicBezTo>
                    <a:cubicBezTo>
                      <a:pt x="9602" y="9672"/>
                      <a:pt x="9354" y="9411"/>
                      <a:pt x="9074" y="9187"/>
                    </a:cubicBezTo>
                    <a:cubicBezTo>
                      <a:pt x="8936" y="9085"/>
                      <a:pt x="8742" y="9114"/>
                      <a:pt x="8641" y="9252"/>
                    </a:cubicBezTo>
                    <a:cubicBezTo>
                      <a:pt x="8539" y="9390"/>
                      <a:pt x="8568" y="9584"/>
                      <a:pt x="8706" y="9686"/>
                    </a:cubicBezTo>
                    <a:cubicBezTo>
                      <a:pt x="8957" y="9890"/>
                      <a:pt x="9179" y="10127"/>
                      <a:pt x="9365" y="10392"/>
                    </a:cubicBezTo>
                    <a:cubicBezTo>
                      <a:pt x="8967" y="10597"/>
                      <a:pt x="8484" y="10533"/>
                      <a:pt x="8153" y="10232"/>
                    </a:cubicBezTo>
                    <a:cubicBezTo>
                      <a:pt x="8153" y="10232"/>
                      <a:pt x="8153" y="10232"/>
                      <a:pt x="8153" y="10232"/>
                    </a:cubicBezTo>
                    <a:close/>
                    <a:moveTo>
                      <a:pt x="11879" y="8698"/>
                    </a:moveTo>
                    <a:lnTo>
                      <a:pt x="11893" y="8683"/>
                    </a:lnTo>
                    <a:cubicBezTo>
                      <a:pt x="12566" y="8027"/>
                      <a:pt x="13595" y="7834"/>
                      <a:pt x="14148" y="7777"/>
                    </a:cubicBezTo>
                    <a:cubicBezTo>
                      <a:pt x="14233" y="7768"/>
                      <a:pt x="14309" y="7830"/>
                      <a:pt x="14318" y="7915"/>
                    </a:cubicBezTo>
                    <a:cubicBezTo>
                      <a:pt x="14319" y="7926"/>
                      <a:pt x="14319" y="7937"/>
                      <a:pt x="14318" y="7948"/>
                    </a:cubicBezTo>
                    <a:cubicBezTo>
                      <a:pt x="14261" y="8512"/>
                      <a:pt x="14064" y="9557"/>
                      <a:pt x="13400" y="10224"/>
                    </a:cubicBezTo>
                    <a:cubicBezTo>
                      <a:pt x="13071" y="10530"/>
                      <a:pt x="12586" y="10598"/>
                      <a:pt x="12185" y="10395"/>
                    </a:cubicBezTo>
                    <a:cubicBezTo>
                      <a:pt x="12370" y="10131"/>
                      <a:pt x="12590" y="9893"/>
                      <a:pt x="12838" y="9688"/>
                    </a:cubicBezTo>
                    <a:cubicBezTo>
                      <a:pt x="12973" y="9582"/>
                      <a:pt x="12997" y="9387"/>
                      <a:pt x="12891" y="9252"/>
                    </a:cubicBezTo>
                    <a:cubicBezTo>
                      <a:pt x="12790" y="9123"/>
                      <a:pt x="12606" y="9095"/>
                      <a:pt x="12472" y="9188"/>
                    </a:cubicBezTo>
                    <a:cubicBezTo>
                      <a:pt x="12192" y="9413"/>
                      <a:pt x="11943" y="9673"/>
                      <a:pt x="11732" y="9964"/>
                    </a:cubicBezTo>
                    <a:cubicBezTo>
                      <a:pt x="11503" y="9554"/>
                      <a:pt x="11562" y="9044"/>
                      <a:pt x="11879" y="8698"/>
                    </a:cubicBezTo>
                    <a:cubicBezTo>
                      <a:pt x="11879" y="8698"/>
                      <a:pt x="11879" y="8698"/>
                      <a:pt x="11879" y="8698"/>
                    </a:cubicBezTo>
                    <a:close/>
                    <a:moveTo>
                      <a:pt x="12291" y="14685"/>
                    </a:moveTo>
                    <a:lnTo>
                      <a:pt x="12301" y="14677"/>
                    </a:lnTo>
                    <a:cubicBezTo>
                      <a:pt x="12632" y="14517"/>
                      <a:pt x="13000" y="14454"/>
                      <a:pt x="13365" y="14495"/>
                    </a:cubicBezTo>
                    <a:cubicBezTo>
                      <a:pt x="13415" y="14498"/>
                      <a:pt x="13461" y="14527"/>
                      <a:pt x="13486" y="14571"/>
                    </a:cubicBezTo>
                    <a:cubicBezTo>
                      <a:pt x="13509" y="14616"/>
                      <a:pt x="13509" y="14670"/>
                      <a:pt x="13486" y="14716"/>
                    </a:cubicBezTo>
                    <a:cubicBezTo>
                      <a:pt x="13337" y="15056"/>
                      <a:pt x="13094" y="15348"/>
                      <a:pt x="12786" y="15555"/>
                    </a:cubicBezTo>
                    <a:cubicBezTo>
                      <a:pt x="12543" y="15688"/>
                      <a:pt x="12238" y="15599"/>
                      <a:pt x="12105" y="15356"/>
                    </a:cubicBezTo>
                    <a:cubicBezTo>
                      <a:pt x="11976" y="15120"/>
                      <a:pt x="12055" y="14824"/>
                      <a:pt x="12284" y="14685"/>
                    </a:cubicBezTo>
                    <a:cubicBezTo>
                      <a:pt x="12284" y="14685"/>
                      <a:pt x="12291" y="14685"/>
                      <a:pt x="12291" y="14685"/>
                    </a:cubicBezTo>
                    <a:close/>
                    <a:moveTo>
                      <a:pt x="15715" y="18484"/>
                    </a:moveTo>
                    <a:cubicBezTo>
                      <a:pt x="15592" y="18523"/>
                      <a:pt x="15458" y="18512"/>
                      <a:pt x="15343" y="18455"/>
                    </a:cubicBezTo>
                    <a:cubicBezTo>
                      <a:pt x="15031" y="18246"/>
                      <a:pt x="14785" y="17952"/>
                      <a:pt x="14636" y="17608"/>
                    </a:cubicBezTo>
                    <a:cubicBezTo>
                      <a:pt x="14612" y="17563"/>
                      <a:pt x="14612" y="17509"/>
                      <a:pt x="14636" y="17464"/>
                    </a:cubicBezTo>
                    <a:cubicBezTo>
                      <a:pt x="14661" y="17420"/>
                      <a:pt x="14706" y="17392"/>
                      <a:pt x="14756" y="17388"/>
                    </a:cubicBezTo>
                    <a:cubicBezTo>
                      <a:pt x="14821" y="17388"/>
                      <a:pt x="14893" y="17380"/>
                      <a:pt x="14967" y="17380"/>
                    </a:cubicBezTo>
                    <a:cubicBezTo>
                      <a:pt x="15263" y="17371"/>
                      <a:pt x="15556" y="17436"/>
                      <a:pt x="15821" y="17569"/>
                    </a:cubicBezTo>
                    <a:lnTo>
                      <a:pt x="15832" y="17569"/>
                    </a:lnTo>
                    <a:cubicBezTo>
                      <a:pt x="16067" y="17717"/>
                      <a:pt x="16137" y="18027"/>
                      <a:pt x="15990" y="18262"/>
                    </a:cubicBezTo>
                    <a:cubicBezTo>
                      <a:pt x="15926" y="18364"/>
                      <a:pt x="15828" y="18439"/>
                      <a:pt x="15713" y="18475"/>
                    </a:cubicBezTo>
                    <a:cubicBezTo>
                      <a:pt x="15713" y="18475"/>
                      <a:pt x="15715" y="18484"/>
                      <a:pt x="15715" y="18484"/>
                    </a:cubicBezTo>
                    <a:close/>
                    <a:moveTo>
                      <a:pt x="15502" y="3360"/>
                    </a:moveTo>
                    <a:cubicBezTo>
                      <a:pt x="15221" y="3373"/>
                      <a:pt x="14945" y="3273"/>
                      <a:pt x="14738" y="3081"/>
                    </a:cubicBezTo>
                    <a:cubicBezTo>
                      <a:pt x="14066" y="2406"/>
                      <a:pt x="13869" y="1361"/>
                      <a:pt x="13809" y="798"/>
                    </a:cubicBezTo>
                    <a:cubicBezTo>
                      <a:pt x="13803" y="751"/>
                      <a:pt x="13819" y="705"/>
                      <a:pt x="13852" y="671"/>
                    </a:cubicBezTo>
                    <a:cubicBezTo>
                      <a:pt x="13882" y="642"/>
                      <a:pt x="13921" y="626"/>
                      <a:pt x="13962" y="626"/>
                    </a:cubicBezTo>
                    <a:lnTo>
                      <a:pt x="13979" y="626"/>
                    </a:lnTo>
                    <a:cubicBezTo>
                      <a:pt x="14535" y="684"/>
                      <a:pt x="15560" y="877"/>
                      <a:pt x="16233" y="1530"/>
                    </a:cubicBezTo>
                    <a:lnTo>
                      <a:pt x="16249" y="1549"/>
                    </a:lnTo>
                    <a:cubicBezTo>
                      <a:pt x="16564" y="1894"/>
                      <a:pt x="16623" y="2403"/>
                      <a:pt x="16396" y="2811"/>
                    </a:cubicBezTo>
                    <a:cubicBezTo>
                      <a:pt x="16184" y="2521"/>
                      <a:pt x="15935" y="2261"/>
                      <a:pt x="15656" y="2036"/>
                    </a:cubicBezTo>
                    <a:cubicBezTo>
                      <a:pt x="15518" y="1934"/>
                      <a:pt x="15324" y="1964"/>
                      <a:pt x="15222" y="2103"/>
                    </a:cubicBezTo>
                    <a:cubicBezTo>
                      <a:pt x="15121" y="2241"/>
                      <a:pt x="15151" y="2435"/>
                      <a:pt x="15289" y="2537"/>
                    </a:cubicBezTo>
                    <a:cubicBezTo>
                      <a:pt x="15538" y="2741"/>
                      <a:pt x="15758" y="2979"/>
                      <a:pt x="15942" y="3244"/>
                    </a:cubicBezTo>
                    <a:cubicBezTo>
                      <a:pt x="15805" y="3313"/>
                      <a:pt x="15656" y="3353"/>
                      <a:pt x="15502" y="3360"/>
                    </a:cubicBezTo>
                    <a:close/>
                    <a:moveTo>
                      <a:pt x="18464" y="1549"/>
                    </a:moveTo>
                    <a:lnTo>
                      <a:pt x="18478" y="1532"/>
                    </a:lnTo>
                    <a:cubicBezTo>
                      <a:pt x="19151" y="877"/>
                      <a:pt x="20180" y="684"/>
                      <a:pt x="20733" y="628"/>
                    </a:cubicBezTo>
                    <a:cubicBezTo>
                      <a:pt x="20818" y="619"/>
                      <a:pt x="20894" y="680"/>
                      <a:pt x="20903" y="766"/>
                    </a:cubicBezTo>
                    <a:cubicBezTo>
                      <a:pt x="20904" y="776"/>
                      <a:pt x="20904" y="787"/>
                      <a:pt x="20903" y="798"/>
                    </a:cubicBezTo>
                    <a:cubicBezTo>
                      <a:pt x="20846" y="1361"/>
                      <a:pt x="20649" y="2407"/>
                      <a:pt x="19985" y="3073"/>
                    </a:cubicBezTo>
                    <a:cubicBezTo>
                      <a:pt x="19776" y="3269"/>
                      <a:pt x="19497" y="3373"/>
                      <a:pt x="19211" y="3360"/>
                    </a:cubicBezTo>
                    <a:cubicBezTo>
                      <a:pt x="19057" y="3354"/>
                      <a:pt x="18906" y="3315"/>
                      <a:pt x="18769" y="3246"/>
                    </a:cubicBezTo>
                    <a:cubicBezTo>
                      <a:pt x="18954" y="2981"/>
                      <a:pt x="19174" y="2743"/>
                      <a:pt x="19422" y="2537"/>
                    </a:cubicBezTo>
                    <a:cubicBezTo>
                      <a:pt x="19563" y="2440"/>
                      <a:pt x="19598" y="2246"/>
                      <a:pt x="19501" y="2105"/>
                    </a:cubicBezTo>
                    <a:cubicBezTo>
                      <a:pt x="19404" y="1964"/>
                      <a:pt x="19211" y="1929"/>
                      <a:pt x="19070" y="2026"/>
                    </a:cubicBezTo>
                    <a:cubicBezTo>
                      <a:pt x="19065" y="2030"/>
                      <a:pt x="19060" y="2034"/>
                      <a:pt x="19055" y="2037"/>
                    </a:cubicBezTo>
                    <a:cubicBezTo>
                      <a:pt x="18775" y="2262"/>
                      <a:pt x="18527" y="2523"/>
                      <a:pt x="18315" y="2813"/>
                    </a:cubicBezTo>
                    <a:cubicBezTo>
                      <a:pt x="18087" y="2404"/>
                      <a:pt x="18147" y="1894"/>
                      <a:pt x="18464" y="1549"/>
                    </a:cubicBezTo>
                    <a:close/>
                    <a:moveTo>
                      <a:pt x="19101" y="8984"/>
                    </a:moveTo>
                    <a:lnTo>
                      <a:pt x="19115" y="8973"/>
                    </a:lnTo>
                    <a:cubicBezTo>
                      <a:pt x="19620" y="8633"/>
                      <a:pt x="20275" y="8584"/>
                      <a:pt x="20739" y="8601"/>
                    </a:cubicBezTo>
                    <a:cubicBezTo>
                      <a:pt x="20787" y="8602"/>
                      <a:pt x="20832" y="8626"/>
                      <a:pt x="20860" y="8666"/>
                    </a:cubicBezTo>
                    <a:cubicBezTo>
                      <a:pt x="20887" y="8706"/>
                      <a:pt x="20895" y="8756"/>
                      <a:pt x="20880" y="8802"/>
                    </a:cubicBezTo>
                    <a:cubicBezTo>
                      <a:pt x="20736" y="9252"/>
                      <a:pt x="20457" y="9863"/>
                      <a:pt x="19960" y="10213"/>
                    </a:cubicBezTo>
                    <a:cubicBezTo>
                      <a:pt x="19794" y="10321"/>
                      <a:pt x="19591" y="10358"/>
                      <a:pt x="19397" y="10316"/>
                    </a:cubicBezTo>
                    <a:cubicBezTo>
                      <a:pt x="19328" y="10300"/>
                      <a:pt x="19262" y="10274"/>
                      <a:pt x="19200" y="10240"/>
                    </a:cubicBezTo>
                    <a:cubicBezTo>
                      <a:pt x="19364" y="10103"/>
                      <a:pt x="19540" y="9983"/>
                      <a:pt x="19727" y="9880"/>
                    </a:cubicBezTo>
                    <a:cubicBezTo>
                      <a:pt x="19882" y="9808"/>
                      <a:pt x="19949" y="9623"/>
                      <a:pt x="19876" y="9468"/>
                    </a:cubicBezTo>
                    <a:cubicBezTo>
                      <a:pt x="19804" y="9313"/>
                      <a:pt x="19620" y="9245"/>
                      <a:pt x="19465" y="9318"/>
                    </a:cubicBezTo>
                    <a:cubicBezTo>
                      <a:pt x="19459" y="9321"/>
                      <a:pt x="19454" y="9323"/>
                      <a:pt x="19448" y="9326"/>
                    </a:cubicBezTo>
                    <a:cubicBezTo>
                      <a:pt x="19228" y="9446"/>
                      <a:pt x="19021" y="9586"/>
                      <a:pt x="18829" y="9747"/>
                    </a:cubicBezTo>
                    <a:cubicBezTo>
                      <a:pt x="18765" y="9461"/>
                      <a:pt x="18871" y="9164"/>
                      <a:pt x="19101" y="8984"/>
                    </a:cubicBezTo>
                    <a:close/>
                    <a:moveTo>
                      <a:pt x="21214" y="20942"/>
                    </a:moveTo>
                    <a:lnTo>
                      <a:pt x="17666" y="20942"/>
                    </a:lnTo>
                    <a:lnTo>
                      <a:pt x="17666" y="13551"/>
                    </a:lnTo>
                    <a:cubicBezTo>
                      <a:pt x="17647" y="12493"/>
                      <a:pt x="18030" y="11466"/>
                      <a:pt x="18738" y="10680"/>
                    </a:cubicBezTo>
                    <a:cubicBezTo>
                      <a:pt x="18894" y="10798"/>
                      <a:pt x="19074" y="10881"/>
                      <a:pt x="19265" y="10922"/>
                    </a:cubicBezTo>
                    <a:cubicBezTo>
                      <a:pt x="19361" y="10943"/>
                      <a:pt x="19459" y="10953"/>
                      <a:pt x="19556" y="10953"/>
                    </a:cubicBezTo>
                    <a:cubicBezTo>
                      <a:pt x="19823" y="10952"/>
                      <a:pt x="20083" y="10874"/>
                      <a:pt x="20306" y="10728"/>
                    </a:cubicBezTo>
                    <a:cubicBezTo>
                      <a:pt x="20954" y="10272"/>
                      <a:pt x="21296" y="9531"/>
                      <a:pt x="21470" y="8991"/>
                    </a:cubicBezTo>
                    <a:cubicBezTo>
                      <a:pt x="21600" y="8584"/>
                      <a:pt x="21376" y="8147"/>
                      <a:pt x="20969" y="8017"/>
                    </a:cubicBezTo>
                    <a:cubicBezTo>
                      <a:pt x="20902" y="7995"/>
                      <a:pt x="20833" y="7983"/>
                      <a:pt x="20764" y="7980"/>
                    </a:cubicBezTo>
                    <a:cubicBezTo>
                      <a:pt x="20197" y="7957"/>
                      <a:pt x="19385" y="8027"/>
                      <a:pt x="18736" y="8481"/>
                    </a:cubicBezTo>
                    <a:lnTo>
                      <a:pt x="18699" y="8512"/>
                    </a:lnTo>
                    <a:cubicBezTo>
                      <a:pt x="18196" y="8920"/>
                      <a:pt x="18045" y="9624"/>
                      <a:pt x="18335" y="10203"/>
                    </a:cubicBezTo>
                    <a:cubicBezTo>
                      <a:pt x="18078" y="10478"/>
                      <a:pt x="17853" y="10782"/>
                      <a:pt x="17666" y="11110"/>
                    </a:cubicBezTo>
                    <a:lnTo>
                      <a:pt x="17666" y="6951"/>
                    </a:lnTo>
                    <a:cubicBezTo>
                      <a:pt x="17648" y="5841"/>
                      <a:pt x="17914" y="4746"/>
                      <a:pt x="18440" y="3770"/>
                    </a:cubicBezTo>
                    <a:cubicBezTo>
                      <a:pt x="18672" y="3898"/>
                      <a:pt x="18931" y="3969"/>
                      <a:pt x="19196" y="3979"/>
                    </a:cubicBezTo>
                    <a:lnTo>
                      <a:pt x="19262" y="3979"/>
                    </a:lnTo>
                    <a:cubicBezTo>
                      <a:pt x="19694" y="3977"/>
                      <a:pt x="20108" y="3810"/>
                      <a:pt x="20422" y="3514"/>
                    </a:cubicBezTo>
                    <a:cubicBezTo>
                      <a:pt x="21230" y="2704"/>
                      <a:pt x="21460" y="1498"/>
                      <a:pt x="21525" y="854"/>
                    </a:cubicBezTo>
                    <a:cubicBezTo>
                      <a:pt x="21569" y="428"/>
                      <a:pt x="21259" y="48"/>
                      <a:pt x="20834" y="4"/>
                    </a:cubicBezTo>
                    <a:cubicBezTo>
                      <a:pt x="20782" y="-1"/>
                      <a:pt x="20729" y="-1"/>
                      <a:pt x="20677" y="4"/>
                    </a:cubicBezTo>
                    <a:cubicBezTo>
                      <a:pt x="20032" y="69"/>
                      <a:pt x="18831" y="301"/>
                      <a:pt x="18022" y="1110"/>
                    </a:cubicBezTo>
                    <a:cubicBezTo>
                      <a:pt x="18010" y="1123"/>
                      <a:pt x="17999" y="1136"/>
                      <a:pt x="17988" y="1150"/>
                    </a:cubicBezTo>
                    <a:cubicBezTo>
                      <a:pt x="17439" y="1779"/>
                      <a:pt x="17425" y="2714"/>
                      <a:pt x="17956" y="3359"/>
                    </a:cubicBezTo>
                    <a:cubicBezTo>
                      <a:pt x="17705" y="3790"/>
                      <a:pt x="17506" y="4250"/>
                      <a:pt x="17365" y="4728"/>
                    </a:cubicBezTo>
                    <a:cubicBezTo>
                      <a:pt x="17222" y="4250"/>
                      <a:pt x="17023" y="3790"/>
                      <a:pt x="16772" y="3359"/>
                    </a:cubicBezTo>
                    <a:cubicBezTo>
                      <a:pt x="17302" y="2714"/>
                      <a:pt x="17288" y="1779"/>
                      <a:pt x="16739" y="1150"/>
                    </a:cubicBezTo>
                    <a:cubicBezTo>
                      <a:pt x="16729" y="1136"/>
                      <a:pt x="16718" y="1122"/>
                      <a:pt x="16705" y="1110"/>
                    </a:cubicBezTo>
                    <a:cubicBezTo>
                      <a:pt x="15897" y="301"/>
                      <a:pt x="14693" y="69"/>
                      <a:pt x="14051" y="4"/>
                    </a:cubicBezTo>
                    <a:cubicBezTo>
                      <a:pt x="13625" y="-39"/>
                      <a:pt x="13245" y="271"/>
                      <a:pt x="13202" y="697"/>
                    </a:cubicBezTo>
                    <a:cubicBezTo>
                      <a:pt x="13197" y="749"/>
                      <a:pt x="13197" y="802"/>
                      <a:pt x="13202" y="854"/>
                    </a:cubicBezTo>
                    <a:cubicBezTo>
                      <a:pt x="13267" y="1499"/>
                      <a:pt x="13498" y="2704"/>
                      <a:pt x="14315" y="3523"/>
                    </a:cubicBezTo>
                    <a:cubicBezTo>
                      <a:pt x="14628" y="3814"/>
                      <a:pt x="15039" y="3976"/>
                      <a:pt x="15465" y="3974"/>
                    </a:cubicBezTo>
                    <a:lnTo>
                      <a:pt x="15533" y="3974"/>
                    </a:lnTo>
                    <a:cubicBezTo>
                      <a:pt x="15797" y="3965"/>
                      <a:pt x="16055" y="3893"/>
                      <a:pt x="16286" y="3765"/>
                    </a:cubicBezTo>
                    <a:cubicBezTo>
                      <a:pt x="16814" y="4741"/>
                      <a:pt x="17080" y="5836"/>
                      <a:pt x="17060" y="6946"/>
                    </a:cubicBezTo>
                    <a:lnTo>
                      <a:pt x="17060" y="18462"/>
                    </a:lnTo>
                    <a:lnTo>
                      <a:pt x="16673" y="18238"/>
                    </a:lnTo>
                    <a:cubicBezTo>
                      <a:pt x="16770" y="17789"/>
                      <a:pt x="16586" y="17326"/>
                      <a:pt x="16208" y="17067"/>
                    </a:cubicBezTo>
                    <a:lnTo>
                      <a:pt x="16171" y="17040"/>
                    </a:lnTo>
                    <a:cubicBezTo>
                      <a:pt x="15728" y="16809"/>
                      <a:pt x="15226" y="16714"/>
                      <a:pt x="14728" y="16766"/>
                    </a:cubicBezTo>
                    <a:cubicBezTo>
                      <a:pt x="14302" y="16799"/>
                      <a:pt x="13984" y="17173"/>
                      <a:pt x="14018" y="17600"/>
                    </a:cubicBezTo>
                    <a:cubicBezTo>
                      <a:pt x="14025" y="17694"/>
                      <a:pt x="14050" y="17787"/>
                      <a:pt x="14091" y="17873"/>
                    </a:cubicBezTo>
                    <a:cubicBezTo>
                      <a:pt x="14297" y="18334"/>
                      <a:pt x="14634" y="18723"/>
                      <a:pt x="15060" y="18993"/>
                    </a:cubicBezTo>
                    <a:cubicBezTo>
                      <a:pt x="15499" y="19224"/>
                      <a:pt x="16037" y="19139"/>
                      <a:pt x="16385" y="18785"/>
                    </a:cubicBezTo>
                    <a:lnTo>
                      <a:pt x="17064" y="19179"/>
                    </a:lnTo>
                    <a:lnTo>
                      <a:pt x="17064" y="20938"/>
                    </a:lnTo>
                    <a:lnTo>
                      <a:pt x="11075" y="20938"/>
                    </a:lnTo>
                    <a:lnTo>
                      <a:pt x="11075" y="16285"/>
                    </a:lnTo>
                    <a:lnTo>
                      <a:pt x="11750" y="15896"/>
                    </a:lnTo>
                    <a:cubicBezTo>
                      <a:pt x="11961" y="16112"/>
                      <a:pt x="12249" y="16233"/>
                      <a:pt x="12551" y="16232"/>
                    </a:cubicBezTo>
                    <a:cubicBezTo>
                      <a:pt x="12737" y="16232"/>
                      <a:pt x="12920" y="16185"/>
                      <a:pt x="13085" y="16097"/>
                    </a:cubicBezTo>
                    <a:cubicBezTo>
                      <a:pt x="13506" y="15828"/>
                      <a:pt x="13840" y="15441"/>
                      <a:pt x="14044" y="14984"/>
                    </a:cubicBezTo>
                    <a:cubicBezTo>
                      <a:pt x="14228" y="14597"/>
                      <a:pt x="14065" y="14135"/>
                      <a:pt x="13679" y="13950"/>
                    </a:cubicBezTo>
                    <a:cubicBezTo>
                      <a:pt x="13593" y="13909"/>
                      <a:pt x="13500" y="13884"/>
                      <a:pt x="13405" y="13877"/>
                    </a:cubicBezTo>
                    <a:cubicBezTo>
                      <a:pt x="12908" y="13822"/>
                      <a:pt x="12406" y="13918"/>
                      <a:pt x="11964" y="14151"/>
                    </a:cubicBezTo>
                    <a:cubicBezTo>
                      <a:pt x="11951" y="14159"/>
                      <a:pt x="11938" y="14168"/>
                      <a:pt x="11927" y="14177"/>
                    </a:cubicBezTo>
                    <a:cubicBezTo>
                      <a:pt x="11549" y="14437"/>
                      <a:pt x="11365" y="14900"/>
                      <a:pt x="11462" y="15348"/>
                    </a:cubicBezTo>
                    <a:lnTo>
                      <a:pt x="11080" y="15569"/>
                    </a:lnTo>
                    <a:lnTo>
                      <a:pt x="11080" y="14101"/>
                    </a:lnTo>
                    <a:cubicBezTo>
                      <a:pt x="11061" y="12992"/>
                      <a:pt x="11327" y="11897"/>
                      <a:pt x="11854" y="10921"/>
                    </a:cubicBezTo>
                    <a:cubicBezTo>
                      <a:pt x="12499" y="11275"/>
                      <a:pt x="13298" y="11174"/>
                      <a:pt x="13835" y="10671"/>
                    </a:cubicBezTo>
                    <a:cubicBezTo>
                      <a:pt x="14643" y="9860"/>
                      <a:pt x="14874" y="8655"/>
                      <a:pt x="14939" y="8011"/>
                    </a:cubicBezTo>
                    <a:cubicBezTo>
                      <a:pt x="14982" y="7585"/>
                      <a:pt x="14673" y="7205"/>
                      <a:pt x="14247" y="7161"/>
                    </a:cubicBezTo>
                    <a:cubicBezTo>
                      <a:pt x="14195" y="7156"/>
                      <a:pt x="14143" y="7156"/>
                      <a:pt x="14091" y="7161"/>
                    </a:cubicBezTo>
                    <a:cubicBezTo>
                      <a:pt x="13445" y="7227"/>
                      <a:pt x="12244" y="7458"/>
                      <a:pt x="11436" y="8267"/>
                    </a:cubicBezTo>
                    <a:cubicBezTo>
                      <a:pt x="11423" y="8279"/>
                      <a:pt x="11412" y="8293"/>
                      <a:pt x="11402" y="8307"/>
                    </a:cubicBezTo>
                    <a:cubicBezTo>
                      <a:pt x="10852" y="8936"/>
                      <a:pt x="10838" y="9871"/>
                      <a:pt x="11368" y="10516"/>
                    </a:cubicBezTo>
                    <a:cubicBezTo>
                      <a:pt x="11118" y="10947"/>
                      <a:pt x="10919" y="11407"/>
                      <a:pt x="10777" y="11885"/>
                    </a:cubicBezTo>
                    <a:cubicBezTo>
                      <a:pt x="10635" y="11406"/>
                      <a:pt x="10436" y="10946"/>
                      <a:pt x="10185" y="10514"/>
                    </a:cubicBezTo>
                    <a:cubicBezTo>
                      <a:pt x="10716" y="9868"/>
                      <a:pt x="10699" y="8931"/>
                      <a:pt x="10147" y="8303"/>
                    </a:cubicBezTo>
                    <a:cubicBezTo>
                      <a:pt x="10136" y="8289"/>
                      <a:pt x="10125" y="8275"/>
                      <a:pt x="10113" y="8263"/>
                    </a:cubicBezTo>
                    <a:cubicBezTo>
                      <a:pt x="9305" y="7453"/>
                      <a:pt x="8100" y="7222"/>
                      <a:pt x="7458" y="7157"/>
                    </a:cubicBezTo>
                    <a:cubicBezTo>
                      <a:pt x="7033" y="7113"/>
                      <a:pt x="6652" y="7422"/>
                      <a:pt x="6608" y="7848"/>
                    </a:cubicBezTo>
                    <a:cubicBezTo>
                      <a:pt x="6603" y="7901"/>
                      <a:pt x="6603" y="7954"/>
                      <a:pt x="6608" y="8007"/>
                    </a:cubicBezTo>
                    <a:cubicBezTo>
                      <a:pt x="6675" y="8652"/>
                      <a:pt x="6905" y="9855"/>
                      <a:pt x="7723" y="10676"/>
                    </a:cubicBezTo>
                    <a:cubicBezTo>
                      <a:pt x="8262" y="11173"/>
                      <a:pt x="9058" y="11268"/>
                      <a:pt x="9699" y="10913"/>
                    </a:cubicBezTo>
                    <a:cubicBezTo>
                      <a:pt x="10222" y="11891"/>
                      <a:pt x="10485" y="12988"/>
                      <a:pt x="10461" y="14097"/>
                    </a:cubicBezTo>
                    <a:lnTo>
                      <a:pt x="10461" y="16057"/>
                    </a:lnTo>
                    <a:cubicBezTo>
                      <a:pt x="10455" y="16095"/>
                      <a:pt x="10455" y="16133"/>
                      <a:pt x="10461" y="16170"/>
                    </a:cubicBezTo>
                    <a:lnTo>
                      <a:pt x="10461" y="20945"/>
                    </a:lnTo>
                    <a:lnTo>
                      <a:pt x="4501" y="20945"/>
                    </a:lnTo>
                    <a:cubicBezTo>
                      <a:pt x="4521" y="19941"/>
                      <a:pt x="4781" y="18955"/>
                      <a:pt x="5258" y="18072"/>
                    </a:cubicBezTo>
                    <a:cubicBezTo>
                      <a:pt x="5491" y="18202"/>
                      <a:pt x="5751" y="18275"/>
                      <a:pt x="6017" y="18284"/>
                    </a:cubicBezTo>
                    <a:lnTo>
                      <a:pt x="6083" y="18284"/>
                    </a:lnTo>
                    <a:cubicBezTo>
                      <a:pt x="6515" y="18283"/>
                      <a:pt x="6930" y="18117"/>
                      <a:pt x="7243" y="17819"/>
                    </a:cubicBezTo>
                    <a:cubicBezTo>
                      <a:pt x="8051" y="17008"/>
                      <a:pt x="8281" y="15803"/>
                      <a:pt x="8348" y="15159"/>
                    </a:cubicBezTo>
                    <a:cubicBezTo>
                      <a:pt x="8391" y="14733"/>
                      <a:pt x="8082" y="14353"/>
                      <a:pt x="7656" y="14309"/>
                    </a:cubicBezTo>
                    <a:cubicBezTo>
                      <a:pt x="7604" y="14304"/>
                      <a:pt x="7551" y="14304"/>
                      <a:pt x="7498" y="14309"/>
                    </a:cubicBezTo>
                    <a:cubicBezTo>
                      <a:pt x="6854" y="14374"/>
                      <a:pt x="5653" y="14605"/>
                      <a:pt x="4843" y="15415"/>
                    </a:cubicBezTo>
                    <a:cubicBezTo>
                      <a:pt x="4831" y="15427"/>
                      <a:pt x="4820" y="15441"/>
                      <a:pt x="4811" y="15455"/>
                    </a:cubicBezTo>
                    <a:cubicBezTo>
                      <a:pt x="4262" y="16084"/>
                      <a:pt x="4248" y="17017"/>
                      <a:pt x="4777" y="17662"/>
                    </a:cubicBezTo>
                    <a:cubicBezTo>
                      <a:pt x="4526" y="18094"/>
                      <a:pt x="4327" y="18554"/>
                      <a:pt x="4186" y="19033"/>
                    </a:cubicBezTo>
                    <a:cubicBezTo>
                      <a:pt x="4044" y="18554"/>
                      <a:pt x="3846" y="18094"/>
                      <a:pt x="3594" y="17662"/>
                    </a:cubicBezTo>
                    <a:cubicBezTo>
                      <a:pt x="4124" y="17018"/>
                      <a:pt x="4110" y="16084"/>
                      <a:pt x="3562" y="15455"/>
                    </a:cubicBezTo>
                    <a:cubicBezTo>
                      <a:pt x="3551" y="15441"/>
                      <a:pt x="3540" y="15428"/>
                      <a:pt x="3528" y="15415"/>
                    </a:cubicBezTo>
                    <a:cubicBezTo>
                      <a:pt x="2718" y="14605"/>
                      <a:pt x="1515" y="14374"/>
                      <a:pt x="873" y="14309"/>
                    </a:cubicBezTo>
                    <a:cubicBezTo>
                      <a:pt x="448" y="14265"/>
                      <a:pt x="67" y="14575"/>
                      <a:pt x="23" y="15001"/>
                    </a:cubicBezTo>
                    <a:cubicBezTo>
                      <a:pt x="18" y="15053"/>
                      <a:pt x="18" y="15106"/>
                      <a:pt x="23" y="15159"/>
                    </a:cubicBezTo>
                    <a:cubicBezTo>
                      <a:pt x="90" y="15804"/>
                      <a:pt x="320" y="17008"/>
                      <a:pt x="1136" y="17827"/>
                    </a:cubicBezTo>
                    <a:cubicBezTo>
                      <a:pt x="1448" y="18119"/>
                      <a:pt x="1860" y="18281"/>
                      <a:pt x="2288" y="18279"/>
                    </a:cubicBezTo>
                    <a:lnTo>
                      <a:pt x="2354" y="18279"/>
                    </a:lnTo>
                    <a:cubicBezTo>
                      <a:pt x="2619" y="18270"/>
                      <a:pt x="2877" y="18198"/>
                      <a:pt x="3108" y="18070"/>
                    </a:cubicBezTo>
                    <a:cubicBezTo>
                      <a:pt x="3586" y="18953"/>
                      <a:pt x="3847" y="19937"/>
                      <a:pt x="3870" y="20941"/>
                    </a:cubicBezTo>
                    <a:lnTo>
                      <a:pt x="310" y="20941"/>
                    </a:lnTo>
                    <a:cubicBezTo>
                      <a:pt x="139" y="20941"/>
                      <a:pt x="0" y="21080"/>
                      <a:pt x="0" y="21251"/>
                    </a:cubicBezTo>
                    <a:cubicBezTo>
                      <a:pt x="0" y="21422"/>
                      <a:pt x="139" y="21561"/>
                      <a:pt x="310" y="21561"/>
                    </a:cubicBezTo>
                    <a:lnTo>
                      <a:pt x="21207" y="21561"/>
                    </a:lnTo>
                    <a:cubicBezTo>
                      <a:pt x="21378" y="21561"/>
                      <a:pt x="21516" y="21422"/>
                      <a:pt x="21516" y="21251"/>
                    </a:cubicBezTo>
                    <a:cubicBezTo>
                      <a:pt x="21516" y="21080"/>
                      <a:pt x="21378" y="20941"/>
                      <a:pt x="21207" y="20941"/>
                    </a:cubicBezTo>
                    <a:cubicBezTo>
                      <a:pt x="21207" y="20941"/>
                      <a:pt x="21214" y="20942"/>
                      <a:pt x="21214" y="20942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rgbClr val="FFFFFF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sp>
            <p:nvSpPr>
              <p:cNvPr id="43" name="Google Shape;1194;p40">
                <a:extLst>
                  <a:ext uri="{FF2B5EF4-FFF2-40B4-BE49-F238E27FC236}">
                    <a16:creationId xmlns:a16="http://schemas.microsoft.com/office/drawing/2014/main" id="{AD8E7901-50E1-CF88-8CDD-23E32839DC5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144913" y="5248491"/>
                <a:ext cx="520702" cy="4315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481" h="21576" extrusionOk="0">
                    <a:moveTo>
                      <a:pt x="7840" y="37"/>
                    </a:moveTo>
                    <a:cubicBezTo>
                      <a:pt x="7725" y="-14"/>
                      <a:pt x="7599" y="-12"/>
                      <a:pt x="7477" y="44"/>
                    </a:cubicBezTo>
                    <a:lnTo>
                      <a:pt x="6944" y="297"/>
                    </a:lnTo>
                    <a:cubicBezTo>
                      <a:pt x="6700" y="413"/>
                      <a:pt x="6565" y="730"/>
                      <a:pt x="6630" y="1037"/>
                    </a:cubicBezTo>
                    <a:lnTo>
                      <a:pt x="6779" y="1737"/>
                    </a:lnTo>
                    <a:cubicBezTo>
                      <a:pt x="6654" y="1858"/>
                      <a:pt x="6537" y="1991"/>
                      <a:pt x="6432" y="2137"/>
                    </a:cubicBezTo>
                    <a:lnTo>
                      <a:pt x="5871" y="1923"/>
                    </a:lnTo>
                    <a:cubicBezTo>
                      <a:pt x="5620" y="1829"/>
                      <a:pt x="5349" y="1978"/>
                      <a:pt x="5244" y="2270"/>
                    </a:cubicBezTo>
                    <a:lnTo>
                      <a:pt x="5013" y="2916"/>
                    </a:lnTo>
                    <a:cubicBezTo>
                      <a:pt x="4909" y="3207"/>
                      <a:pt x="4998" y="3547"/>
                      <a:pt x="5222" y="3709"/>
                    </a:cubicBezTo>
                    <a:lnTo>
                      <a:pt x="5734" y="4076"/>
                    </a:lnTo>
                    <a:cubicBezTo>
                      <a:pt x="5716" y="4270"/>
                      <a:pt x="5712" y="4468"/>
                      <a:pt x="5723" y="4662"/>
                    </a:cubicBezTo>
                    <a:lnTo>
                      <a:pt x="5200" y="4996"/>
                    </a:lnTo>
                    <a:cubicBezTo>
                      <a:pt x="4973" y="5144"/>
                      <a:pt x="4866" y="5474"/>
                      <a:pt x="4953" y="5769"/>
                    </a:cubicBezTo>
                    <a:lnTo>
                      <a:pt x="5162" y="6422"/>
                    </a:lnTo>
                    <a:cubicBezTo>
                      <a:pt x="5256" y="6718"/>
                      <a:pt x="5519" y="6881"/>
                      <a:pt x="5772" y="6802"/>
                    </a:cubicBezTo>
                    <a:lnTo>
                      <a:pt x="6344" y="6622"/>
                    </a:lnTo>
                    <a:cubicBezTo>
                      <a:pt x="6444" y="6773"/>
                      <a:pt x="6554" y="6913"/>
                      <a:pt x="6674" y="7041"/>
                    </a:cubicBezTo>
                    <a:lnTo>
                      <a:pt x="6504" y="7735"/>
                    </a:lnTo>
                    <a:cubicBezTo>
                      <a:pt x="6427" y="8038"/>
                      <a:pt x="6545" y="8359"/>
                      <a:pt x="6784" y="8488"/>
                    </a:cubicBezTo>
                    <a:lnTo>
                      <a:pt x="7318" y="8774"/>
                    </a:lnTo>
                    <a:cubicBezTo>
                      <a:pt x="7558" y="8903"/>
                      <a:pt x="7839" y="8796"/>
                      <a:pt x="7972" y="8521"/>
                    </a:cubicBezTo>
                    <a:lnTo>
                      <a:pt x="8274" y="7894"/>
                    </a:lnTo>
                    <a:cubicBezTo>
                      <a:pt x="8432" y="7915"/>
                      <a:pt x="8589" y="7926"/>
                      <a:pt x="8747" y="7914"/>
                    </a:cubicBezTo>
                    <a:lnTo>
                      <a:pt x="9028" y="8554"/>
                    </a:lnTo>
                    <a:cubicBezTo>
                      <a:pt x="9117" y="8759"/>
                      <a:pt x="9293" y="8888"/>
                      <a:pt x="9484" y="8887"/>
                    </a:cubicBezTo>
                    <a:cubicBezTo>
                      <a:pt x="9547" y="8888"/>
                      <a:pt x="9607" y="8875"/>
                      <a:pt x="9666" y="8847"/>
                    </a:cubicBezTo>
                    <a:lnTo>
                      <a:pt x="10210" y="8594"/>
                    </a:lnTo>
                    <a:cubicBezTo>
                      <a:pt x="10453" y="8477"/>
                      <a:pt x="10587" y="8162"/>
                      <a:pt x="10523" y="7854"/>
                    </a:cubicBezTo>
                    <a:lnTo>
                      <a:pt x="10375" y="7155"/>
                    </a:lnTo>
                    <a:cubicBezTo>
                      <a:pt x="10500" y="7031"/>
                      <a:pt x="10614" y="6895"/>
                      <a:pt x="10721" y="6748"/>
                    </a:cubicBezTo>
                    <a:lnTo>
                      <a:pt x="11288" y="6961"/>
                    </a:lnTo>
                    <a:cubicBezTo>
                      <a:pt x="11539" y="7056"/>
                      <a:pt x="11804" y="6907"/>
                      <a:pt x="11909" y="6615"/>
                    </a:cubicBezTo>
                    <a:lnTo>
                      <a:pt x="12146" y="5969"/>
                    </a:lnTo>
                    <a:cubicBezTo>
                      <a:pt x="12250" y="5678"/>
                      <a:pt x="12156" y="5338"/>
                      <a:pt x="11931" y="5175"/>
                    </a:cubicBezTo>
                    <a:lnTo>
                      <a:pt x="11425" y="4809"/>
                    </a:lnTo>
                    <a:cubicBezTo>
                      <a:pt x="11442" y="4615"/>
                      <a:pt x="11446" y="4424"/>
                      <a:pt x="11436" y="4229"/>
                    </a:cubicBezTo>
                    <a:lnTo>
                      <a:pt x="11959" y="3889"/>
                    </a:lnTo>
                    <a:cubicBezTo>
                      <a:pt x="12187" y="3739"/>
                      <a:pt x="12287" y="3404"/>
                      <a:pt x="12195" y="3110"/>
                    </a:cubicBezTo>
                    <a:lnTo>
                      <a:pt x="11986" y="2457"/>
                    </a:lnTo>
                    <a:cubicBezTo>
                      <a:pt x="11892" y="2160"/>
                      <a:pt x="11630" y="1997"/>
                      <a:pt x="11376" y="2077"/>
                    </a:cubicBezTo>
                    <a:lnTo>
                      <a:pt x="10804" y="2257"/>
                    </a:lnTo>
                    <a:cubicBezTo>
                      <a:pt x="10704" y="2105"/>
                      <a:pt x="10594" y="1965"/>
                      <a:pt x="10474" y="1837"/>
                    </a:cubicBezTo>
                    <a:lnTo>
                      <a:pt x="10650" y="1144"/>
                    </a:lnTo>
                    <a:cubicBezTo>
                      <a:pt x="10726" y="840"/>
                      <a:pt x="10604" y="519"/>
                      <a:pt x="10364" y="391"/>
                    </a:cubicBezTo>
                    <a:lnTo>
                      <a:pt x="9831" y="104"/>
                    </a:lnTo>
                    <a:cubicBezTo>
                      <a:pt x="9590" y="-24"/>
                      <a:pt x="9309" y="83"/>
                      <a:pt x="9176" y="357"/>
                    </a:cubicBezTo>
                    <a:lnTo>
                      <a:pt x="8874" y="984"/>
                    </a:lnTo>
                    <a:cubicBezTo>
                      <a:pt x="8716" y="963"/>
                      <a:pt x="8560" y="952"/>
                      <a:pt x="8401" y="964"/>
                    </a:cubicBezTo>
                    <a:lnTo>
                      <a:pt x="8120" y="331"/>
                    </a:lnTo>
                    <a:cubicBezTo>
                      <a:pt x="8059" y="191"/>
                      <a:pt x="7954" y="89"/>
                      <a:pt x="7840" y="37"/>
                    </a:cubicBezTo>
                    <a:close/>
                    <a:moveTo>
                      <a:pt x="7647" y="644"/>
                    </a:moveTo>
                    <a:lnTo>
                      <a:pt x="7928" y="1270"/>
                    </a:lnTo>
                    <a:cubicBezTo>
                      <a:pt x="8022" y="1488"/>
                      <a:pt x="8215" y="1619"/>
                      <a:pt x="8417" y="1603"/>
                    </a:cubicBezTo>
                    <a:cubicBezTo>
                      <a:pt x="8554" y="1593"/>
                      <a:pt x="8688" y="1599"/>
                      <a:pt x="8824" y="1617"/>
                    </a:cubicBezTo>
                    <a:cubicBezTo>
                      <a:pt x="9025" y="1643"/>
                      <a:pt x="9223" y="1522"/>
                      <a:pt x="9325" y="1310"/>
                    </a:cubicBezTo>
                    <a:lnTo>
                      <a:pt x="9622" y="691"/>
                    </a:lnTo>
                    <a:lnTo>
                      <a:pt x="10122" y="964"/>
                    </a:lnTo>
                    <a:lnTo>
                      <a:pt x="9952" y="1643"/>
                    </a:lnTo>
                    <a:cubicBezTo>
                      <a:pt x="9891" y="1879"/>
                      <a:pt x="9948" y="2140"/>
                      <a:pt x="10100" y="2303"/>
                    </a:cubicBezTo>
                    <a:cubicBezTo>
                      <a:pt x="10203" y="2414"/>
                      <a:pt x="10300" y="2533"/>
                      <a:pt x="10386" y="2663"/>
                    </a:cubicBezTo>
                    <a:cubicBezTo>
                      <a:pt x="10513" y="2856"/>
                      <a:pt x="10723" y="2940"/>
                      <a:pt x="10919" y="2876"/>
                    </a:cubicBezTo>
                    <a:lnTo>
                      <a:pt x="11486" y="2696"/>
                    </a:lnTo>
                    <a:lnTo>
                      <a:pt x="11684" y="3323"/>
                    </a:lnTo>
                    <a:lnTo>
                      <a:pt x="11167" y="3656"/>
                    </a:lnTo>
                    <a:cubicBezTo>
                      <a:pt x="10988" y="3771"/>
                      <a:pt x="10880" y="3997"/>
                      <a:pt x="10892" y="4243"/>
                    </a:cubicBezTo>
                    <a:cubicBezTo>
                      <a:pt x="10901" y="4410"/>
                      <a:pt x="10897" y="4583"/>
                      <a:pt x="10881" y="4749"/>
                    </a:cubicBezTo>
                    <a:cubicBezTo>
                      <a:pt x="10860" y="4992"/>
                      <a:pt x="10960" y="5224"/>
                      <a:pt x="11134" y="5349"/>
                    </a:cubicBezTo>
                    <a:lnTo>
                      <a:pt x="11640" y="5715"/>
                    </a:lnTo>
                    <a:lnTo>
                      <a:pt x="11420" y="6328"/>
                    </a:lnTo>
                    <a:lnTo>
                      <a:pt x="10864" y="6122"/>
                    </a:lnTo>
                    <a:cubicBezTo>
                      <a:pt x="10669" y="6049"/>
                      <a:pt x="10454" y="6121"/>
                      <a:pt x="10320" y="6308"/>
                    </a:cubicBezTo>
                    <a:cubicBezTo>
                      <a:pt x="10230" y="6434"/>
                      <a:pt x="10131" y="6551"/>
                      <a:pt x="10023" y="6655"/>
                    </a:cubicBezTo>
                    <a:cubicBezTo>
                      <a:pt x="9865" y="6810"/>
                      <a:pt x="9796" y="7064"/>
                      <a:pt x="9847" y="7301"/>
                    </a:cubicBezTo>
                    <a:lnTo>
                      <a:pt x="9996" y="7994"/>
                    </a:lnTo>
                    <a:lnTo>
                      <a:pt x="9484" y="8234"/>
                    </a:lnTo>
                    <a:lnTo>
                      <a:pt x="9209" y="7601"/>
                    </a:lnTo>
                    <a:cubicBezTo>
                      <a:pt x="9120" y="7395"/>
                      <a:pt x="8945" y="7268"/>
                      <a:pt x="8753" y="7268"/>
                    </a:cubicBezTo>
                    <a:lnTo>
                      <a:pt x="8720" y="7268"/>
                    </a:lnTo>
                    <a:cubicBezTo>
                      <a:pt x="8583" y="7278"/>
                      <a:pt x="8449" y="7272"/>
                      <a:pt x="8313" y="7255"/>
                    </a:cubicBezTo>
                    <a:cubicBezTo>
                      <a:pt x="8112" y="7228"/>
                      <a:pt x="7914" y="7349"/>
                      <a:pt x="7812" y="7561"/>
                    </a:cubicBezTo>
                    <a:lnTo>
                      <a:pt x="7515" y="8181"/>
                    </a:lnTo>
                    <a:lnTo>
                      <a:pt x="7010" y="7908"/>
                    </a:lnTo>
                    <a:lnTo>
                      <a:pt x="7186" y="7221"/>
                    </a:lnTo>
                    <a:cubicBezTo>
                      <a:pt x="7245" y="6986"/>
                      <a:pt x="7189" y="6732"/>
                      <a:pt x="7037" y="6568"/>
                    </a:cubicBezTo>
                    <a:cubicBezTo>
                      <a:pt x="6934" y="6458"/>
                      <a:pt x="6836" y="6339"/>
                      <a:pt x="6751" y="6208"/>
                    </a:cubicBezTo>
                    <a:cubicBezTo>
                      <a:pt x="6624" y="6016"/>
                      <a:pt x="6414" y="5932"/>
                      <a:pt x="6218" y="5995"/>
                    </a:cubicBezTo>
                    <a:lnTo>
                      <a:pt x="5651" y="6175"/>
                    </a:lnTo>
                    <a:lnTo>
                      <a:pt x="5453" y="5549"/>
                    </a:lnTo>
                    <a:cubicBezTo>
                      <a:pt x="5453" y="5549"/>
                      <a:pt x="5976" y="5215"/>
                      <a:pt x="5976" y="5215"/>
                    </a:cubicBezTo>
                    <a:cubicBezTo>
                      <a:pt x="6155" y="5100"/>
                      <a:pt x="6262" y="4868"/>
                      <a:pt x="6251" y="4622"/>
                    </a:cubicBezTo>
                    <a:cubicBezTo>
                      <a:pt x="6241" y="4455"/>
                      <a:pt x="6242" y="4289"/>
                      <a:pt x="6256" y="4123"/>
                    </a:cubicBezTo>
                    <a:cubicBezTo>
                      <a:pt x="6277" y="3880"/>
                      <a:pt x="6182" y="3647"/>
                      <a:pt x="6009" y="3523"/>
                    </a:cubicBezTo>
                    <a:lnTo>
                      <a:pt x="5497" y="3156"/>
                    </a:lnTo>
                    <a:lnTo>
                      <a:pt x="5723" y="2543"/>
                    </a:lnTo>
                    <a:lnTo>
                      <a:pt x="6284" y="2750"/>
                    </a:lnTo>
                    <a:cubicBezTo>
                      <a:pt x="6475" y="2820"/>
                      <a:pt x="6679" y="2752"/>
                      <a:pt x="6812" y="2570"/>
                    </a:cubicBezTo>
                    <a:cubicBezTo>
                      <a:pt x="6902" y="2444"/>
                      <a:pt x="7006" y="2327"/>
                      <a:pt x="7114" y="2223"/>
                    </a:cubicBezTo>
                    <a:cubicBezTo>
                      <a:pt x="7271" y="2068"/>
                      <a:pt x="7336" y="1814"/>
                      <a:pt x="7285" y="1577"/>
                    </a:cubicBezTo>
                    <a:lnTo>
                      <a:pt x="7136" y="884"/>
                    </a:lnTo>
                    <a:lnTo>
                      <a:pt x="7647" y="644"/>
                    </a:lnTo>
                    <a:close/>
                    <a:moveTo>
                      <a:pt x="8571" y="2350"/>
                    </a:moveTo>
                    <a:cubicBezTo>
                      <a:pt x="7616" y="2354"/>
                      <a:pt x="6847" y="3292"/>
                      <a:pt x="6850" y="4449"/>
                    </a:cubicBezTo>
                    <a:cubicBezTo>
                      <a:pt x="6853" y="5459"/>
                      <a:pt x="7449" y="6328"/>
                      <a:pt x="8269" y="6508"/>
                    </a:cubicBezTo>
                    <a:cubicBezTo>
                      <a:pt x="8373" y="6531"/>
                      <a:pt x="8477" y="6542"/>
                      <a:pt x="8582" y="6542"/>
                    </a:cubicBezTo>
                    <a:cubicBezTo>
                      <a:pt x="9537" y="6538"/>
                      <a:pt x="10312" y="5593"/>
                      <a:pt x="10309" y="4436"/>
                    </a:cubicBezTo>
                    <a:cubicBezTo>
                      <a:pt x="10306" y="3278"/>
                      <a:pt x="9526" y="2346"/>
                      <a:pt x="8571" y="2350"/>
                    </a:cubicBezTo>
                    <a:close/>
                    <a:moveTo>
                      <a:pt x="8577" y="2996"/>
                    </a:moveTo>
                    <a:cubicBezTo>
                      <a:pt x="8650" y="2996"/>
                      <a:pt x="8725" y="3000"/>
                      <a:pt x="8797" y="3016"/>
                    </a:cubicBezTo>
                    <a:cubicBezTo>
                      <a:pt x="9447" y="3160"/>
                      <a:pt x="9878" y="3914"/>
                      <a:pt x="9759" y="4702"/>
                    </a:cubicBezTo>
                    <a:cubicBezTo>
                      <a:pt x="9640" y="5491"/>
                      <a:pt x="9013" y="6019"/>
                      <a:pt x="8362" y="5875"/>
                    </a:cubicBezTo>
                    <a:cubicBezTo>
                      <a:pt x="7712" y="5731"/>
                      <a:pt x="7281" y="4971"/>
                      <a:pt x="7400" y="4183"/>
                    </a:cubicBezTo>
                    <a:cubicBezTo>
                      <a:pt x="7504" y="3495"/>
                      <a:pt x="8000" y="2998"/>
                      <a:pt x="8577" y="2996"/>
                    </a:cubicBezTo>
                    <a:close/>
                    <a:moveTo>
                      <a:pt x="15984" y="6455"/>
                    </a:moveTo>
                    <a:cubicBezTo>
                      <a:pt x="15735" y="6496"/>
                      <a:pt x="15520" y="6701"/>
                      <a:pt x="15429" y="7001"/>
                    </a:cubicBezTo>
                    <a:lnTo>
                      <a:pt x="15071" y="8181"/>
                    </a:lnTo>
                    <a:cubicBezTo>
                      <a:pt x="15052" y="8252"/>
                      <a:pt x="15000" y="8301"/>
                      <a:pt x="14939" y="8308"/>
                    </a:cubicBezTo>
                    <a:cubicBezTo>
                      <a:pt x="14664" y="8333"/>
                      <a:pt x="14393" y="8385"/>
                      <a:pt x="14125" y="8468"/>
                    </a:cubicBezTo>
                    <a:cubicBezTo>
                      <a:pt x="14064" y="8486"/>
                      <a:pt x="13998" y="8455"/>
                      <a:pt x="13960" y="8394"/>
                    </a:cubicBezTo>
                    <a:lnTo>
                      <a:pt x="13317" y="7421"/>
                    </a:lnTo>
                    <a:cubicBezTo>
                      <a:pt x="13099" y="7088"/>
                      <a:pt x="12709" y="6999"/>
                      <a:pt x="12410" y="7221"/>
                    </a:cubicBezTo>
                    <a:lnTo>
                      <a:pt x="11568" y="7848"/>
                    </a:lnTo>
                    <a:cubicBezTo>
                      <a:pt x="11269" y="8073"/>
                      <a:pt x="11157" y="8539"/>
                      <a:pt x="11304" y="8927"/>
                    </a:cubicBezTo>
                    <a:lnTo>
                      <a:pt x="11733" y="10054"/>
                    </a:lnTo>
                    <a:cubicBezTo>
                      <a:pt x="11760" y="10122"/>
                      <a:pt x="11751" y="10202"/>
                      <a:pt x="11711" y="10260"/>
                    </a:cubicBezTo>
                    <a:cubicBezTo>
                      <a:pt x="11529" y="10514"/>
                      <a:pt x="11369" y="10791"/>
                      <a:pt x="11227" y="11080"/>
                    </a:cubicBezTo>
                    <a:cubicBezTo>
                      <a:pt x="11195" y="11144"/>
                      <a:pt x="11135" y="11176"/>
                      <a:pt x="11073" y="11167"/>
                    </a:cubicBezTo>
                    <a:lnTo>
                      <a:pt x="10051" y="11020"/>
                    </a:lnTo>
                    <a:cubicBezTo>
                      <a:pt x="9700" y="10970"/>
                      <a:pt x="9377" y="11249"/>
                      <a:pt x="9297" y="11666"/>
                    </a:cubicBezTo>
                    <a:lnTo>
                      <a:pt x="9066" y="12833"/>
                    </a:lnTo>
                    <a:cubicBezTo>
                      <a:pt x="8985" y="13248"/>
                      <a:pt x="9170" y="13670"/>
                      <a:pt x="9501" y="13819"/>
                    </a:cubicBezTo>
                    <a:lnTo>
                      <a:pt x="10468" y="14252"/>
                    </a:lnTo>
                    <a:cubicBezTo>
                      <a:pt x="10526" y="14278"/>
                      <a:pt x="10566" y="14339"/>
                      <a:pt x="10573" y="14412"/>
                    </a:cubicBezTo>
                    <a:cubicBezTo>
                      <a:pt x="10592" y="14747"/>
                      <a:pt x="10636" y="15079"/>
                      <a:pt x="10705" y="15405"/>
                    </a:cubicBezTo>
                    <a:cubicBezTo>
                      <a:pt x="10718" y="15483"/>
                      <a:pt x="10694" y="15567"/>
                      <a:pt x="10639" y="15612"/>
                    </a:cubicBezTo>
                    <a:lnTo>
                      <a:pt x="9842" y="16385"/>
                    </a:lnTo>
                    <a:cubicBezTo>
                      <a:pt x="9570" y="16652"/>
                      <a:pt x="9503" y="17120"/>
                      <a:pt x="9682" y="17484"/>
                    </a:cubicBezTo>
                    <a:lnTo>
                      <a:pt x="10194" y="18504"/>
                    </a:lnTo>
                    <a:cubicBezTo>
                      <a:pt x="10378" y="18869"/>
                      <a:pt x="10759" y="19011"/>
                      <a:pt x="11079" y="18830"/>
                    </a:cubicBezTo>
                    <a:lnTo>
                      <a:pt x="12014" y="18304"/>
                    </a:lnTo>
                    <a:cubicBezTo>
                      <a:pt x="12069" y="18272"/>
                      <a:pt x="12132" y="18283"/>
                      <a:pt x="12179" y="18331"/>
                    </a:cubicBezTo>
                    <a:cubicBezTo>
                      <a:pt x="12386" y="18551"/>
                      <a:pt x="12608" y="18745"/>
                      <a:pt x="12844" y="18917"/>
                    </a:cubicBezTo>
                    <a:cubicBezTo>
                      <a:pt x="12898" y="18957"/>
                      <a:pt x="12929" y="19034"/>
                      <a:pt x="12921" y="19110"/>
                    </a:cubicBezTo>
                    <a:lnTo>
                      <a:pt x="12800" y="20356"/>
                    </a:lnTo>
                    <a:cubicBezTo>
                      <a:pt x="12760" y="20782"/>
                      <a:pt x="12990" y="21178"/>
                      <a:pt x="13333" y="21276"/>
                    </a:cubicBezTo>
                    <a:lnTo>
                      <a:pt x="14290" y="21556"/>
                    </a:lnTo>
                    <a:cubicBezTo>
                      <a:pt x="14343" y="21571"/>
                      <a:pt x="14396" y="21576"/>
                      <a:pt x="14450" y="21576"/>
                    </a:cubicBezTo>
                    <a:cubicBezTo>
                      <a:pt x="14742" y="21575"/>
                      <a:pt x="15004" y="21355"/>
                      <a:pt x="15104" y="21023"/>
                    </a:cubicBezTo>
                    <a:lnTo>
                      <a:pt x="15456" y="19843"/>
                    </a:lnTo>
                    <a:cubicBezTo>
                      <a:pt x="15477" y="19773"/>
                      <a:pt x="15533" y="19725"/>
                      <a:pt x="15594" y="19717"/>
                    </a:cubicBezTo>
                    <a:cubicBezTo>
                      <a:pt x="15869" y="19693"/>
                      <a:pt x="16140" y="19640"/>
                      <a:pt x="16407" y="19557"/>
                    </a:cubicBezTo>
                    <a:cubicBezTo>
                      <a:pt x="16468" y="19539"/>
                      <a:pt x="16530" y="19563"/>
                      <a:pt x="16567" y="19623"/>
                    </a:cubicBezTo>
                    <a:lnTo>
                      <a:pt x="17205" y="20610"/>
                    </a:lnTo>
                    <a:cubicBezTo>
                      <a:pt x="17422" y="20943"/>
                      <a:pt x="17813" y="21024"/>
                      <a:pt x="18112" y="20803"/>
                    </a:cubicBezTo>
                    <a:lnTo>
                      <a:pt x="18959" y="20183"/>
                    </a:lnTo>
                    <a:cubicBezTo>
                      <a:pt x="19257" y="19958"/>
                      <a:pt x="19369" y="19498"/>
                      <a:pt x="19223" y="19110"/>
                    </a:cubicBezTo>
                    <a:lnTo>
                      <a:pt x="18794" y="17971"/>
                    </a:lnTo>
                    <a:cubicBezTo>
                      <a:pt x="18768" y="17902"/>
                      <a:pt x="18776" y="17822"/>
                      <a:pt x="18816" y="17764"/>
                    </a:cubicBezTo>
                    <a:cubicBezTo>
                      <a:pt x="18996" y="17513"/>
                      <a:pt x="19159" y="17243"/>
                      <a:pt x="19300" y="16958"/>
                    </a:cubicBezTo>
                    <a:cubicBezTo>
                      <a:pt x="19333" y="16891"/>
                      <a:pt x="19390" y="16853"/>
                      <a:pt x="19454" y="16858"/>
                    </a:cubicBezTo>
                    <a:lnTo>
                      <a:pt x="20477" y="17004"/>
                    </a:lnTo>
                    <a:cubicBezTo>
                      <a:pt x="20828" y="17054"/>
                      <a:pt x="21156" y="16775"/>
                      <a:pt x="21236" y="16358"/>
                    </a:cubicBezTo>
                    <a:lnTo>
                      <a:pt x="21461" y="15192"/>
                    </a:lnTo>
                    <a:cubicBezTo>
                      <a:pt x="21543" y="14775"/>
                      <a:pt x="21358" y="14348"/>
                      <a:pt x="21027" y="14199"/>
                    </a:cubicBezTo>
                    <a:lnTo>
                      <a:pt x="20059" y="13766"/>
                    </a:lnTo>
                    <a:cubicBezTo>
                      <a:pt x="20002" y="13740"/>
                      <a:pt x="19961" y="13679"/>
                      <a:pt x="19954" y="13606"/>
                    </a:cubicBezTo>
                    <a:cubicBezTo>
                      <a:pt x="19934" y="13271"/>
                      <a:pt x="19891" y="12938"/>
                      <a:pt x="19822" y="12613"/>
                    </a:cubicBezTo>
                    <a:cubicBezTo>
                      <a:pt x="19808" y="12538"/>
                      <a:pt x="19828" y="12460"/>
                      <a:pt x="19877" y="12413"/>
                    </a:cubicBezTo>
                    <a:lnTo>
                      <a:pt x="20686" y="11640"/>
                    </a:lnTo>
                    <a:cubicBezTo>
                      <a:pt x="20958" y="11373"/>
                      <a:pt x="21026" y="10904"/>
                      <a:pt x="20845" y="10540"/>
                    </a:cubicBezTo>
                    <a:lnTo>
                      <a:pt x="20334" y="9514"/>
                    </a:lnTo>
                    <a:cubicBezTo>
                      <a:pt x="20149" y="9150"/>
                      <a:pt x="19768" y="9014"/>
                      <a:pt x="19448" y="9194"/>
                    </a:cubicBezTo>
                    <a:lnTo>
                      <a:pt x="18519" y="9720"/>
                    </a:lnTo>
                    <a:cubicBezTo>
                      <a:pt x="18464" y="9752"/>
                      <a:pt x="18395" y="9742"/>
                      <a:pt x="18349" y="9694"/>
                    </a:cubicBezTo>
                    <a:cubicBezTo>
                      <a:pt x="18141" y="9475"/>
                      <a:pt x="17919" y="9280"/>
                      <a:pt x="17683" y="9107"/>
                    </a:cubicBezTo>
                    <a:cubicBezTo>
                      <a:pt x="17628" y="9067"/>
                      <a:pt x="17603" y="8991"/>
                      <a:pt x="17612" y="8914"/>
                    </a:cubicBezTo>
                    <a:lnTo>
                      <a:pt x="17727" y="7668"/>
                    </a:lnTo>
                    <a:cubicBezTo>
                      <a:pt x="17768" y="7243"/>
                      <a:pt x="17543" y="6845"/>
                      <a:pt x="17199" y="6748"/>
                    </a:cubicBezTo>
                    <a:lnTo>
                      <a:pt x="16243" y="6468"/>
                    </a:lnTo>
                    <a:cubicBezTo>
                      <a:pt x="16157" y="6444"/>
                      <a:pt x="16067" y="6441"/>
                      <a:pt x="15984" y="6455"/>
                    </a:cubicBezTo>
                    <a:close/>
                    <a:moveTo>
                      <a:pt x="16116" y="7088"/>
                    </a:moveTo>
                    <a:lnTo>
                      <a:pt x="17073" y="7368"/>
                    </a:lnTo>
                    <a:cubicBezTo>
                      <a:pt x="17153" y="7392"/>
                      <a:pt x="17209" y="7488"/>
                      <a:pt x="17199" y="7588"/>
                    </a:cubicBezTo>
                    <a:lnTo>
                      <a:pt x="17078" y="8827"/>
                    </a:lnTo>
                    <a:cubicBezTo>
                      <a:pt x="17046" y="9155"/>
                      <a:pt x="17176" y="9475"/>
                      <a:pt x="17408" y="9647"/>
                    </a:cubicBezTo>
                    <a:cubicBezTo>
                      <a:pt x="17619" y="9800"/>
                      <a:pt x="17817" y="9978"/>
                      <a:pt x="18002" y="10174"/>
                    </a:cubicBezTo>
                    <a:cubicBezTo>
                      <a:pt x="18207" y="10389"/>
                      <a:pt x="18499" y="10434"/>
                      <a:pt x="18745" y="10294"/>
                    </a:cubicBezTo>
                    <a:lnTo>
                      <a:pt x="19674" y="9774"/>
                    </a:lnTo>
                    <a:cubicBezTo>
                      <a:pt x="19749" y="9732"/>
                      <a:pt x="19840" y="9762"/>
                      <a:pt x="19883" y="9847"/>
                    </a:cubicBezTo>
                    <a:lnTo>
                      <a:pt x="20394" y="10867"/>
                    </a:lnTo>
                    <a:cubicBezTo>
                      <a:pt x="20437" y="10953"/>
                      <a:pt x="20419" y="11062"/>
                      <a:pt x="20356" y="11127"/>
                    </a:cubicBezTo>
                    <a:lnTo>
                      <a:pt x="19553" y="11900"/>
                    </a:lnTo>
                    <a:cubicBezTo>
                      <a:pt x="19339" y="12103"/>
                      <a:pt x="19241" y="12446"/>
                      <a:pt x="19305" y="12766"/>
                    </a:cubicBezTo>
                    <a:cubicBezTo>
                      <a:pt x="19365" y="13056"/>
                      <a:pt x="19404" y="13348"/>
                      <a:pt x="19421" y="13646"/>
                    </a:cubicBezTo>
                    <a:cubicBezTo>
                      <a:pt x="19441" y="13974"/>
                      <a:pt x="19622" y="14259"/>
                      <a:pt x="19877" y="14372"/>
                    </a:cubicBezTo>
                    <a:lnTo>
                      <a:pt x="20840" y="14805"/>
                    </a:lnTo>
                    <a:cubicBezTo>
                      <a:pt x="20919" y="14839"/>
                      <a:pt x="20964" y="14939"/>
                      <a:pt x="20944" y="15038"/>
                    </a:cubicBezTo>
                    <a:lnTo>
                      <a:pt x="20719" y="16205"/>
                    </a:lnTo>
                    <a:cubicBezTo>
                      <a:pt x="20700" y="16302"/>
                      <a:pt x="20619" y="16370"/>
                      <a:pt x="20537" y="16358"/>
                    </a:cubicBezTo>
                    <a:lnTo>
                      <a:pt x="19520" y="16211"/>
                    </a:lnTo>
                    <a:cubicBezTo>
                      <a:pt x="19247" y="16175"/>
                      <a:pt x="18978" y="16338"/>
                      <a:pt x="18838" y="16625"/>
                    </a:cubicBezTo>
                    <a:cubicBezTo>
                      <a:pt x="18713" y="16881"/>
                      <a:pt x="18570" y="17119"/>
                      <a:pt x="18409" y="17344"/>
                    </a:cubicBezTo>
                    <a:cubicBezTo>
                      <a:pt x="18233" y="17594"/>
                      <a:pt x="18196" y="17946"/>
                      <a:pt x="18310" y="18244"/>
                    </a:cubicBezTo>
                    <a:lnTo>
                      <a:pt x="18739" y="19383"/>
                    </a:lnTo>
                    <a:cubicBezTo>
                      <a:pt x="18774" y="19475"/>
                      <a:pt x="18748" y="19582"/>
                      <a:pt x="18679" y="19637"/>
                    </a:cubicBezTo>
                    <a:lnTo>
                      <a:pt x="17832" y="20256"/>
                    </a:lnTo>
                    <a:cubicBezTo>
                      <a:pt x="17762" y="20307"/>
                      <a:pt x="17674" y="20293"/>
                      <a:pt x="17623" y="20217"/>
                    </a:cubicBezTo>
                    <a:lnTo>
                      <a:pt x="16985" y="19230"/>
                    </a:lnTo>
                    <a:cubicBezTo>
                      <a:pt x="16817" y="18970"/>
                      <a:pt x="16540" y="18852"/>
                      <a:pt x="16276" y="18930"/>
                    </a:cubicBezTo>
                    <a:cubicBezTo>
                      <a:pt x="16038" y="19004"/>
                      <a:pt x="15794" y="19050"/>
                      <a:pt x="15550" y="19070"/>
                    </a:cubicBezTo>
                    <a:cubicBezTo>
                      <a:pt x="15278" y="19096"/>
                      <a:pt x="15048" y="19313"/>
                      <a:pt x="14956" y="19623"/>
                    </a:cubicBezTo>
                    <a:lnTo>
                      <a:pt x="14598" y="20803"/>
                    </a:lnTo>
                    <a:cubicBezTo>
                      <a:pt x="14570" y="20897"/>
                      <a:pt x="14492" y="20944"/>
                      <a:pt x="14411" y="20923"/>
                    </a:cubicBezTo>
                    <a:lnTo>
                      <a:pt x="13454" y="20650"/>
                    </a:lnTo>
                    <a:cubicBezTo>
                      <a:pt x="13374" y="20625"/>
                      <a:pt x="13318" y="20530"/>
                      <a:pt x="13328" y="20430"/>
                    </a:cubicBezTo>
                    <a:lnTo>
                      <a:pt x="13449" y="19190"/>
                    </a:lnTo>
                    <a:cubicBezTo>
                      <a:pt x="13482" y="18862"/>
                      <a:pt x="13352" y="18542"/>
                      <a:pt x="13119" y="18371"/>
                    </a:cubicBezTo>
                    <a:cubicBezTo>
                      <a:pt x="12909" y="18216"/>
                      <a:pt x="12710" y="18040"/>
                      <a:pt x="12525" y="17844"/>
                    </a:cubicBezTo>
                    <a:cubicBezTo>
                      <a:pt x="12400" y="17713"/>
                      <a:pt x="12240" y="17637"/>
                      <a:pt x="12074" y="17637"/>
                    </a:cubicBezTo>
                    <a:cubicBezTo>
                      <a:pt x="11974" y="17638"/>
                      <a:pt x="11874" y="17666"/>
                      <a:pt x="11783" y="17717"/>
                    </a:cubicBezTo>
                    <a:lnTo>
                      <a:pt x="10853" y="18244"/>
                    </a:lnTo>
                    <a:cubicBezTo>
                      <a:pt x="10779" y="18285"/>
                      <a:pt x="10688" y="18255"/>
                      <a:pt x="10644" y="18171"/>
                    </a:cubicBezTo>
                    <a:lnTo>
                      <a:pt x="10133" y="17151"/>
                    </a:lnTo>
                    <a:cubicBezTo>
                      <a:pt x="10090" y="17065"/>
                      <a:pt x="10107" y="16955"/>
                      <a:pt x="10172" y="16891"/>
                    </a:cubicBezTo>
                    <a:lnTo>
                      <a:pt x="10974" y="16111"/>
                    </a:lnTo>
                    <a:cubicBezTo>
                      <a:pt x="11188" y="15907"/>
                      <a:pt x="11286" y="15572"/>
                      <a:pt x="11222" y="15252"/>
                    </a:cubicBezTo>
                    <a:cubicBezTo>
                      <a:pt x="11162" y="14961"/>
                      <a:pt x="11119" y="14664"/>
                      <a:pt x="11101" y="14365"/>
                    </a:cubicBezTo>
                    <a:cubicBezTo>
                      <a:pt x="11081" y="14038"/>
                      <a:pt x="10905" y="13758"/>
                      <a:pt x="10650" y="13646"/>
                    </a:cubicBezTo>
                    <a:lnTo>
                      <a:pt x="9688" y="13212"/>
                    </a:lnTo>
                    <a:cubicBezTo>
                      <a:pt x="9610" y="13176"/>
                      <a:pt x="9564" y="13078"/>
                      <a:pt x="9583" y="12979"/>
                    </a:cubicBezTo>
                    <a:lnTo>
                      <a:pt x="9814" y="11813"/>
                    </a:lnTo>
                    <a:cubicBezTo>
                      <a:pt x="9833" y="11715"/>
                      <a:pt x="9908" y="11648"/>
                      <a:pt x="9990" y="11660"/>
                    </a:cubicBezTo>
                    <a:lnTo>
                      <a:pt x="11007" y="11806"/>
                    </a:lnTo>
                    <a:cubicBezTo>
                      <a:pt x="11278" y="11847"/>
                      <a:pt x="11544" y="11690"/>
                      <a:pt x="11684" y="11406"/>
                    </a:cubicBezTo>
                    <a:cubicBezTo>
                      <a:pt x="11810" y="11150"/>
                      <a:pt x="11957" y="10906"/>
                      <a:pt x="12118" y="10680"/>
                    </a:cubicBezTo>
                    <a:cubicBezTo>
                      <a:pt x="12294" y="10430"/>
                      <a:pt x="12331" y="10079"/>
                      <a:pt x="12217" y="9780"/>
                    </a:cubicBezTo>
                    <a:lnTo>
                      <a:pt x="11788" y="8654"/>
                    </a:lnTo>
                    <a:cubicBezTo>
                      <a:pt x="11753" y="8562"/>
                      <a:pt x="11778" y="8455"/>
                      <a:pt x="11849" y="8401"/>
                    </a:cubicBezTo>
                    <a:lnTo>
                      <a:pt x="12690" y="7768"/>
                    </a:lnTo>
                    <a:cubicBezTo>
                      <a:pt x="12760" y="7716"/>
                      <a:pt x="12848" y="7737"/>
                      <a:pt x="12899" y="7814"/>
                    </a:cubicBezTo>
                    <a:lnTo>
                      <a:pt x="13542" y="8781"/>
                    </a:lnTo>
                    <a:cubicBezTo>
                      <a:pt x="13710" y="9042"/>
                      <a:pt x="13987" y="9161"/>
                      <a:pt x="14252" y="9081"/>
                    </a:cubicBezTo>
                    <a:cubicBezTo>
                      <a:pt x="14490" y="9008"/>
                      <a:pt x="14733" y="8961"/>
                      <a:pt x="14978" y="8941"/>
                    </a:cubicBezTo>
                    <a:cubicBezTo>
                      <a:pt x="15248" y="8916"/>
                      <a:pt x="15480" y="8704"/>
                      <a:pt x="15572" y="8394"/>
                    </a:cubicBezTo>
                    <a:lnTo>
                      <a:pt x="15929" y="7215"/>
                    </a:lnTo>
                    <a:cubicBezTo>
                      <a:pt x="15956" y="7120"/>
                      <a:pt x="16035" y="7064"/>
                      <a:pt x="16116" y="7088"/>
                    </a:cubicBezTo>
                    <a:close/>
                    <a:moveTo>
                      <a:pt x="5343" y="8568"/>
                    </a:moveTo>
                    <a:cubicBezTo>
                      <a:pt x="5065" y="8474"/>
                      <a:pt x="4772" y="8650"/>
                      <a:pt x="4661" y="8974"/>
                    </a:cubicBezTo>
                    <a:lnTo>
                      <a:pt x="4381" y="9794"/>
                    </a:lnTo>
                    <a:cubicBezTo>
                      <a:pt x="4376" y="9809"/>
                      <a:pt x="4367" y="9819"/>
                      <a:pt x="4354" y="9820"/>
                    </a:cubicBezTo>
                    <a:cubicBezTo>
                      <a:pt x="4154" y="9827"/>
                      <a:pt x="3955" y="9857"/>
                      <a:pt x="3760" y="9907"/>
                    </a:cubicBezTo>
                    <a:cubicBezTo>
                      <a:pt x="3745" y="9910"/>
                      <a:pt x="3729" y="9902"/>
                      <a:pt x="3721" y="9887"/>
                    </a:cubicBezTo>
                    <a:lnTo>
                      <a:pt x="3292" y="9174"/>
                    </a:lnTo>
                    <a:cubicBezTo>
                      <a:pt x="3122" y="8893"/>
                      <a:pt x="2801" y="8811"/>
                      <a:pt x="2550" y="8981"/>
                    </a:cubicBezTo>
                    <a:lnTo>
                      <a:pt x="1939" y="9394"/>
                    </a:lnTo>
                    <a:cubicBezTo>
                      <a:pt x="1688" y="9566"/>
                      <a:pt x="1581" y="9943"/>
                      <a:pt x="1692" y="10267"/>
                    </a:cubicBezTo>
                    <a:lnTo>
                      <a:pt x="1978" y="11087"/>
                    </a:lnTo>
                    <a:cubicBezTo>
                      <a:pt x="1985" y="11100"/>
                      <a:pt x="1985" y="11113"/>
                      <a:pt x="1978" y="11127"/>
                    </a:cubicBezTo>
                    <a:cubicBezTo>
                      <a:pt x="1840" y="11304"/>
                      <a:pt x="1713" y="11502"/>
                      <a:pt x="1604" y="11706"/>
                    </a:cubicBezTo>
                    <a:cubicBezTo>
                      <a:pt x="1596" y="11720"/>
                      <a:pt x="1584" y="11722"/>
                      <a:pt x="1571" y="11720"/>
                    </a:cubicBezTo>
                    <a:lnTo>
                      <a:pt x="851" y="11580"/>
                    </a:lnTo>
                    <a:cubicBezTo>
                      <a:pt x="564" y="11524"/>
                      <a:pt x="290" y="11741"/>
                      <a:pt x="213" y="12080"/>
                    </a:cubicBezTo>
                    <a:lnTo>
                      <a:pt x="20" y="12899"/>
                    </a:lnTo>
                    <a:cubicBezTo>
                      <a:pt x="-57" y="13236"/>
                      <a:pt x="89" y="13591"/>
                      <a:pt x="356" y="13726"/>
                    </a:cubicBezTo>
                    <a:lnTo>
                      <a:pt x="1027" y="14065"/>
                    </a:lnTo>
                    <a:cubicBezTo>
                      <a:pt x="1039" y="14071"/>
                      <a:pt x="1048" y="14082"/>
                      <a:pt x="1049" y="14099"/>
                    </a:cubicBezTo>
                    <a:cubicBezTo>
                      <a:pt x="1055" y="14342"/>
                      <a:pt x="1079" y="14587"/>
                      <a:pt x="1120" y="14825"/>
                    </a:cubicBezTo>
                    <a:cubicBezTo>
                      <a:pt x="1123" y="14843"/>
                      <a:pt x="1116" y="14856"/>
                      <a:pt x="1104" y="14865"/>
                    </a:cubicBezTo>
                    <a:lnTo>
                      <a:pt x="515" y="15392"/>
                    </a:lnTo>
                    <a:cubicBezTo>
                      <a:pt x="285" y="15600"/>
                      <a:pt x="218" y="15979"/>
                      <a:pt x="356" y="16285"/>
                    </a:cubicBezTo>
                    <a:lnTo>
                      <a:pt x="697" y="17031"/>
                    </a:lnTo>
                    <a:cubicBezTo>
                      <a:pt x="838" y="17337"/>
                      <a:pt x="1145" y="17466"/>
                      <a:pt x="1411" y="17331"/>
                    </a:cubicBezTo>
                    <a:lnTo>
                      <a:pt x="2088" y="16984"/>
                    </a:lnTo>
                    <a:cubicBezTo>
                      <a:pt x="2098" y="16976"/>
                      <a:pt x="2110" y="16976"/>
                      <a:pt x="2121" y="16984"/>
                    </a:cubicBezTo>
                    <a:cubicBezTo>
                      <a:pt x="2266" y="17151"/>
                      <a:pt x="2421" y="17305"/>
                      <a:pt x="2588" y="17438"/>
                    </a:cubicBezTo>
                    <a:cubicBezTo>
                      <a:pt x="2601" y="17448"/>
                      <a:pt x="2608" y="17466"/>
                      <a:pt x="2605" y="17484"/>
                    </a:cubicBezTo>
                    <a:lnTo>
                      <a:pt x="2495" y="18357"/>
                    </a:lnTo>
                    <a:cubicBezTo>
                      <a:pt x="2449" y="18703"/>
                      <a:pt x="2624" y="19041"/>
                      <a:pt x="2902" y="19137"/>
                    </a:cubicBezTo>
                    <a:lnTo>
                      <a:pt x="3573" y="19363"/>
                    </a:lnTo>
                    <a:cubicBezTo>
                      <a:pt x="3623" y="19379"/>
                      <a:pt x="3675" y="19390"/>
                      <a:pt x="3727" y="19390"/>
                    </a:cubicBezTo>
                    <a:cubicBezTo>
                      <a:pt x="3959" y="19392"/>
                      <a:pt x="4165" y="19224"/>
                      <a:pt x="4255" y="18964"/>
                    </a:cubicBezTo>
                    <a:lnTo>
                      <a:pt x="4535" y="18137"/>
                    </a:lnTo>
                    <a:cubicBezTo>
                      <a:pt x="4539" y="18122"/>
                      <a:pt x="4549" y="18112"/>
                      <a:pt x="4562" y="18111"/>
                    </a:cubicBezTo>
                    <a:cubicBezTo>
                      <a:pt x="4762" y="18103"/>
                      <a:pt x="4961" y="18073"/>
                      <a:pt x="5156" y="18024"/>
                    </a:cubicBezTo>
                    <a:cubicBezTo>
                      <a:pt x="5170" y="18021"/>
                      <a:pt x="5187" y="18030"/>
                      <a:pt x="5195" y="18044"/>
                    </a:cubicBezTo>
                    <a:lnTo>
                      <a:pt x="5624" y="18764"/>
                    </a:lnTo>
                    <a:cubicBezTo>
                      <a:pt x="5793" y="19045"/>
                      <a:pt x="6109" y="19125"/>
                      <a:pt x="6361" y="18957"/>
                    </a:cubicBezTo>
                    <a:lnTo>
                      <a:pt x="6977" y="18544"/>
                    </a:lnTo>
                    <a:cubicBezTo>
                      <a:pt x="7227" y="18371"/>
                      <a:pt x="7329" y="18000"/>
                      <a:pt x="7219" y="17677"/>
                    </a:cubicBezTo>
                    <a:lnTo>
                      <a:pt x="6944" y="16858"/>
                    </a:lnTo>
                    <a:cubicBezTo>
                      <a:pt x="6937" y="16843"/>
                      <a:pt x="6937" y="16826"/>
                      <a:pt x="6944" y="16811"/>
                    </a:cubicBezTo>
                    <a:cubicBezTo>
                      <a:pt x="7081" y="16634"/>
                      <a:pt x="7203" y="16442"/>
                      <a:pt x="7312" y="16238"/>
                    </a:cubicBezTo>
                    <a:cubicBezTo>
                      <a:pt x="7320" y="16223"/>
                      <a:pt x="7336" y="16211"/>
                      <a:pt x="7350" y="16211"/>
                    </a:cubicBezTo>
                    <a:lnTo>
                      <a:pt x="8071" y="16351"/>
                    </a:lnTo>
                    <a:cubicBezTo>
                      <a:pt x="8357" y="16407"/>
                      <a:pt x="8631" y="16190"/>
                      <a:pt x="8709" y="15851"/>
                    </a:cubicBezTo>
                    <a:lnTo>
                      <a:pt x="8896" y="15038"/>
                    </a:lnTo>
                    <a:cubicBezTo>
                      <a:pt x="8971" y="14698"/>
                      <a:pt x="8825" y="14343"/>
                      <a:pt x="8555" y="14212"/>
                    </a:cubicBezTo>
                    <a:lnTo>
                      <a:pt x="7878" y="13872"/>
                    </a:lnTo>
                    <a:cubicBezTo>
                      <a:pt x="7866" y="13866"/>
                      <a:pt x="7857" y="13849"/>
                      <a:pt x="7856" y="13832"/>
                    </a:cubicBezTo>
                    <a:cubicBezTo>
                      <a:pt x="7850" y="13589"/>
                      <a:pt x="7826" y="13351"/>
                      <a:pt x="7785" y="13113"/>
                    </a:cubicBezTo>
                    <a:cubicBezTo>
                      <a:pt x="7782" y="13095"/>
                      <a:pt x="7789" y="13076"/>
                      <a:pt x="7801" y="13066"/>
                    </a:cubicBezTo>
                    <a:lnTo>
                      <a:pt x="8395" y="12539"/>
                    </a:lnTo>
                    <a:cubicBezTo>
                      <a:pt x="8625" y="12331"/>
                      <a:pt x="8692" y="11952"/>
                      <a:pt x="8555" y="11646"/>
                    </a:cubicBezTo>
                    <a:lnTo>
                      <a:pt x="8214" y="10907"/>
                    </a:lnTo>
                    <a:cubicBezTo>
                      <a:pt x="8073" y="10600"/>
                      <a:pt x="7761" y="10471"/>
                      <a:pt x="7493" y="10607"/>
                    </a:cubicBezTo>
                    <a:lnTo>
                      <a:pt x="6823" y="10947"/>
                    </a:lnTo>
                    <a:cubicBezTo>
                      <a:pt x="6812" y="10955"/>
                      <a:pt x="6800" y="10955"/>
                      <a:pt x="6790" y="10947"/>
                    </a:cubicBezTo>
                    <a:cubicBezTo>
                      <a:pt x="6644" y="10780"/>
                      <a:pt x="6484" y="10627"/>
                      <a:pt x="6317" y="10493"/>
                    </a:cubicBezTo>
                    <a:cubicBezTo>
                      <a:pt x="6304" y="10484"/>
                      <a:pt x="6297" y="10471"/>
                      <a:pt x="6300" y="10454"/>
                    </a:cubicBezTo>
                    <a:lnTo>
                      <a:pt x="6416" y="9574"/>
                    </a:lnTo>
                    <a:cubicBezTo>
                      <a:pt x="6461" y="9228"/>
                      <a:pt x="6286" y="8897"/>
                      <a:pt x="6009" y="8801"/>
                    </a:cubicBezTo>
                    <a:lnTo>
                      <a:pt x="5343" y="8568"/>
                    </a:lnTo>
                    <a:close/>
                    <a:moveTo>
                      <a:pt x="5195" y="9181"/>
                    </a:moveTo>
                    <a:lnTo>
                      <a:pt x="5860" y="9414"/>
                    </a:lnTo>
                    <a:cubicBezTo>
                      <a:pt x="5879" y="9420"/>
                      <a:pt x="5892" y="9444"/>
                      <a:pt x="5888" y="9467"/>
                    </a:cubicBezTo>
                    <a:lnTo>
                      <a:pt x="5772" y="10340"/>
                    </a:lnTo>
                    <a:cubicBezTo>
                      <a:pt x="5737" y="10608"/>
                      <a:pt x="5834" y="10877"/>
                      <a:pt x="6020" y="11027"/>
                    </a:cubicBezTo>
                    <a:cubicBezTo>
                      <a:pt x="6161" y="11140"/>
                      <a:pt x="6297" y="11266"/>
                      <a:pt x="6421" y="11406"/>
                    </a:cubicBezTo>
                    <a:cubicBezTo>
                      <a:pt x="6584" y="11591"/>
                      <a:pt x="6821" y="11645"/>
                      <a:pt x="7026" y="11540"/>
                    </a:cubicBezTo>
                    <a:lnTo>
                      <a:pt x="7697" y="11200"/>
                    </a:lnTo>
                    <a:cubicBezTo>
                      <a:pt x="7714" y="11192"/>
                      <a:pt x="7737" y="11201"/>
                      <a:pt x="7746" y="11220"/>
                    </a:cubicBezTo>
                    <a:lnTo>
                      <a:pt x="8087" y="11960"/>
                    </a:lnTo>
                    <a:cubicBezTo>
                      <a:pt x="8097" y="11980"/>
                      <a:pt x="8092" y="12005"/>
                      <a:pt x="8076" y="12020"/>
                    </a:cubicBezTo>
                    <a:lnTo>
                      <a:pt x="7488" y="12539"/>
                    </a:lnTo>
                    <a:cubicBezTo>
                      <a:pt x="7306" y="12698"/>
                      <a:pt x="7217" y="12974"/>
                      <a:pt x="7263" y="13239"/>
                    </a:cubicBezTo>
                    <a:cubicBezTo>
                      <a:pt x="7297" y="13441"/>
                      <a:pt x="7318" y="13646"/>
                      <a:pt x="7323" y="13852"/>
                    </a:cubicBezTo>
                    <a:cubicBezTo>
                      <a:pt x="7331" y="14122"/>
                      <a:pt x="7470" y="14361"/>
                      <a:pt x="7675" y="14465"/>
                    </a:cubicBezTo>
                    <a:lnTo>
                      <a:pt x="8351" y="14805"/>
                    </a:lnTo>
                    <a:cubicBezTo>
                      <a:pt x="8370" y="14814"/>
                      <a:pt x="8379" y="14835"/>
                      <a:pt x="8373" y="14859"/>
                    </a:cubicBezTo>
                    <a:cubicBezTo>
                      <a:pt x="8373" y="14859"/>
                      <a:pt x="8186" y="15678"/>
                      <a:pt x="8186" y="15678"/>
                    </a:cubicBezTo>
                    <a:cubicBezTo>
                      <a:pt x="8181" y="15700"/>
                      <a:pt x="8161" y="15715"/>
                      <a:pt x="8142" y="15712"/>
                    </a:cubicBezTo>
                    <a:lnTo>
                      <a:pt x="7422" y="15578"/>
                    </a:lnTo>
                    <a:cubicBezTo>
                      <a:pt x="7199" y="15537"/>
                      <a:pt x="6978" y="15655"/>
                      <a:pt x="6856" y="15885"/>
                    </a:cubicBezTo>
                    <a:cubicBezTo>
                      <a:pt x="6763" y="16057"/>
                      <a:pt x="6658" y="16221"/>
                      <a:pt x="6542" y="16371"/>
                    </a:cubicBezTo>
                    <a:cubicBezTo>
                      <a:pt x="6392" y="16569"/>
                      <a:pt x="6347" y="16856"/>
                      <a:pt x="6432" y="17104"/>
                    </a:cubicBezTo>
                    <a:lnTo>
                      <a:pt x="6713" y="17924"/>
                    </a:lnTo>
                    <a:cubicBezTo>
                      <a:pt x="6721" y="17946"/>
                      <a:pt x="6713" y="17972"/>
                      <a:pt x="6696" y="17984"/>
                    </a:cubicBezTo>
                    <a:lnTo>
                      <a:pt x="6086" y="18397"/>
                    </a:lnTo>
                    <a:cubicBezTo>
                      <a:pt x="6070" y="18408"/>
                      <a:pt x="6047" y="18402"/>
                      <a:pt x="6036" y="18384"/>
                    </a:cubicBezTo>
                    <a:lnTo>
                      <a:pt x="5607" y="17664"/>
                    </a:lnTo>
                    <a:cubicBezTo>
                      <a:pt x="5477" y="17444"/>
                      <a:pt x="5254" y="17337"/>
                      <a:pt x="5035" y="17391"/>
                    </a:cubicBezTo>
                    <a:cubicBezTo>
                      <a:pt x="4869" y="17433"/>
                      <a:pt x="4699" y="17458"/>
                      <a:pt x="4529" y="17464"/>
                    </a:cubicBezTo>
                    <a:cubicBezTo>
                      <a:pt x="4307" y="17475"/>
                      <a:pt x="4114" y="17641"/>
                      <a:pt x="4029" y="17891"/>
                    </a:cubicBezTo>
                    <a:lnTo>
                      <a:pt x="3749" y="18710"/>
                    </a:lnTo>
                    <a:cubicBezTo>
                      <a:pt x="3742" y="18732"/>
                      <a:pt x="3723" y="18750"/>
                      <a:pt x="3705" y="18744"/>
                    </a:cubicBezTo>
                    <a:lnTo>
                      <a:pt x="3039" y="18510"/>
                    </a:lnTo>
                    <a:cubicBezTo>
                      <a:pt x="3020" y="18504"/>
                      <a:pt x="3008" y="18481"/>
                      <a:pt x="3012" y="18457"/>
                    </a:cubicBezTo>
                    <a:lnTo>
                      <a:pt x="3127" y="17584"/>
                    </a:lnTo>
                    <a:cubicBezTo>
                      <a:pt x="3163" y="17317"/>
                      <a:pt x="3066" y="17048"/>
                      <a:pt x="2880" y="16898"/>
                    </a:cubicBezTo>
                    <a:cubicBezTo>
                      <a:pt x="2738" y="16785"/>
                      <a:pt x="2602" y="16659"/>
                      <a:pt x="2478" y="16518"/>
                    </a:cubicBezTo>
                    <a:cubicBezTo>
                      <a:pt x="2316" y="16333"/>
                      <a:pt x="2079" y="16280"/>
                      <a:pt x="1873" y="16385"/>
                    </a:cubicBezTo>
                    <a:lnTo>
                      <a:pt x="1197" y="16724"/>
                    </a:lnTo>
                    <a:cubicBezTo>
                      <a:pt x="1179" y="16733"/>
                      <a:pt x="1162" y="16725"/>
                      <a:pt x="1153" y="16704"/>
                    </a:cubicBezTo>
                    <a:lnTo>
                      <a:pt x="812" y="15965"/>
                    </a:lnTo>
                    <a:cubicBezTo>
                      <a:pt x="803" y="15943"/>
                      <a:pt x="808" y="15920"/>
                      <a:pt x="823" y="15905"/>
                    </a:cubicBezTo>
                    <a:lnTo>
                      <a:pt x="1411" y="15385"/>
                    </a:lnTo>
                    <a:cubicBezTo>
                      <a:pt x="1593" y="15227"/>
                      <a:pt x="1682" y="14950"/>
                      <a:pt x="1637" y="14685"/>
                    </a:cubicBezTo>
                    <a:cubicBezTo>
                      <a:pt x="1602" y="14483"/>
                      <a:pt x="1582" y="14279"/>
                      <a:pt x="1576" y="14072"/>
                    </a:cubicBezTo>
                    <a:cubicBezTo>
                      <a:pt x="1569" y="13803"/>
                      <a:pt x="1430" y="13563"/>
                      <a:pt x="1225" y="13459"/>
                    </a:cubicBezTo>
                    <a:lnTo>
                      <a:pt x="548" y="13119"/>
                    </a:lnTo>
                    <a:cubicBezTo>
                      <a:pt x="530" y="13110"/>
                      <a:pt x="521" y="13089"/>
                      <a:pt x="526" y="13066"/>
                    </a:cubicBezTo>
                    <a:lnTo>
                      <a:pt x="719" y="12246"/>
                    </a:lnTo>
                    <a:cubicBezTo>
                      <a:pt x="724" y="12224"/>
                      <a:pt x="738" y="12210"/>
                      <a:pt x="757" y="12213"/>
                    </a:cubicBezTo>
                    <a:lnTo>
                      <a:pt x="1477" y="12353"/>
                    </a:lnTo>
                    <a:cubicBezTo>
                      <a:pt x="1699" y="12396"/>
                      <a:pt x="1921" y="12274"/>
                      <a:pt x="2044" y="12046"/>
                    </a:cubicBezTo>
                    <a:cubicBezTo>
                      <a:pt x="2137" y="11874"/>
                      <a:pt x="2241" y="11716"/>
                      <a:pt x="2357" y="11566"/>
                    </a:cubicBezTo>
                    <a:cubicBezTo>
                      <a:pt x="2508" y="11368"/>
                      <a:pt x="2552" y="11076"/>
                      <a:pt x="2467" y="10827"/>
                    </a:cubicBezTo>
                    <a:lnTo>
                      <a:pt x="2181" y="10014"/>
                    </a:lnTo>
                    <a:cubicBezTo>
                      <a:pt x="2175" y="9991"/>
                      <a:pt x="2186" y="9960"/>
                      <a:pt x="2203" y="9947"/>
                    </a:cubicBezTo>
                    <a:lnTo>
                      <a:pt x="2808" y="9534"/>
                    </a:lnTo>
                    <a:cubicBezTo>
                      <a:pt x="2825" y="9522"/>
                      <a:pt x="2847" y="9528"/>
                      <a:pt x="2858" y="9547"/>
                    </a:cubicBezTo>
                    <a:lnTo>
                      <a:pt x="3292" y="10260"/>
                    </a:lnTo>
                    <a:cubicBezTo>
                      <a:pt x="3423" y="10480"/>
                      <a:pt x="3645" y="10587"/>
                      <a:pt x="3864" y="10533"/>
                    </a:cubicBezTo>
                    <a:cubicBezTo>
                      <a:pt x="4030" y="10491"/>
                      <a:pt x="4200" y="10466"/>
                      <a:pt x="4370" y="10460"/>
                    </a:cubicBezTo>
                    <a:cubicBezTo>
                      <a:pt x="4593" y="10449"/>
                      <a:pt x="4787" y="10277"/>
                      <a:pt x="4870" y="10027"/>
                    </a:cubicBezTo>
                    <a:lnTo>
                      <a:pt x="5151" y="9214"/>
                    </a:lnTo>
                    <a:cubicBezTo>
                      <a:pt x="5158" y="9193"/>
                      <a:pt x="5176" y="9176"/>
                      <a:pt x="5195" y="9181"/>
                    </a:cubicBezTo>
                    <a:close/>
                    <a:moveTo>
                      <a:pt x="15264" y="10627"/>
                    </a:moveTo>
                    <a:cubicBezTo>
                      <a:pt x="13721" y="10627"/>
                      <a:pt x="12470" y="12142"/>
                      <a:pt x="12470" y="14012"/>
                    </a:cubicBezTo>
                    <a:cubicBezTo>
                      <a:pt x="12470" y="15882"/>
                      <a:pt x="13721" y="17398"/>
                      <a:pt x="15264" y="17398"/>
                    </a:cubicBezTo>
                    <a:cubicBezTo>
                      <a:pt x="16807" y="17398"/>
                      <a:pt x="18057" y="15882"/>
                      <a:pt x="18057" y="14012"/>
                    </a:cubicBezTo>
                    <a:cubicBezTo>
                      <a:pt x="18057" y="12142"/>
                      <a:pt x="16807" y="10627"/>
                      <a:pt x="15264" y="10627"/>
                    </a:cubicBezTo>
                    <a:close/>
                    <a:moveTo>
                      <a:pt x="15264" y="11273"/>
                    </a:moveTo>
                    <a:cubicBezTo>
                      <a:pt x="16513" y="11273"/>
                      <a:pt x="17529" y="12499"/>
                      <a:pt x="17529" y="14012"/>
                    </a:cubicBezTo>
                    <a:cubicBezTo>
                      <a:pt x="17529" y="15526"/>
                      <a:pt x="16513" y="16751"/>
                      <a:pt x="15264" y="16751"/>
                    </a:cubicBezTo>
                    <a:cubicBezTo>
                      <a:pt x="14015" y="16751"/>
                      <a:pt x="13004" y="15526"/>
                      <a:pt x="13004" y="14012"/>
                    </a:cubicBezTo>
                    <a:cubicBezTo>
                      <a:pt x="13004" y="12499"/>
                      <a:pt x="14015" y="11273"/>
                      <a:pt x="15264" y="11273"/>
                    </a:cubicBezTo>
                    <a:close/>
                    <a:moveTo>
                      <a:pt x="4546" y="11466"/>
                    </a:moveTo>
                    <a:cubicBezTo>
                      <a:pt x="4020" y="11439"/>
                      <a:pt x="3485" y="11654"/>
                      <a:pt x="3067" y="12120"/>
                    </a:cubicBezTo>
                    <a:cubicBezTo>
                      <a:pt x="3064" y="12123"/>
                      <a:pt x="3064" y="12129"/>
                      <a:pt x="3061" y="12133"/>
                    </a:cubicBezTo>
                    <a:cubicBezTo>
                      <a:pt x="2225" y="13069"/>
                      <a:pt x="2168" y="14651"/>
                      <a:pt x="2940" y="15665"/>
                    </a:cubicBezTo>
                    <a:cubicBezTo>
                      <a:pt x="3713" y="16679"/>
                      <a:pt x="5018" y="16741"/>
                      <a:pt x="5855" y="15805"/>
                    </a:cubicBezTo>
                    <a:cubicBezTo>
                      <a:pt x="6691" y="14869"/>
                      <a:pt x="6743" y="13287"/>
                      <a:pt x="5970" y="12273"/>
                    </a:cubicBezTo>
                    <a:cubicBezTo>
                      <a:pt x="5586" y="11766"/>
                      <a:pt x="5072" y="11494"/>
                      <a:pt x="4546" y="11466"/>
                    </a:cubicBezTo>
                    <a:close/>
                    <a:moveTo>
                      <a:pt x="4513" y="12100"/>
                    </a:moveTo>
                    <a:cubicBezTo>
                      <a:pt x="4904" y="12113"/>
                      <a:pt x="5290" y="12307"/>
                      <a:pt x="5580" y="12679"/>
                    </a:cubicBezTo>
                    <a:cubicBezTo>
                      <a:pt x="6160" y="13424"/>
                      <a:pt x="6134" y="14602"/>
                      <a:pt x="5519" y="15305"/>
                    </a:cubicBezTo>
                    <a:cubicBezTo>
                      <a:pt x="5512" y="15314"/>
                      <a:pt x="5505" y="15323"/>
                      <a:pt x="5497" y="15332"/>
                    </a:cubicBezTo>
                    <a:cubicBezTo>
                      <a:pt x="4883" y="16034"/>
                      <a:pt x="3916" y="15996"/>
                      <a:pt x="3336" y="15252"/>
                    </a:cubicBezTo>
                    <a:cubicBezTo>
                      <a:pt x="2756" y="14507"/>
                      <a:pt x="2782" y="13335"/>
                      <a:pt x="3397" y="12633"/>
                    </a:cubicBezTo>
                    <a:cubicBezTo>
                      <a:pt x="3404" y="12624"/>
                      <a:pt x="3411" y="12615"/>
                      <a:pt x="3419" y="12606"/>
                    </a:cubicBezTo>
                    <a:cubicBezTo>
                      <a:pt x="3726" y="12255"/>
                      <a:pt x="4122" y="12086"/>
                      <a:pt x="4513" y="121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rgbClr val="FFFFFF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A414ABFE-0762-0299-CB8C-B79332DF7811}"/>
                  </a:ext>
                </a:extLst>
              </p:cNvPr>
              <p:cNvGrpSpPr/>
              <p:nvPr/>
            </p:nvGrpSpPr>
            <p:grpSpPr>
              <a:xfrm>
                <a:off x="8063763" y="5134046"/>
                <a:ext cx="618056" cy="618056"/>
                <a:chOff x="12264617" y="3634638"/>
                <a:chExt cx="533927" cy="533927"/>
              </a:xfrm>
            </p:grpSpPr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283634DC-802A-626F-660C-DA2665748466}"/>
                    </a:ext>
                  </a:extLst>
                </p:cNvPr>
                <p:cNvSpPr/>
                <p:nvPr/>
              </p:nvSpPr>
              <p:spPr>
                <a:xfrm>
                  <a:off x="12264617" y="3634638"/>
                  <a:ext cx="533927" cy="533927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-Regular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L-Shape 24">
                  <a:extLst>
                    <a:ext uri="{FF2B5EF4-FFF2-40B4-BE49-F238E27FC236}">
                      <a16:creationId xmlns:a16="http://schemas.microsoft.com/office/drawing/2014/main" id="{C5E3C897-E486-33E9-8624-0A44C04A0BAC}"/>
                    </a:ext>
                  </a:extLst>
                </p:cNvPr>
                <p:cNvSpPr/>
                <p:nvPr/>
              </p:nvSpPr>
              <p:spPr>
                <a:xfrm rot="8100000" flipH="1">
                  <a:off x="12477376" y="3812738"/>
                  <a:ext cx="184909" cy="184909"/>
                </a:xfrm>
                <a:prstGeom prst="corner">
                  <a:avLst>
                    <a:gd name="adj1" fmla="val 17364"/>
                    <a:gd name="adj2" fmla="val 17364"/>
                  </a:avLst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endParaRPr>
                </a:p>
              </p:txBody>
            </p:sp>
          </p:grp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288489F0-5D2B-75C8-54F4-EF166D3DADD6}"/>
                  </a:ext>
                </a:extLst>
              </p:cNvPr>
              <p:cNvSpPr/>
              <p:nvPr/>
            </p:nvSpPr>
            <p:spPr>
              <a:xfrm>
                <a:off x="7176101" y="2235420"/>
                <a:ext cx="2392804" cy="2392804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84452E47-811E-2F10-9E38-404C5E3B7C84}"/>
                  </a:ext>
                </a:extLst>
              </p:cNvPr>
              <p:cNvSpPr/>
              <p:nvPr/>
            </p:nvSpPr>
            <p:spPr>
              <a:xfrm>
                <a:off x="7380324" y="2452092"/>
                <a:ext cx="1963083" cy="196308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5576163C-4792-717E-59EB-71DFFC59A4D8}"/>
                  </a:ext>
                </a:extLst>
              </p:cNvPr>
              <p:cNvSpPr txBox="1"/>
              <p:nvPr/>
            </p:nvSpPr>
            <p:spPr>
              <a:xfrm>
                <a:off x="7178686" y="3541622"/>
                <a:ext cx="2387634" cy="4631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120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lignment</a:t>
                </a: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B33AC97C-6739-24EA-F0EE-BE1AE5EBC112}"/>
                  </a:ext>
                </a:extLst>
              </p:cNvPr>
              <p:cNvSpPr/>
              <p:nvPr/>
            </p:nvSpPr>
            <p:spPr>
              <a:xfrm>
                <a:off x="8007264" y="2825646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pic>
            <p:nvPicPr>
              <p:cNvPr id="58" name="Graphic 57" descr="Triangle Ruler outline">
                <a:extLst>
                  <a:ext uri="{FF2B5EF4-FFF2-40B4-BE49-F238E27FC236}">
                    <a16:creationId xmlns:a16="http://schemas.microsoft.com/office/drawing/2014/main" id="{0D9A9B64-0F4F-6FAC-03FE-919E0EA1DA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180948" y="2933689"/>
                <a:ext cx="451893" cy="451893"/>
              </a:xfrm>
              <a:prstGeom prst="rect">
                <a:avLst/>
              </a:prstGeom>
            </p:spPr>
          </p:pic>
        </p:grpSp>
        <p:pic>
          <p:nvPicPr>
            <p:cNvPr id="66" name="Picture Placeholder 11">
              <a:extLst>
                <a:ext uri="{FF2B5EF4-FFF2-40B4-BE49-F238E27FC236}">
                  <a16:creationId xmlns:a16="http://schemas.microsoft.com/office/drawing/2014/main" id="{16B82A4C-AAD5-BF61-C542-7BC7C154C9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 amt="55000"/>
            </a:blip>
            <a:srcRect l="42126" r="27"/>
            <a:stretch/>
          </p:blipFill>
          <p:spPr>
            <a:xfrm>
              <a:off x="5135467" y="172064"/>
              <a:ext cx="7056533" cy="6858000"/>
            </a:xfrm>
            <a:prstGeom prst="rect">
              <a:avLst/>
            </a:prstGeom>
            <a:noFill/>
          </p:spPr>
        </p:pic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8A05A3FE-5C81-6BA6-78A1-E159DB5C6BCB}"/>
              </a:ext>
            </a:extLst>
          </p:cNvPr>
          <p:cNvGrpSpPr/>
          <p:nvPr/>
        </p:nvGrpSpPr>
        <p:grpSpPr>
          <a:xfrm>
            <a:off x="7176101" y="2235420"/>
            <a:ext cx="2392804" cy="2392804"/>
            <a:chOff x="7176101" y="2235420"/>
            <a:chExt cx="2392804" cy="2392804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FE7E0128-1C0A-AB35-621B-CCAD3C26DA78}"/>
                </a:ext>
              </a:extLst>
            </p:cNvPr>
            <p:cNvSpPr/>
            <p:nvPr/>
          </p:nvSpPr>
          <p:spPr>
            <a:xfrm>
              <a:off x="7176101" y="2235420"/>
              <a:ext cx="2392804" cy="2392804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31A54A05-7273-E439-8651-B41A8A81ADAC}"/>
                </a:ext>
              </a:extLst>
            </p:cNvPr>
            <p:cNvSpPr/>
            <p:nvPr/>
          </p:nvSpPr>
          <p:spPr>
            <a:xfrm>
              <a:off x="7380324" y="2452092"/>
              <a:ext cx="1963083" cy="1963083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CE2B0CA8-B8DC-CF4F-DCFD-5E76F6E07584}"/>
                </a:ext>
              </a:extLst>
            </p:cNvPr>
            <p:cNvSpPr txBox="1"/>
            <p:nvPr/>
          </p:nvSpPr>
          <p:spPr>
            <a:xfrm>
              <a:off x="7178686" y="3541622"/>
              <a:ext cx="2387634" cy="4631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rPr>
                <a:t>Alineación</a:t>
              </a: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BAEA1E7-85CA-AB2F-06BB-8DC7B0EC0433}"/>
                </a:ext>
              </a:extLst>
            </p:cNvPr>
            <p:cNvSpPr/>
            <p:nvPr/>
          </p:nvSpPr>
          <p:spPr>
            <a:xfrm>
              <a:off x="8007264" y="2825646"/>
              <a:ext cx="719047" cy="719047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pic>
          <p:nvPicPr>
            <p:cNvPr id="71" name="Graphic 70" descr="Triangle Ruler outline">
              <a:extLst>
                <a:ext uri="{FF2B5EF4-FFF2-40B4-BE49-F238E27FC236}">
                  <a16:creationId xmlns:a16="http://schemas.microsoft.com/office/drawing/2014/main" id="{3328024C-4121-EDAC-65B9-4684E37C533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180948" y="2933689"/>
              <a:ext cx="451893" cy="451893"/>
            </a:xfrm>
            <a:prstGeom prst="rect">
              <a:avLst/>
            </a:prstGeom>
          </p:spPr>
        </p:pic>
      </p:grp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DE28C36-34EB-83FA-F481-3E1DC1F0B55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A1F09CD-4C44-3F3D-44B9-1DB248A9F145}"/>
              </a:ext>
            </a:extLst>
          </p:cNvPr>
          <p:cNvGrpSpPr/>
          <p:nvPr/>
        </p:nvGrpSpPr>
        <p:grpSpPr>
          <a:xfrm>
            <a:off x="643854" y="2056730"/>
            <a:ext cx="4397561" cy="2363444"/>
            <a:chOff x="643854" y="2015235"/>
            <a:chExt cx="4397561" cy="236344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9EB95E92-2E29-C55E-3483-94E6925511DA}"/>
                </a:ext>
              </a:extLst>
            </p:cNvPr>
            <p:cNvSpPr txBox="1"/>
            <p:nvPr/>
          </p:nvSpPr>
          <p:spPr>
            <a:xfrm>
              <a:off x="692283" y="3213232"/>
              <a:ext cx="4285508" cy="1165447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 pitchFamily="2" charset="77"/>
                  <a:ea typeface="+mn-ea"/>
                  <a:cs typeface="Poppins Light" pitchFamily="2" charset="77"/>
                </a:rPr>
                <a:t>Comprender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 pitchFamily="2" charset="77"/>
                  <a:ea typeface="+mn-ea"/>
                  <a:cs typeface="Poppins Light" pitchFamily="2" charset="77"/>
                </a:rPr>
                <a:t> la </a:t>
              </a:r>
              <a:r>
                <a:rPr kumimoji="0" lang="en-GB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 pitchFamily="2" charset="77"/>
                  <a:ea typeface="+mn-ea"/>
                  <a:cs typeface="Poppins Light" pitchFamily="2" charset="77"/>
                </a:rPr>
                <a:t>situación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 pitchFamily="2" charset="77"/>
                  <a:ea typeface="+mn-ea"/>
                  <a:cs typeface="Poppins Light" pitchFamily="2" charset="77"/>
                </a:rPr>
                <a:t> </a:t>
              </a:r>
              <a:r>
                <a:rPr kumimoji="0" lang="en-GB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 pitchFamily="2" charset="77"/>
                  <a:ea typeface="+mn-ea"/>
                  <a:cs typeface="Poppins Light" pitchFamily="2" charset="77"/>
                </a:rPr>
                <a:t>histórica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 pitchFamily="2" charset="77"/>
                  <a:ea typeface="+mn-ea"/>
                  <a:cs typeface="Poppins Light" pitchFamily="2" charset="77"/>
                </a:rPr>
                <a:t> y actual de la </a:t>
              </a:r>
              <a:r>
                <a:rPr kumimoji="0" lang="en-GB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 pitchFamily="2" charset="77"/>
                  <a:ea typeface="+mn-ea"/>
                  <a:cs typeface="Poppins Light" pitchFamily="2" charset="77"/>
                </a:rPr>
                <a:t>categoria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 pitchFamily="2" charset="77"/>
                  <a:ea typeface="+mn-ea"/>
                  <a:cs typeface="Poppins Light" pitchFamily="2" charset="77"/>
                </a:rPr>
                <a:t>, </a:t>
              </a:r>
              <a:r>
                <a:rPr kumimoji="0" lang="en-GB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 pitchFamily="2" charset="77"/>
                  <a:ea typeface="+mn-ea"/>
                  <a:cs typeface="Poppins Light" pitchFamily="2" charset="77"/>
                </a:rPr>
                <a:t>así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 pitchFamily="2" charset="77"/>
                  <a:ea typeface="+mn-ea"/>
                  <a:cs typeface="Poppins Light" pitchFamily="2" charset="77"/>
                </a:rPr>
                <a:t> </a:t>
              </a:r>
              <a:r>
                <a:rPr kumimoji="0" lang="en-GB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 pitchFamily="2" charset="77"/>
                  <a:ea typeface="+mn-ea"/>
                  <a:cs typeface="Poppins Light" pitchFamily="2" charset="77"/>
                </a:rPr>
                <a:t>como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 pitchFamily="2" charset="77"/>
                  <a:ea typeface="+mn-ea"/>
                  <a:cs typeface="Poppins Light" pitchFamily="2" charset="77"/>
                </a:rPr>
                <a:t> </a:t>
              </a:r>
              <a:r>
                <a:rPr kumimoji="0" lang="en-GB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 pitchFamily="2" charset="77"/>
                  <a:ea typeface="+mn-ea"/>
                  <a:cs typeface="Poppins Light" pitchFamily="2" charset="77"/>
                </a:rPr>
                <a:t>identificar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 pitchFamily="2" charset="77"/>
                  <a:ea typeface="+mn-ea"/>
                  <a:cs typeface="Poppins Light" pitchFamily="2" charset="77"/>
                </a:rPr>
                <a:t> </a:t>
              </a:r>
              <a:r>
                <a:rPr kumimoji="0" lang="en-GB" sz="16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 pitchFamily="2" charset="77"/>
                  <a:ea typeface="+mn-ea"/>
                  <a:cs typeface="Poppins Light" pitchFamily="2" charset="77"/>
                </a:rPr>
                <a:t>fortalezas</a:t>
              </a:r>
              <a:r>
                <a:rPr lang="en-GB" sz="1600">
                  <a:solidFill>
                    <a:srgbClr val="000000"/>
                  </a:solidFill>
                  <a:latin typeface="Poppins Light" pitchFamily="2" charset="77"/>
                  <a:cs typeface="Poppins Light" pitchFamily="2" charset="77"/>
                </a:rPr>
                <a:t>, </a:t>
              </a:r>
              <a:r>
                <a:rPr lang="en-GB" sz="1600" err="1">
                  <a:solidFill>
                    <a:srgbClr val="000000"/>
                  </a:solidFill>
                  <a:latin typeface="Poppins Light" pitchFamily="2" charset="77"/>
                  <a:cs typeface="Poppins Light" pitchFamily="2" charset="77"/>
                </a:rPr>
                <a:t>oportunidades</a:t>
              </a:r>
              <a:r>
                <a:rPr lang="en-GB" sz="1600">
                  <a:solidFill>
                    <a:srgbClr val="000000"/>
                  </a:solidFill>
                  <a:latin typeface="Poppins Light" pitchFamily="2" charset="77"/>
                  <a:cs typeface="Poppins Light" pitchFamily="2" charset="77"/>
                </a:rPr>
                <a:t> y barreras a </a:t>
              </a:r>
              <a:r>
                <a:rPr lang="en-GB" sz="1600" err="1">
                  <a:solidFill>
                    <a:srgbClr val="000000"/>
                  </a:solidFill>
                  <a:latin typeface="Poppins Light" pitchFamily="2" charset="77"/>
                  <a:cs typeface="Poppins Light" pitchFamily="2" charset="77"/>
                </a:rPr>
                <a:t>superar</a:t>
              </a:r>
              <a:r>
                <a:rPr lang="en-GB" sz="1600">
                  <a:solidFill>
                    <a:srgbClr val="000000"/>
                  </a:solidFill>
                  <a:latin typeface="Poppins Light" pitchFamily="2" charset="77"/>
                  <a:cs typeface="Poppins Light" pitchFamily="2" charset="77"/>
                </a:rPr>
                <a:t> para la </a:t>
              </a:r>
              <a:r>
                <a:rPr lang="en-GB" sz="1600" err="1">
                  <a:solidFill>
                    <a:srgbClr val="000000"/>
                  </a:solidFill>
                  <a:latin typeface="Poppins Light" pitchFamily="2" charset="77"/>
                  <a:cs typeface="Poppins Light" pitchFamily="2" charset="77"/>
                </a:rPr>
                <a:t>marca</a:t>
              </a:r>
              <a:r>
                <a:rPr lang="en-GB" sz="1600">
                  <a:solidFill>
                    <a:srgbClr val="000000"/>
                  </a:solidFill>
                  <a:latin typeface="Poppins Light" pitchFamily="2" charset="77"/>
                  <a:cs typeface="Poppins Light" pitchFamily="2" charset="77"/>
                </a:rPr>
                <a:t>.</a:t>
              </a: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14A38A3E-D8F8-B41D-87A0-045CA93DB798}"/>
                </a:ext>
              </a:extLst>
            </p:cNvPr>
            <p:cNvCxnSpPr/>
            <p:nvPr/>
          </p:nvCxnSpPr>
          <p:spPr>
            <a:xfrm>
              <a:off x="776541" y="2987486"/>
              <a:ext cx="4264874" cy="0"/>
            </a:xfrm>
            <a:prstGeom prst="line">
              <a:avLst/>
            </a:prstGeom>
            <a:ln w="12700">
              <a:gradFill flip="none" rotWithShape="1">
                <a:gsLst>
                  <a:gs pos="0">
                    <a:schemeClr val="accent2"/>
                  </a:gs>
                  <a:gs pos="99000">
                    <a:schemeClr val="tx2"/>
                  </a:gs>
                </a:gsLst>
                <a:lin ang="0" scaled="1"/>
                <a:tileRect/>
              </a:gra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8970D3F-F51E-0E8A-E1A8-DF586CFBB78D}"/>
                </a:ext>
              </a:extLst>
            </p:cNvPr>
            <p:cNvSpPr txBox="1"/>
            <p:nvPr/>
          </p:nvSpPr>
          <p:spPr>
            <a:xfrm>
              <a:off x="643854" y="2015235"/>
              <a:ext cx="4285508" cy="92333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5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Thin" pitchFamily="2" charset="77"/>
                  <a:ea typeface="+mn-ea"/>
                  <a:cs typeface="Poppins Thin" pitchFamily="2" charset="77"/>
                </a:rPr>
                <a:t>01 -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DC1B048-AC99-8492-B011-7DE3281CEC57}"/>
              </a:ext>
            </a:extLst>
          </p:cNvPr>
          <p:cNvGrpSpPr/>
          <p:nvPr/>
        </p:nvGrpSpPr>
        <p:grpSpPr>
          <a:xfrm>
            <a:off x="1940295" y="2153058"/>
            <a:ext cx="2791072" cy="598067"/>
            <a:chOff x="1940295" y="2112018"/>
            <a:chExt cx="2791072" cy="598067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47FDAB62-98D3-4D6D-B683-FE5ACACA9AB5}"/>
                </a:ext>
              </a:extLst>
            </p:cNvPr>
            <p:cNvGrpSpPr/>
            <p:nvPr/>
          </p:nvGrpSpPr>
          <p:grpSpPr>
            <a:xfrm>
              <a:off x="1940295" y="2112018"/>
              <a:ext cx="598067" cy="598067"/>
              <a:chOff x="8582452" y="2686901"/>
              <a:chExt cx="621171" cy="621171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9815F8F1-D5E3-F328-44A2-0E5EFD87C078}"/>
                  </a:ext>
                </a:extLst>
              </p:cNvPr>
              <p:cNvSpPr/>
              <p:nvPr/>
            </p:nvSpPr>
            <p:spPr>
              <a:xfrm>
                <a:off x="8582452" y="2686901"/>
                <a:ext cx="621171" cy="621171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pic>
            <p:nvPicPr>
              <p:cNvPr id="17" name="Graphic 16" descr="Triangle Ruler outline">
                <a:extLst>
                  <a:ext uri="{FF2B5EF4-FFF2-40B4-BE49-F238E27FC236}">
                    <a16:creationId xmlns:a16="http://schemas.microsoft.com/office/drawing/2014/main" id="{70558123-CA5C-AD1E-C5D5-3D718A4C63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732494" y="2780237"/>
                <a:ext cx="390382" cy="390382"/>
              </a:xfrm>
              <a:prstGeom prst="rect">
                <a:avLst/>
              </a:prstGeom>
            </p:spPr>
          </p:pic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09399FD-F17A-50ED-ADB6-C05B139A9B2E}"/>
                </a:ext>
              </a:extLst>
            </p:cNvPr>
            <p:cNvSpPr txBox="1"/>
            <p:nvPr/>
          </p:nvSpPr>
          <p:spPr>
            <a:xfrm>
              <a:off x="2568595" y="2149441"/>
              <a:ext cx="2162772" cy="52322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1" i="0" u="none" strike="noStrike" kern="0" cap="none" spc="0" normalizeH="0" baseline="0" noProof="0" err="1">
                  <a:ln>
                    <a:noFill/>
                  </a:ln>
                  <a:solidFill>
                    <a:srgbClr val="FC3D8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Alineación</a:t>
              </a:r>
              <a:endParaRPr kumimoji="0" lang="en-GB" sz="2800" b="1" i="0" u="none" strike="noStrike" kern="0" cap="none" spc="0" normalizeH="0" baseline="0" noProof="0">
                <a:ln>
                  <a:noFill/>
                </a:ln>
                <a:solidFill>
                  <a:srgbClr val="FC3D8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92005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>
            <a:extLst>
              <a:ext uri="{FF2B5EF4-FFF2-40B4-BE49-F238E27FC236}">
                <a16:creationId xmlns:a16="http://schemas.microsoft.com/office/drawing/2014/main" id="{F8A636CF-AB60-483D-8127-144CC1BFEEBA}"/>
              </a:ext>
            </a:extLst>
          </p:cNvPr>
          <p:cNvSpPr/>
          <p:nvPr/>
        </p:nvSpPr>
        <p:spPr>
          <a:xfrm>
            <a:off x="4062200" y="1309773"/>
            <a:ext cx="3253684" cy="465739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7F51F8B-F236-47C4-889D-0C5B666B19DC}"/>
              </a:ext>
            </a:extLst>
          </p:cNvPr>
          <p:cNvSpPr/>
          <p:nvPr/>
        </p:nvSpPr>
        <p:spPr>
          <a:xfrm>
            <a:off x="7508011" y="1309773"/>
            <a:ext cx="3253684" cy="465739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D365DF9-7FFE-4793-B1A0-450BDE333C38}"/>
              </a:ext>
            </a:extLst>
          </p:cNvPr>
          <p:cNvSpPr/>
          <p:nvPr/>
        </p:nvSpPr>
        <p:spPr>
          <a:xfrm>
            <a:off x="618065" y="1309773"/>
            <a:ext cx="3253684" cy="465739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632186-D817-4184-91BA-059618A5EBB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E6580C-771F-44E0-B399-9AB235530BE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1D7550-0EB0-3A43-B3ED-278106F7B6C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297772-CD7C-44B8-8EA0-F0B4EA6E588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18064" y="609600"/>
            <a:ext cx="10143631" cy="1466850"/>
          </a:xfrm>
        </p:spPr>
        <p:txBody>
          <a:bodyPr/>
          <a:lstStyle/>
          <a:p>
            <a:r>
              <a:rPr lang="en-GB" sz="2400" b="1">
                <a:solidFill>
                  <a:srgbClr val="1B3548"/>
                </a:solidFill>
              </a:rPr>
              <a:t>Precision marketing: 3 ingredients for success – Bayer 2023</a:t>
            </a:r>
            <a:br>
              <a:rPr lang="en-GB" sz="2400" b="1">
                <a:solidFill>
                  <a:srgbClr val="1B3548"/>
                </a:solidFill>
              </a:rPr>
            </a:br>
            <a:endParaRPr lang="en-GB" b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0A91E5-A3E2-4BC8-B5E3-A84577E7D534}"/>
              </a:ext>
            </a:extLst>
          </p:cNvPr>
          <p:cNvSpPr/>
          <p:nvPr/>
        </p:nvSpPr>
        <p:spPr>
          <a:xfrm>
            <a:off x="1341191" y="1309773"/>
            <a:ext cx="2530562" cy="683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B88634-55FF-4067-8A17-B6AB5ADF50AD}"/>
              </a:ext>
            </a:extLst>
          </p:cNvPr>
          <p:cNvSpPr/>
          <p:nvPr/>
        </p:nvSpPr>
        <p:spPr>
          <a:xfrm>
            <a:off x="4384689" y="1309773"/>
            <a:ext cx="2530561" cy="683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EC7EE2B-B93C-4D4D-86E3-316B66C5511F}"/>
              </a:ext>
            </a:extLst>
          </p:cNvPr>
          <p:cNvSpPr/>
          <p:nvPr/>
        </p:nvSpPr>
        <p:spPr>
          <a:xfrm>
            <a:off x="7241922" y="1309773"/>
            <a:ext cx="2530561" cy="683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A08EB25-2D43-44D9-8590-56188147A8DA}"/>
              </a:ext>
            </a:extLst>
          </p:cNvPr>
          <p:cNvSpPr txBox="1"/>
          <p:nvPr/>
        </p:nvSpPr>
        <p:spPr>
          <a:xfrm>
            <a:off x="1529705" y="1575788"/>
            <a:ext cx="1611125" cy="284693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Right Audie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D3E384B-0F7A-4394-9367-10216C89D89B}"/>
              </a:ext>
            </a:extLst>
          </p:cNvPr>
          <p:cNvSpPr txBox="1"/>
          <p:nvPr/>
        </p:nvSpPr>
        <p:spPr>
          <a:xfrm>
            <a:off x="5011174" y="1451331"/>
            <a:ext cx="1645803" cy="523220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Right Touchpoi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7DD2168-21B4-4193-AFA3-312FAC181A19}"/>
              </a:ext>
            </a:extLst>
          </p:cNvPr>
          <p:cNvSpPr txBox="1"/>
          <p:nvPr/>
        </p:nvSpPr>
        <p:spPr>
          <a:xfrm>
            <a:off x="8514389" y="1438923"/>
            <a:ext cx="1942753" cy="523220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With Personalized Communicatio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9C796BC-9098-4F64-8DB5-5EC2057AB5EF}"/>
              </a:ext>
            </a:extLst>
          </p:cNvPr>
          <p:cNvSpPr/>
          <p:nvPr/>
        </p:nvSpPr>
        <p:spPr>
          <a:xfrm>
            <a:off x="4384689" y="2223185"/>
            <a:ext cx="2530561" cy="16020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09ACDE3-DFA8-4D09-BA54-FC75AF6A66FE}"/>
              </a:ext>
            </a:extLst>
          </p:cNvPr>
          <p:cNvSpPr/>
          <p:nvPr/>
        </p:nvSpPr>
        <p:spPr>
          <a:xfrm>
            <a:off x="4384689" y="3837676"/>
            <a:ext cx="2530561" cy="16100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DD06D85-0D99-46FF-A7AA-A2C02C2C8498}"/>
              </a:ext>
            </a:extLst>
          </p:cNvPr>
          <p:cNvGrpSpPr/>
          <p:nvPr/>
        </p:nvGrpSpPr>
        <p:grpSpPr>
          <a:xfrm>
            <a:off x="1156919" y="2322736"/>
            <a:ext cx="2714831" cy="928522"/>
            <a:chOff x="438789" y="1834085"/>
            <a:chExt cx="3293796" cy="1163022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8E176EF-4CA9-4216-B353-98CB96FF4075}"/>
                </a:ext>
              </a:extLst>
            </p:cNvPr>
            <p:cNvSpPr/>
            <p:nvPr/>
          </p:nvSpPr>
          <p:spPr>
            <a:xfrm>
              <a:off x="662357" y="1834085"/>
              <a:ext cx="3070228" cy="7513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48AA8E1-D3E0-41AA-8CBB-B63EA336F53F}"/>
                </a:ext>
              </a:extLst>
            </p:cNvPr>
            <p:cNvSpPr/>
            <p:nvPr/>
          </p:nvSpPr>
          <p:spPr>
            <a:xfrm>
              <a:off x="1102707" y="2355351"/>
              <a:ext cx="2230367" cy="6417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ea typeface="+mn-ea"/>
                  <a:cs typeface="+mn-cs"/>
                </a:rPr>
                <a:t>Fast Food / Takeaway Buyers</a:t>
              </a:r>
            </a:p>
          </p:txBody>
        </p:sp>
        <p:pic>
          <p:nvPicPr>
            <p:cNvPr id="27" name="Graphic 26" descr="Burger and drink outline">
              <a:extLst>
                <a:ext uri="{FF2B5EF4-FFF2-40B4-BE49-F238E27FC236}">
                  <a16:creationId xmlns:a16="http://schemas.microsoft.com/office/drawing/2014/main" id="{C53FE21C-4696-46AE-8452-F424E819EB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38789" y="2331452"/>
              <a:ext cx="641756" cy="641755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8CF0EAB-7C5D-4731-993E-CED63D873CDA}"/>
              </a:ext>
            </a:extLst>
          </p:cNvPr>
          <p:cNvGrpSpPr/>
          <p:nvPr/>
        </p:nvGrpSpPr>
        <p:grpSpPr>
          <a:xfrm>
            <a:off x="1199074" y="3234213"/>
            <a:ext cx="2672676" cy="694458"/>
            <a:chOff x="489934" y="3150068"/>
            <a:chExt cx="3242651" cy="869845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4A2BA59-9FBC-497C-9DB4-472B1B383ED1}"/>
                </a:ext>
              </a:extLst>
            </p:cNvPr>
            <p:cNvSpPr/>
            <p:nvPr/>
          </p:nvSpPr>
          <p:spPr>
            <a:xfrm>
              <a:off x="662357" y="3150068"/>
              <a:ext cx="3070228" cy="7513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D44615B-714E-4374-9145-FB038066FD20}"/>
                </a:ext>
              </a:extLst>
            </p:cNvPr>
            <p:cNvSpPr/>
            <p:nvPr/>
          </p:nvSpPr>
          <p:spPr>
            <a:xfrm>
              <a:off x="1128868" y="3378158"/>
              <a:ext cx="2230369" cy="6417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ea typeface="+mn-ea"/>
                  <a:cs typeface="+mn-cs"/>
                </a:rPr>
                <a:t>Pregnancy</a:t>
              </a:r>
            </a:p>
          </p:txBody>
        </p:sp>
        <p:pic>
          <p:nvPicPr>
            <p:cNvPr id="31" name="Graphic 30" descr="Pregnant lady outline">
              <a:extLst>
                <a:ext uri="{FF2B5EF4-FFF2-40B4-BE49-F238E27FC236}">
                  <a16:creationId xmlns:a16="http://schemas.microsoft.com/office/drawing/2014/main" id="{67990222-BBD4-4E57-AD33-0E619B5966E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89934" y="3437247"/>
              <a:ext cx="523584" cy="523583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B93710D-FBA9-4E9E-B8D9-FA20BAF2F62B}"/>
              </a:ext>
            </a:extLst>
          </p:cNvPr>
          <p:cNvGrpSpPr/>
          <p:nvPr/>
        </p:nvGrpSpPr>
        <p:grpSpPr>
          <a:xfrm>
            <a:off x="1184478" y="4083795"/>
            <a:ext cx="2687273" cy="702203"/>
            <a:chOff x="472225" y="3936787"/>
            <a:chExt cx="3260360" cy="879546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7961FCC-4FC7-48A8-AEDF-2432E0DDF31E}"/>
                </a:ext>
              </a:extLst>
            </p:cNvPr>
            <p:cNvSpPr/>
            <p:nvPr/>
          </p:nvSpPr>
          <p:spPr>
            <a:xfrm>
              <a:off x="662357" y="4064994"/>
              <a:ext cx="3070228" cy="7513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853700F-5150-4007-A452-C17BDC959E62}"/>
                </a:ext>
              </a:extLst>
            </p:cNvPr>
            <p:cNvSpPr/>
            <p:nvPr/>
          </p:nvSpPr>
          <p:spPr>
            <a:xfrm>
              <a:off x="1111159" y="3937671"/>
              <a:ext cx="2230368" cy="64175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ea typeface="+mn-ea"/>
                  <a:cs typeface="+mn-cs"/>
                </a:rPr>
                <a:t>Sports Fans</a:t>
              </a:r>
            </a:p>
          </p:txBody>
        </p:sp>
        <p:pic>
          <p:nvPicPr>
            <p:cNvPr id="35" name="Graphic 34" descr="Soccer outline">
              <a:extLst>
                <a:ext uri="{FF2B5EF4-FFF2-40B4-BE49-F238E27FC236}">
                  <a16:creationId xmlns:a16="http://schemas.microsoft.com/office/drawing/2014/main" id="{7E377C6B-BB87-4C16-91BF-971E55060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2225" y="3936787"/>
              <a:ext cx="561018" cy="561018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8036B18-C86B-4E32-83DC-68506C8ECAED}"/>
              </a:ext>
            </a:extLst>
          </p:cNvPr>
          <p:cNvGrpSpPr/>
          <p:nvPr/>
        </p:nvGrpSpPr>
        <p:grpSpPr>
          <a:xfrm>
            <a:off x="1153062" y="4832905"/>
            <a:ext cx="2718690" cy="893459"/>
            <a:chOff x="434108" y="4612157"/>
            <a:chExt cx="3298477" cy="1119102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D3A6423-9658-448A-B147-4BEE7360E58D}"/>
                </a:ext>
              </a:extLst>
            </p:cNvPr>
            <p:cNvSpPr/>
            <p:nvPr/>
          </p:nvSpPr>
          <p:spPr>
            <a:xfrm>
              <a:off x="662357" y="4979920"/>
              <a:ext cx="3070228" cy="7513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2CCBA41E-E2D6-46DB-A6DF-D90D49E20EED}"/>
                </a:ext>
              </a:extLst>
            </p:cNvPr>
            <p:cNvSpPr/>
            <p:nvPr/>
          </p:nvSpPr>
          <p:spPr>
            <a:xfrm>
              <a:off x="1125140" y="4612157"/>
              <a:ext cx="2230368" cy="6417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ea typeface="+mn-ea"/>
                  <a:cs typeface="+mn-cs"/>
                </a:rPr>
                <a:t>Seasonality: Easter</a:t>
              </a:r>
            </a:p>
          </p:txBody>
        </p:sp>
        <p:pic>
          <p:nvPicPr>
            <p:cNvPr id="39" name="Graphic 38" descr="Bunny face outline">
              <a:extLst>
                <a:ext uri="{FF2B5EF4-FFF2-40B4-BE49-F238E27FC236}">
                  <a16:creationId xmlns:a16="http://schemas.microsoft.com/office/drawing/2014/main" id="{C078F35F-4699-49BD-ADD0-DEFB288ACCF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34108" y="4612159"/>
              <a:ext cx="627776" cy="627776"/>
            </a:xfrm>
            <a:prstGeom prst="rect">
              <a:avLst/>
            </a:prstGeom>
          </p:spPr>
        </p:pic>
      </p:grpSp>
      <p:pic>
        <p:nvPicPr>
          <p:cNvPr id="40" name="Picture 2" descr="YouTube Logo | Symbol, History, PNG (3840*2160)">
            <a:extLst>
              <a:ext uri="{FF2B5EF4-FFF2-40B4-BE49-F238E27FC236}">
                <a16:creationId xmlns:a16="http://schemas.microsoft.com/office/drawing/2014/main" id="{96DFF128-11C5-40FC-8379-C6B27C007C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60" b="25169"/>
          <a:stretch/>
        </p:blipFill>
        <p:spPr bwMode="auto">
          <a:xfrm>
            <a:off x="4770467" y="2791224"/>
            <a:ext cx="2065034" cy="574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DB0A9D35-2C1F-4854-83C3-0895D178089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522811" y="2580539"/>
            <a:ext cx="1441321" cy="78531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174F15C5-55D8-4DAD-81EC-D8A1D1CEF7B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522811" y="3416313"/>
            <a:ext cx="1441321" cy="784563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9CC9E3E1-6E37-4DE8-8A07-C4B6B598674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522811" y="4265284"/>
            <a:ext cx="1441321" cy="783608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2D5589E8-4159-4415-BDA2-15812E8BADF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521930" y="5102875"/>
            <a:ext cx="1442202" cy="783608"/>
          </a:xfrm>
          <a:prstGeom prst="rect">
            <a:avLst/>
          </a:prstGeom>
        </p:spPr>
      </p:pic>
      <p:pic>
        <p:nvPicPr>
          <p:cNvPr id="48" name="Graphic 47" descr="Burger and drink outline">
            <a:extLst>
              <a:ext uri="{FF2B5EF4-FFF2-40B4-BE49-F238E27FC236}">
                <a16:creationId xmlns:a16="http://schemas.microsoft.com/office/drawing/2014/main" id="{6AD72BDC-5697-4695-81FC-F78EA1C2BB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825175" y="2635352"/>
            <a:ext cx="528952" cy="512359"/>
          </a:xfrm>
          <a:prstGeom prst="rect">
            <a:avLst/>
          </a:prstGeom>
        </p:spPr>
      </p:pic>
      <p:pic>
        <p:nvPicPr>
          <p:cNvPr id="49" name="Graphic 48" descr="Pregnant lady outline">
            <a:extLst>
              <a:ext uri="{FF2B5EF4-FFF2-40B4-BE49-F238E27FC236}">
                <a16:creationId xmlns:a16="http://schemas.microsoft.com/office/drawing/2014/main" id="{9BB3F45D-055E-4EE2-AD57-6215FBBD69E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847942" y="3433459"/>
            <a:ext cx="503849" cy="488044"/>
          </a:xfrm>
          <a:prstGeom prst="rect">
            <a:avLst/>
          </a:prstGeom>
        </p:spPr>
      </p:pic>
      <p:pic>
        <p:nvPicPr>
          <p:cNvPr id="50" name="Graphic 49" descr="Soccer outline">
            <a:extLst>
              <a:ext uri="{FF2B5EF4-FFF2-40B4-BE49-F238E27FC236}">
                <a16:creationId xmlns:a16="http://schemas.microsoft.com/office/drawing/2014/main" id="{D76A5D65-D6DD-410B-B93F-92CC7310E5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813966" y="4329082"/>
            <a:ext cx="540981" cy="524011"/>
          </a:xfrm>
          <a:prstGeom prst="rect">
            <a:avLst/>
          </a:prstGeom>
        </p:spPr>
      </p:pic>
      <p:pic>
        <p:nvPicPr>
          <p:cNvPr id="51" name="Graphic 50" descr="Bunny face outline">
            <a:extLst>
              <a:ext uri="{FF2B5EF4-FFF2-40B4-BE49-F238E27FC236}">
                <a16:creationId xmlns:a16="http://schemas.microsoft.com/office/drawing/2014/main" id="{556FC20E-7F80-47E2-A8DE-2DFE62ABA41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735242" y="5143202"/>
            <a:ext cx="651664" cy="631222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A57D15CA-B663-48D2-9067-3026F49F17B4}"/>
              </a:ext>
            </a:extLst>
          </p:cNvPr>
          <p:cNvSpPr txBox="1"/>
          <p:nvPr/>
        </p:nvSpPr>
        <p:spPr>
          <a:xfrm>
            <a:off x="4233717" y="1997876"/>
            <a:ext cx="3008206" cy="68480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Verdana"/>
                <a:cs typeface="Verdana"/>
              </a:rPr>
              <a:t>Plan your media buying to the most impactful touchpoint, based off your audience’s media consumption, data availability &amp; campaign objective​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33E19EB-41D0-47E8-BC99-4BBB56171F8E}"/>
              </a:ext>
            </a:extLst>
          </p:cNvPr>
          <p:cNvSpPr txBox="1"/>
          <p:nvPr/>
        </p:nvSpPr>
        <p:spPr>
          <a:xfrm>
            <a:off x="7710529" y="1997876"/>
            <a:ext cx="3018741" cy="5309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Verdana"/>
                <a:cs typeface="Verdana"/>
              </a:rPr>
              <a:t>Maximize the impact of each impression by serving the most relevant message to your audien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C7E8443-E09C-4AD1-8442-D049D52A42BF}"/>
              </a:ext>
            </a:extLst>
          </p:cNvPr>
          <p:cNvSpPr/>
          <p:nvPr/>
        </p:nvSpPr>
        <p:spPr>
          <a:xfrm>
            <a:off x="805953" y="5420711"/>
            <a:ext cx="2934112" cy="44138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HVAs must be 2+ distinct audience that are linked to the source of growth</a:t>
            </a:r>
          </a:p>
        </p:txBody>
      </p:sp>
      <p:sp>
        <p:nvSpPr>
          <p:cNvPr id="60" name="Flowchart: Data 59">
            <a:extLst>
              <a:ext uri="{FF2B5EF4-FFF2-40B4-BE49-F238E27FC236}">
                <a16:creationId xmlns:a16="http://schemas.microsoft.com/office/drawing/2014/main" id="{C5F4AE1C-5E03-445E-8A1B-D58F0FA4F429}"/>
              </a:ext>
            </a:extLst>
          </p:cNvPr>
          <p:cNvSpPr/>
          <p:nvPr/>
        </p:nvSpPr>
        <p:spPr>
          <a:xfrm>
            <a:off x="805953" y="1449537"/>
            <a:ext cx="747175" cy="5001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1.</a:t>
            </a:r>
          </a:p>
        </p:txBody>
      </p:sp>
      <p:sp>
        <p:nvSpPr>
          <p:cNvPr id="61" name="Flowchart: Data 60">
            <a:extLst>
              <a:ext uri="{FF2B5EF4-FFF2-40B4-BE49-F238E27FC236}">
                <a16:creationId xmlns:a16="http://schemas.microsoft.com/office/drawing/2014/main" id="{92252B3C-8A7C-489A-875B-9B7E65E39221}"/>
              </a:ext>
            </a:extLst>
          </p:cNvPr>
          <p:cNvSpPr/>
          <p:nvPr/>
        </p:nvSpPr>
        <p:spPr>
          <a:xfrm>
            <a:off x="4286583" y="1449537"/>
            <a:ext cx="747175" cy="5001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2.</a:t>
            </a:r>
          </a:p>
        </p:txBody>
      </p:sp>
      <p:sp>
        <p:nvSpPr>
          <p:cNvPr id="62" name="Flowchart: Data 61">
            <a:extLst>
              <a:ext uri="{FF2B5EF4-FFF2-40B4-BE49-F238E27FC236}">
                <a16:creationId xmlns:a16="http://schemas.microsoft.com/office/drawing/2014/main" id="{E648FBF6-037B-4FBA-B272-1619856022F4}"/>
              </a:ext>
            </a:extLst>
          </p:cNvPr>
          <p:cNvSpPr/>
          <p:nvPr/>
        </p:nvSpPr>
        <p:spPr>
          <a:xfrm>
            <a:off x="7767214" y="1449537"/>
            <a:ext cx="747175" cy="5001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3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2C3B2461-FA90-4D0A-9A18-C9B73DD0A9D9}"/>
              </a:ext>
            </a:extLst>
          </p:cNvPr>
          <p:cNvSpPr txBox="1"/>
          <p:nvPr/>
        </p:nvSpPr>
        <p:spPr>
          <a:xfrm>
            <a:off x="724782" y="1979462"/>
            <a:ext cx="264876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Verdana"/>
                <a:cs typeface="Verdana"/>
              </a:rPr>
              <a:t>Use a variety of data signals to identify &amp; target each brand’s source of growth audiences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C00BC150-60D1-731A-D8B6-610B44AE53A4}"/>
              </a:ext>
            </a:extLst>
          </p:cNvPr>
          <p:cNvSpPr/>
          <p:nvPr/>
        </p:nvSpPr>
        <p:spPr>
          <a:xfrm>
            <a:off x="10372050" y="568571"/>
            <a:ext cx="1728714" cy="60584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011627"/>
                </a:solidFill>
                <a:latin typeface="Century Gothic" panose="020F0302020204030204"/>
              </a:rPr>
              <a:t>PM RULE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A0BDCBCF-602A-2A2F-6113-5E09A4F28CA5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771379" y="3871987"/>
            <a:ext cx="1952090" cy="508263"/>
          </a:xfrm>
          <a:prstGeom prst="rect">
            <a:avLst/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EA17C73E-5793-7B57-540D-7C1124E708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8043" y="4853093"/>
            <a:ext cx="2159553" cy="435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ángulo 71">
            <a:extLst>
              <a:ext uri="{FF2B5EF4-FFF2-40B4-BE49-F238E27FC236}">
                <a16:creationId xmlns:a16="http://schemas.microsoft.com/office/drawing/2014/main" id="{6C193596-E1D5-71A6-690C-A60EED6EF4AB}"/>
              </a:ext>
            </a:extLst>
          </p:cNvPr>
          <p:cNvSpPr/>
          <p:nvPr/>
        </p:nvSpPr>
        <p:spPr>
          <a:xfrm>
            <a:off x="10309325" y="5692122"/>
            <a:ext cx="1526631" cy="44818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72000" bIns="45720" rtlCol="0" anchor="ctr"/>
          <a:lstStyle>
            <a:defPPr>
              <a:defRPr lang="es-MX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600" b="1">
                <a:solidFill>
                  <a:schemeClr val="tx1"/>
                </a:solidFill>
              </a:rPr>
              <a:t>90% </a:t>
            </a:r>
            <a:r>
              <a:rPr lang="es-MX" sz="1400" b="1">
                <a:solidFill>
                  <a:schemeClr val="tx1"/>
                </a:solidFill>
              </a:rPr>
              <a:t>Global </a:t>
            </a:r>
            <a:r>
              <a:rPr lang="es-MX" sz="1400" b="1" err="1">
                <a:solidFill>
                  <a:schemeClr val="tx1"/>
                </a:solidFill>
              </a:rPr>
              <a:t>Benchmark</a:t>
            </a:r>
            <a:endParaRPr lang="en-US" sz="2000" err="1">
              <a:solidFill>
                <a:schemeClr val="tx1"/>
              </a:solidFill>
            </a:endParaRPr>
          </a:p>
        </p:txBody>
      </p:sp>
      <p:grpSp>
        <p:nvGrpSpPr>
          <p:cNvPr id="9" name="Group 13">
            <a:extLst>
              <a:ext uri="{FF2B5EF4-FFF2-40B4-BE49-F238E27FC236}">
                <a16:creationId xmlns:a16="http://schemas.microsoft.com/office/drawing/2014/main" id="{82FEE646-704E-33B0-F6C4-0EEE8AB42EB6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14" name="Round Same-side Corner of Rectangle 28">
              <a:extLst>
                <a:ext uri="{FF2B5EF4-FFF2-40B4-BE49-F238E27FC236}">
                  <a16:creationId xmlns:a16="http://schemas.microsoft.com/office/drawing/2014/main" id="{C8540885-E677-4BBE-2B3D-B21738228E20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15" name="Group 33">
              <a:extLst>
                <a:ext uri="{FF2B5EF4-FFF2-40B4-BE49-F238E27FC236}">
                  <a16:creationId xmlns:a16="http://schemas.microsoft.com/office/drawing/2014/main" id="{05848A78-1F7A-E19C-D4AF-B62507E4D4A0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18" name="Oval 44">
                <a:extLst>
                  <a:ext uri="{FF2B5EF4-FFF2-40B4-BE49-F238E27FC236}">
                    <a16:creationId xmlns:a16="http://schemas.microsoft.com/office/drawing/2014/main" id="{083764E8-D9E1-BC0B-0F38-3A184114F361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0" name="TextBox 45">
                <a:extLst>
                  <a:ext uri="{FF2B5EF4-FFF2-40B4-BE49-F238E27FC236}">
                    <a16:creationId xmlns:a16="http://schemas.microsoft.com/office/drawing/2014/main" id="{1D45F487-4F15-333D-579D-2337D81D5D8D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17" name="Google Shape;1194;p40">
              <a:extLst>
                <a:ext uri="{FF2B5EF4-FFF2-40B4-BE49-F238E27FC236}">
                  <a16:creationId xmlns:a16="http://schemas.microsoft.com/office/drawing/2014/main" id="{A0D44F9B-9CD8-1DED-848A-0FA421D0125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597841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0C068BE-FF4F-ECB1-6C06-9FC7068CA8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3"/>
            <a:ext cx="10765383" cy="707842"/>
          </a:xfrm>
        </p:spPr>
        <p:txBody>
          <a:bodyPr/>
          <a:lstStyle/>
          <a:p>
            <a:r>
              <a:rPr lang="en-US" sz="2400" b="1"/>
              <a:t>Evolving Precision Marketing to Full Funnel</a:t>
            </a:r>
            <a:endParaRPr lang="en-GB" sz="2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1F7ED10-D710-0716-9C27-22D06FB651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82925D-5B90-34A9-BAF6-8AF8153C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ExtraLight" pitchFamily="2" charset="77"/>
                <a:ea typeface="+mn-ea"/>
                <a:cs typeface="Poppins Extra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ExtraLight" pitchFamily="2" charset="77"/>
              <a:ea typeface="+mn-ea"/>
              <a:cs typeface="Poppins ExtraLight" pitchFamily="2" charset="77"/>
            </a:endParaRPr>
          </a:p>
        </p:txBody>
      </p:sp>
      <p:sp>
        <p:nvSpPr>
          <p:cNvPr id="12" name="Shape 2651">
            <a:extLst>
              <a:ext uri="{FF2B5EF4-FFF2-40B4-BE49-F238E27FC236}">
                <a16:creationId xmlns:a16="http://schemas.microsoft.com/office/drawing/2014/main" id="{8F478D8B-91AB-52D4-1E51-A1F288DBBAB0}"/>
              </a:ext>
            </a:extLst>
          </p:cNvPr>
          <p:cNvSpPr/>
          <p:nvPr/>
        </p:nvSpPr>
        <p:spPr>
          <a:xfrm>
            <a:off x="2117674" y="2183079"/>
            <a:ext cx="2828215" cy="671994"/>
          </a:xfrm>
          <a:prstGeom prst="snip1Rect">
            <a:avLst>
              <a:gd name="adj" fmla="val 0"/>
            </a:avLst>
          </a:prstGeom>
          <a:solidFill>
            <a:schemeClr val="accent3"/>
          </a:solidFill>
          <a:ln>
            <a:noFill/>
          </a:ln>
        </p:spPr>
        <p:txBody>
          <a:bodyPr lIns="121807" tIns="0" rIns="0" bIns="0" anchor="ctr"/>
          <a:lstStyle/>
          <a:p>
            <a:pPr marL="0" marR="0" lvl="0" indent="0" algn="ctr" defTabSz="914354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REACH &amp; RETENTION</a:t>
            </a: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itchFamily="2" charset="77"/>
              <a:ea typeface="Century Gothic" charset="0"/>
              <a:cs typeface="Poppins" pitchFamily="2" charset="77"/>
              <a:sym typeface="Source Sans Pro"/>
            </a:endParaRPr>
          </a:p>
        </p:txBody>
      </p:sp>
      <p:sp>
        <p:nvSpPr>
          <p:cNvPr id="13" name="Shape 2649">
            <a:extLst>
              <a:ext uri="{FF2B5EF4-FFF2-40B4-BE49-F238E27FC236}">
                <a16:creationId xmlns:a16="http://schemas.microsoft.com/office/drawing/2014/main" id="{D3561C07-6520-4DCC-6461-D95930B83F44}"/>
              </a:ext>
            </a:extLst>
          </p:cNvPr>
          <p:cNvSpPr/>
          <p:nvPr/>
        </p:nvSpPr>
        <p:spPr>
          <a:xfrm>
            <a:off x="5034496" y="2195374"/>
            <a:ext cx="3558824" cy="659696"/>
          </a:xfrm>
          <a:prstGeom prst="snip1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txBody>
          <a:bodyPr lIns="121807" tIns="0" rIns="0" bIns="0" anchor="ctr"/>
          <a:lstStyle/>
          <a:p>
            <a:pPr marL="0" marR="0" lvl="0" indent="0" algn="ctr" defTabSz="914354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Source Sans Pro"/>
              </a:rPr>
              <a:t>RELEVANCE &amp; RECOMMENDATION</a:t>
            </a:r>
          </a:p>
        </p:txBody>
      </p:sp>
      <p:sp>
        <p:nvSpPr>
          <p:cNvPr id="14" name="Shape 2649">
            <a:extLst>
              <a:ext uri="{FF2B5EF4-FFF2-40B4-BE49-F238E27FC236}">
                <a16:creationId xmlns:a16="http://schemas.microsoft.com/office/drawing/2014/main" id="{0337A14A-8B11-46D0-F8F3-AAD90D6DF362}"/>
              </a:ext>
            </a:extLst>
          </p:cNvPr>
          <p:cNvSpPr/>
          <p:nvPr/>
        </p:nvSpPr>
        <p:spPr>
          <a:xfrm>
            <a:off x="8680339" y="2183079"/>
            <a:ext cx="2794916" cy="671991"/>
          </a:xfrm>
          <a:prstGeom prst="snip1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txBody>
          <a:bodyPr lIns="121807" tIns="0" rIns="0" bIns="0" anchor="ctr"/>
          <a:lstStyle/>
          <a:p>
            <a:pPr marL="0" marR="0" lvl="0" indent="0" algn="ctr" defTabSz="914354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Source Sans Pro"/>
              </a:rPr>
              <a:t>RETAIL &amp; RECONNECTION</a:t>
            </a:r>
          </a:p>
        </p:txBody>
      </p:sp>
      <p:sp>
        <p:nvSpPr>
          <p:cNvPr id="16" name="Freeform 137">
            <a:extLst>
              <a:ext uri="{FF2B5EF4-FFF2-40B4-BE49-F238E27FC236}">
                <a16:creationId xmlns:a16="http://schemas.microsoft.com/office/drawing/2014/main" id="{5BE0618D-0119-BB58-E513-BB84BBBC0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95074" y="2346840"/>
            <a:ext cx="317957" cy="328838"/>
          </a:xfrm>
          <a:custGeom>
            <a:avLst/>
            <a:gdLst>
              <a:gd name="connsiteX0" fmla="*/ 395725 w 607654"/>
              <a:gd name="connsiteY0" fmla="*/ 573087 h 609235"/>
              <a:gd name="connsiteX1" fmla="*/ 406044 w 607654"/>
              <a:gd name="connsiteY1" fmla="*/ 583311 h 609235"/>
              <a:gd name="connsiteX2" fmla="*/ 406044 w 607654"/>
              <a:gd name="connsiteY2" fmla="*/ 599011 h 609235"/>
              <a:gd name="connsiteX3" fmla="*/ 395725 w 607654"/>
              <a:gd name="connsiteY3" fmla="*/ 609235 h 609235"/>
              <a:gd name="connsiteX4" fmla="*/ 385762 w 607654"/>
              <a:gd name="connsiteY4" fmla="*/ 599011 h 609235"/>
              <a:gd name="connsiteX5" fmla="*/ 385762 w 607654"/>
              <a:gd name="connsiteY5" fmla="*/ 583311 h 609235"/>
              <a:gd name="connsiteX6" fmla="*/ 395725 w 607654"/>
              <a:gd name="connsiteY6" fmla="*/ 573087 h 609235"/>
              <a:gd name="connsiteX7" fmla="*/ 395725 w 607654"/>
              <a:gd name="connsiteY7" fmla="*/ 514350 h 609235"/>
              <a:gd name="connsiteX8" fmla="*/ 406044 w 607654"/>
              <a:gd name="connsiteY8" fmla="*/ 524583 h 609235"/>
              <a:gd name="connsiteX9" fmla="*/ 406044 w 607654"/>
              <a:gd name="connsiteY9" fmla="*/ 554552 h 609235"/>
              <a:gd name="connsiteX10" fmla="*/ 395725 w 607654"/>
              <a:gd name="connsiteY10" fmla="*/ 564785 h 609235"/>
              <a:gd name="connsiteX11" fmla="*/ 385762 w 607654"/>
              <a:gd name="connsiteY11" fmla="*/ 554552 h 609235"/>
              <a:gd name="connsiteX12" fmla="*/ 385762 w 607654"/>
              <a:gd name="connsiteY12" fmla="*/ 524583 h 609235"/>
              <a:gd name="connsiteX13" fmla="*/ 395725 w 607654"/>
              <a:gd name="connsiteY13" fmla="*/ 514350 h 609235"/>
              <a:gd name="connsiteX14" fmla="*/ 105019 w 607654"/>
              <a:gd name="connsiteY14" fmla="*/ 469206 h 609235"/>
              <a:gd name="connsiteX15" fmla="*/ 109781 w 607654"/>
              <a:gd name="connsiteY15" fmla="*/ 482671 h 609235"/>
              <a:gd name="connsiteX16" fmla="*/ 100257 w 607654"/>
              <a:gd name="connsiteY16" fmla="*/ 500388 h 609235"/>
              <a:gd name="connsiteX17" fmla="*/ 91098 w 607654"/>
              <a:gd name="connsiteY17" fmla="*/ 506058 h 609235"/>
              <a:gd name="connsiteX18" fmla="*/ 86702 w 607654"/>
              <a:gd name="connsiteY18" fmla="*/ 504995 h 609235"/>
              <a:gd name="connsiteX19" fmla="*/ 81940 w 607654"/>
              <a:gd name="connsiteY19" fmla="*/ 491530 h 609235"/>
              <a:gd name="connsiteX20" fmla="*/ 91098 w 607654"/>
              <a:gd name="connsiteY20" fmla="*/ 473458 h 609235"/>
              <a:gd name="connsiteX21" fmla="*/ 105019 w 607654"/>
              <a:gd name="connsiteY21" fmla="*/ 469206 h 609235"/>
              <a:gd name="connsiteX22" fmla="*/ 204622 w 607654"/>
              <a:gd name="connsiteY22" fmla="*/ 460022 h 609235"/>
              <a:gd name="connsiteX23" fmla="*/ 218810 w 607654"/>
              <a:gd name="connsiteY23" fmla="*/ 462845 h 609235"/>
              <a:gd name="connsiteX24" fmla="*/ 230088 w 607654"/>
              <a:gd name="connsiteY24" fmla="*/ 479425 h 609235"/>
              <a:gd name="connsiteX25" fmla="*/ 227177 w 607654"/>
              <a:gd name="connsiteY25" fmla="*/ 493183 h 609235"/>
              <a:gd name="connsiteX26" fmla="*/ 221357 w 607654"/>
              <a:gd name="connsiteY26" fmla="*/ 494947 h 609235"/>
              <a:gd name="connsiteX27" fmla="*/ 212989 w 607654"/>
              <a:gd name="connsiteY27" fmla="*/ 490361 h 609235"/>
              <a:gd name="connsiteX28" fmla="*/ 201711 w 607654"/>
              <a:gd name="connsiteY28" fmla="*/ 473781 h 609235"/>
              <a:gd name="connsiteX29" fmla="*/ 204622 w 607654"/>
              <a:gd name="connsiteY29" fmla="*/ 460022 h 609235"/>
              <a:gd name="connsiteX30" fmla="*/ 395725 w 607654"/>
              <a:gd name="connsiteY30" fmla="*/ 455612 h 609235"/>
              <a:gd name="connsiteX31" fmla="*/ 406044 w 607654"/>
              <a:gd name="connsiteY31" fmla="*/ 465845 h 609235"/>
              <a:gd name="connsiteX32" fmla="*/ 406044 w 607654"/>
              <a:gd name="connsiteY32" fmla="*/ 495814 h 609235"/>
              <a:gd name="connsiteX33" fmla="*/ 395725 w 607654"/>
              <a:gd name="connsiteY33" fmla="*/ 506047 h 609235"/>
              <a:gd name="connsiteX34" fmla="*/ 385762 w 607654"/>
              <a:gd name="connsiteY34" fmla="*/ 495814 h 609235"/>
              <a:gd name="connsiteX35" fmla="*/ 385762 w 607654"/>
              <a:gd name="connsiteY35" fmla="*/ 465845 h 609235"/>
              <a:gd name="connsiteX36" fmla="*/ 395725 w 607654"/>
              <a:gd name="connsiteY36" fmla="*/ 455612 h 609235"/>
              <a:gd name="connsiteX37" fmla="*/ 57766 w 607654"/>
              <a:gd name="connsiteY37" fmla="*/ 445341 h 609235"/>
              <a:gd name="connsiteX38" fmla="*/ 71946 w 607654"/>
              <a:gd name="connsiteY38" fmla="*/ 445341 h 609235"/>
              <a:gd name="connsiteX39" fmla="*/ 71946 w 607654"/>
              <a:gd name="connsiteY39" fmla="*/ 459946 h 609235"/>
              <a:gd name="connsiteX40" fmla="*/ 57766 w 607654"/>
              <a:gd name="connsiteY40" fmla="*/ 474551 h 609235"/>
              <a:gd name="connsiteX41" fmla="*/ 50676 w 607654"/>
              <a:gd name="connsiteY41" fmla="*/ 477472 h 609235"/>
              <a:gd name="connsiteX42" fmla="*/ 43586 w 607654"/>
              <a:gd name="connsiteY42" fmla="*/ 474551 h 609235"/>
              <a:gd name="connsiteX43" fmla="*/ 43586 w 607654"/>
              <a:gd name="connsiteY43" fmla="*/ 459946 h 609235"/>
              <a:gd name="connsiteX44" fmla="*/ 125686 w 607654"/>
              <a:gd name="connsiteY44" fmla="*/ 426402 h 609235"/>
              <a:gd name="connsiteX45" fmla="*/ 130431 w 607654"/>
              <a:gd name="connsiteY45" fmla="*/ 440191 h 609235"/>
              <a:gd name="connsiteX46" fmla="*/ 122767 w 607654"/>
              <a:gd name="connsiteY46" fmla="*/ 455794 h 609235"/>
              <a:gd name="connsiteX47" fmla="*/ 113643 w 607654"/>
              <a:gd name="connsiteY47" fmla="*/ 461599 h 609235"/>
              <a:gd name="connsiteX48" fmla="*/ 108899 w 607654"/>
              <a:gd name="connsiteY48" fmla="*/ 460511 h 609235"/>
              <a:gd name="connsiteX49" fmla="*/ 104155 w 607654"/>
              <a:gd name="connsiteY49" fmla="*/ 446722 h 609235"/>
              <a:gd name="connsiteX50" fmla="*/ 112183 w 607654"/>
              <a:gd name="connsiteY50" fmla="*/ 431119 h 609235"/>
              <a:gd name="connsiteX51" fmla="*/ 125686 w 607654"/>
              <a:gd name="connsiteY51" fmla="*/ 426402 h 609235"/>
              <a:gd name="connsiteX52" fmla="*/ 151250 w 607654"/>
              <a:gd name="connsiteY52" fmla="*/ 425450 h 609235"/>
              <a:gd name="connsiteX53" fmla="*/ 161569 w 607654"/>
              <a:gd name="connsiteY53" fmla="*/ 435872 h 609235"/>
              <a:gd name="connsiteX54" fmla="*/ 161569 w 607654"/>
              <a:gd name="connsiteY54" fmla="*/ 597590 h 609235"/>
              <a:gd name="connsiteX55" fmla="*/ 151250 w 607654"/>
              <a:gd name="connsiteY55" fmla="*/ 607653 h 609235"/>
              <a:gd name="connsiteX56" fmla="*/ 141287 w 607654"/>
              <a:gd name="connsiteY56" fmla="*/ 597590 h 609235"/>
              <a:gd name="connsiteX57" fmla="*/ 141287 w 607654"/>
              <a:gd name="connsiteY57" fmla="*/ 435872 h 609235"/>
              <a:gd name="connsiteX58" fmla="*/ 151250 w 607654"/>
              <a:gd name="connsiteY58" fmla="*/ 425450 h 609235"/>
              <a:gd name="connsiteX59" fmla="*/ 177271 w 607654"/>
              <a:gd name="connsiteY59" fmla="*/ 417512 h 609235"/>
              <a:gd name="connsiteX60" fmla="*/ 191459 w 607654"/>
              <a:gd name="connsiteY60" fmla="*/ 420334 h 609235"/>
              <a:gd name="connsiteX61" fmla="*/ 203101 w 607654"/>
              <a:gd name="connsiteY61" fmla="*/ 436562 h 609235"/>
              <a:gd name="connsiteX62" fmla="*/ 199827 w 607654"/>
              <a:gd name="connsiteY62" fmla="*/ 450673 h 609235"/>
              <a:gd name="connsiteX63" fmla="*/ 194370 w 607654"/>
              <a:gd name="connsiteY63" fmla="*/ 452084 h 609235"/>
              <a:gd name="connsiteX64" fmla="*/ 186002 w 607654"/>
              <a:gd name="connsiteY64" fmla="*/ 447851 h 609235"/>
              <a:gd name="connsiteX65" fmla="*/ 174361 w 607654"/>
              <a:gd name="connsiteY65" fmla="*/ 431270 h 609235"/>
              <a:gd name="connsiteX66" fmla="*/ 177271 w 607654"/>
              <a:gd name="connsiteY66" fmla="*/ 417512 h 609235"/>
              <a:gd name="connsiteX67" fmla="*/ 264350 w 607654"/>
              <a:gd name="connsiteY67" fmla="*/ 414948 h 609235"/>
              <a:gd name="connsiteX68" fmla="*/ 267949 w 607654"/>
              <a:gd name="connsiteY68" fmla="*/ 416414 h 609235"/>
              <a:gd name="connsiteX69" fmla="*/ 273706 w 607654"/>
              <a:gd name="connsiteY69" fmla="*/ 429602 h 609235"/>
              <a:gd name="connsiteX70" fmla="*/ 264350 w 607654"/>
              <a:gd name="connsiteY70" fmla="*/ 436196 h 609235"/>
              <a:gd name="connsiteX71" fmla="*/ 260392 w 607654"/>
              <a:gd name="connsiteY71" fmla="*/ 435463 h 609235"/>
              <a:gd name="connsiteX72" fmla="*/ 256794 w 607654"/>
              <a:gd name="connsiteY72" fmla="*/ 433998 h 609235"/>
              <a:gd name="connsiteX73" fmla="*/ 251036 w 607654"/>
              <a:gd name="connsiteY73" fmla="*/ 420810 h 609235"/>
              <a:gd name="connsiteX74" fmla="*/ 264350 w 607654"/>
              <a:gd name="connsiteY74" fmla="*/ 414948 h 609235"/>
              <a:gd name="connsiteX75" fmla="*/ 92691 w 607654"/>
              <a:gd name="connsiteY75" fmla="*/ 408829 h 609235"/>
              <a:gd name="connsiteX76" fmla="*/ 106871 w 607654"/>
              <a:gd name="connsiteY76" fmla="*/ 408829 h 609235"/>
              <a:gd name="connsiteX77" fmla="*/ 106871 w 607654"/>
              <a:gd name="connsiteY77" fmla="*/ 423434 h 609235"/>
              <a:gd name="connsiteX78" fmla="*/ 92691 w 607654"/>
              <a:gd name="connsiteY78" fmla="*/ 438039 h 609235"/>
              <a:gd name="connsiteX79" fmla="*/ 85601 w 607654"/>
              <a:gd name="connsiteY79" fmla="*/ 440960 h 609235"/>
              <a:gd name="connsiteX80" fmla="*/ 78512 w 607654"/>
              <a:gd name="connsiteY80" fmla="*/ 438039 h 609235"/>
              <a:gd name="connsiteX81" fmla="*/ 78512 w 607654"/>
              <a:gd name="connsiteY81" fmla="*/ 423434 h 609235"/>
              <a:gd name="connsiteX82" fmla="*/ 36270 w 607654"/>
              <a:gd name="connsiteY82" fmla="*/ 399883 h 609235"/>
              <a:gd name="connsiteX83" fmla="*/ 48984 w 607654"/>
              <a:gd name="connsiteY83" fmla="*/ 406630 h 609235"/>
              <a:gd name="connsiteX84" fmla="*/ 42082 w 607654"/>
              <a:gd name="connsiteY84" fmla="*/ 419058 h 609235"/>
              <a:gd name="connsiteX85" fmla="*/ 22103 w 607654"/>
              <a:gd name="connsiteY85" fmla="*/ 424740 h 609235"/>
              <a:gd name="connsiteX86" fmla="*/ 19561 w 607654"/>
              <a:gd name="connsiteY86" fmla="*/ 425095 h 609235"/>
              <a:gd name="connsiteX87" fmla="*/ 9390 w 607654"/>
              <a:gd name="connsiteY87" fmla="*/ 417638 h 609235"/>
              <a:gd name="connsiteX88" fmla="*/ 16655 w 607654"/>
              <a:gd name="connsiteY88" fmla="*/ 405209 h 609235"/>
              <a:gd name="connsiteX89" fmla="*/ 395725 w 607654"/>
              <a:gd name="connsiteY89" fmla="*/ 396875 h 609235"/>
              <a:gd name="connsiteX90" fmla="*/ 406044 w 607654"/>
              <a:gd name="connsiteY90" fmla="*/ 407108 h 609235"/>
              <a:gd name="connsiteX91" fmla="*/ 406044 w 607654"/>
              <a:gd name="connsiteY91" fmla="*/ 437077 h 609235"/>
              <a:gd name="connsiteX92" fmla="*/ 395725 w 607654"/>
              <a:gd name="connsiteY92" fmla="*/ 447310 h 609235"/>
              <a:gd name="connsiteX93" fmla="*/ 385762 w 607654"/>
              <a:gd name="connsiteY93" fmla="*/ 437077 h 609235"/>
              <a:gd name="connsiteX94" fmla="*/ 385762 w 607654"/>
              <a:gd name="connsiteY94" fmla="*/ 407108 h 609235"/>
              <a:gd name="connsiteX95" fmla="*/ 395725 w 607654"/>
              <a:gd name="connsiteY95" fmla="*/ 396875 h 609235"/>
              <a:gd name="connsiteX96" fmla="*/ 217232 w 607654"/>
              <a:gd name="connsiteY96" fmla="*/ 395881 h 609235"/>
              <a:gd name="connsiteX97" fmla="*/ 236120 w 607654"/>
              <a:gd name="connsiteY97" fmla="*/ 403512 h 609235"/>
              <a:gd name="connsiteX98" fmla="*/ 241932 w 607654"/>
              <a:gd name="connsiteY98" fmla="*/ 416958 h 609235"/>
              <a:gd name="connsiteX99" fmla="*/ 232488 w 607654"/>
              <a:gd name="connsiteY99" fmla="*/ 423499 h 609235"/>
              <a:gd name="connsiteX100" fmla="*/ 228856 w 607654"/>
              <a:gd name="connsiteY100" fmla="*/ 422772 h 609235"/>
              <a:gd name="connsiteX101" fmla="*/ 209604 w 607654"/>
              <a:gd name="connsiteY101" fmla="*/ 415141 h 609235"/>
              <a:gd name="connsiteX102" fmla="*/ 203792 w 607654"/>
              <a:gd name="connsiteY102" fmla="*/ 401695 h 609235"/>
              <a:gd name="connsiteX103" fmla="*/ 217232 w 607654"/>
              <a:gd name="connsiteY103" fmla="*/ 395881 h 609235"/>
              <a:gd name="connsiteX104" fmla="*/ 85725 w 607654"/>
              <a:gd name="connsiteY104" fmla="*/ 385595 h 609235"/>
              <a:gd name="connsiteX105" fmla="*/ 98180 w 607654"/>
              <a:gd name="connsiteY105" fmla="*/ 392697 h 609235"/>
              <a:gd name="connsiteX106" fmla="*/ 91220 w 607654"/>
              <a:gd name="connsiteY106" fmla="*/ 405126 h 609235"/>
              <a:gd name="connsiteX107" fmla="*/ 71437 w 607654"/>
              <a:gd name="connsiteY107" fmla="*/ 410452 h 609235"/>
              <a:gd name="connsiteX108" fmla="*/ 68506 w 607654"/>
              <a:gd name="connsiteY108" fmla="*/ 410807 h 609235"/>
              <a:gd name="connsiteX109" fmla="*/ 58615 w 607654"/>
              <a:gd name="connsiteY109" fmla="*/ 403705 h 609235"/>
              <a:gd name="connsiteX110" fmla="*/ 65576 w 607654"/>
              <a:gd name="connsiteY110" fmla="*/ 391277 h 609235"/>
              <a:gd name="connsiteX111" fmla="*/ 222953 w 607654"/>
              <a:gd name="connsiteY111" fmla="*/ 365125 h 609235"/>
              <a:gd name="connsiteX112" fmla="*/ 243407 w 607654"/>
              <a:gd name="connsiteY112" fmla="*/ 365125 h 609235"/>
              <a:gd name="connsiteX113" fmla="*/ 253635 w 607654"/>
              <a:gd name="connsiteY113" fmla="*/ 375263 h 609235"/>
              <a:gd name="connsiteX114" fmla="*/ 243407 w 607654"/>
              <a:gd name="connsiteY114" fmla="*/ 385400 h 609235"/>
              <a:gd name="connsiteX115" fmla="*/ 222953 w 607654"/>
              <a:gd name="connsiteY115" fmla="*/ 385400 h 609235"/>
              <a:gd name="connsiteX116" fmla="*/ 212725 w 607654"/>
              <a:gd name="connsiteY116" fmla="*/ 375263 h 609235"/>
              <a:gd name="connsiteX117" fmla="*/ 222953 w 607654"/>
              <a:gd name="connsiteY117" fmla="*/ 365125 h 609235"/>
              <a:gd name="connsiteX118" fmla="*/ 143960 w 607654"/>
              <a:gd name="connsiteY118" fmla="*/ 356801 h 609235"/>
              <a:gd name="connsiteX119" fmla="*/ 143960 w 607654"/>
              <a:gd name="connsiteY119" fmla="*/ 360407 h 609235"/>
              <a:gd name="connsiteX120" fmla="*/ 139668 w 607654"/>
              <a:gd name="connsiteY120" fmla="*/ 369059 h 609235"/>
              <a:gd name="connsiteX121" fmla="*/ 136807 w 607654"/>
              <a:gd name="connsiteY121" fmla="*/ 371222 h 609235"/>
              <a:gd name="connsiteX122" fmla="*/ 140384 w 607654"/>
              <a:gd name="connsiteY122" fmla="*/ 372303 h 609235"/>
              <a:gd name="connsiteX123" fmla="*/ 146822 w 607654"/>
              <a:gd name="connsiteY123" fmla="*/ 379153 h 609235"/>
              <a:gd name="connsiteX124" fmla="*/ 147895 w 607654"/>
              <a:gd name="connsiteY124" fmla="*/ 382398 h 609235"/>
              <a:gd name="connsiteX125" fmla="*/ 150041 w 607654"/>
              <a:gd name="connsiteY125" fmla="*/ 379514 h 609235"/>
              <a:gd name="connsiteX126" fmla="*/ 158624 w 607654"/>
              <a:gd name="connsiteY126" fmla="*/ 375188 h 609235"/>
              <a:gd name="connsiteX127" fmla="*/ 162201 w 607654"/>
              <a:gd name="connsiteY127" fmla="*/ 375188 h 609235"/>
              <a:gd name="connsiteX128" fmla="*/ 160055 w 607654"/>
              <a:gd name="connsiteY128" fmla="*/ 372303 h 609235"/>
              <a:gd name="connsiteX129" fmla="*/ 158624 w 607654"/>
              <a:gd name="connsiteY129" fmla="*/ 362930 h 609235"/>
              <a:gd name="connsiteX130" fmla="*/ 159697 w 607654"/>
              <a:gd name="connsiteY130" fmla="*/ 359325 h 609235"/>
              <a:gd name="connsiteX131" fmla="*/ 156121 w 607654"/>
              <a:gd name="connsiteY131" fmla="*/ 360407 h 609235"/>
              <a:gd name="connsiteX132" fmla="*/ 146822 w 607654"/>
              <a:gd name="connsiteY132" fmla="*/ 358965 h 609235"/>
              <a:gd name="connsiteX133" fmla="*/ 60938 w 607654"/>
              <a:gd name="connsiteY133" fmla="*/ 354012 h 609235"/>
              <a:gd name="connsiteX134" fmla="*/ 81575 w 607654"/>
              <a:gd name="connsiteY134" fmla="*/ 354012 h 609235"/>
              <a:gd name="connsiteX135" fmla="*/ 91713 w 607654"/>
              <a:gd name="connsiteY135" fmla="*/ 364150 h 609235"/>
              <a:gd name="connsiteX136" fmla="*/ 81575 w 607654"/>
              <a:gd name="connsiteY136" fmla="*/ 374288 h 609235"/>
              <a:gd name="connsiteX137" fmla="*/ 60938 w 607654"/>
              <a:gd name="connsiteY137" fmla="*/ 374288 h 609235"/>
              <a:gd name="connsiteX138" fmla="*/ 50800 w 607654"/>
              <a:gd name="connsiteY138" fmla="*/ 364150 h 609235"/>
              <a:gd name="connsiteX139" fmla="*/ 60938 w 607654"/>
              <a:gd name="connsiteY139" fmla="*/ 354012 h 609235"/>
              <a:gd name="connsiteX140" fmla="*/ 10138 w 607654"/>
              <a:gd name="connsiteY140" fmla="*/ 354012 h 609235"/>
              <a:gd name="connsiteX141" fmla="*/ 30775 w 607654"/>
              <a:gd name="connsiteY141" fmla="*/ 354012 h 609235"/>
              <a:gd name="connsiteX142" fmla="*/ 40913 w 607654"/>
              <a:gd name="connsiteY142" fmla="*/ 364150 h 609235"/>
              <a:gd name="connsiteX143" fmla="*/ 30775 w 607654"/>
              <a:gd name="connsiteY143" fmla="*/ 374288 h 609235"/>
              <a:gd name="connsiteX144" fmla="*/ 10138 w 607654"/>
              <a:gd name="connsiteY144" fmla="*/ 374288 h 609235"/>
              <a:gd name="connsiteX145" fmla="*/ 0 w 607654"/>
              <a:gd name="connsiteY145" fmla="*/ 364150 h 609235"/>
              <a:gd name="connsiteX146" fmla="*/ 10138 w 607654"/>
              <a:gd name="connsiteY146" fmla="*/ 354012 h 609235"/>
              <a:gd name="connsiteX147" fmla="*/ 395725 w 607654"/>
              <a:gd name="connsiteY147" fmla="*/ 338137 h 609235"/>
              <a:gd name="connsiteX148" fmla="*/ 406044 w 607654"/>
              <a:gd name="connsiteY148" fmla="*/ 348370 h 609235"/>
              <a:gd name="connsiteX149" fmla="*/ 406044 w 607654"/>
              <a:gd name="connsiteY149" fmla="*/ 378339 h 609235"/>
              <a:gd name="connsiteX150" fmla="*/ 395725 w 607654"/>
              <a:gd name="connsiteY150" fmla="*/ 388572 h 609235"/>
              <a:gd name="connsiteX151" fmla="*/ 385762 w 607654"/>
              <a:gd name="connsiteY151" fmla="*/ 378339 h 609235"/>
              <a:gd name="connsiteX152" fmla="*/ 385762 w 607654"/>
              <a:gd name="connsiteY152" fmla="*/ 348370 h 609235"/>
              <a:gd name="connsiteX153" fmla="*/ 395725 w 607654"/>
              <a:gd name="connsiteY153" fmla="*/ 338137 h 609235"/>
              <a:gd name="connsiteX154" fmla="*/ 128939 w 607654"/>
              <a:gd name="connsiteY154" fmla="*/ 327240 h 609235"/>
              <a:gd name="connsiteX155" fmla="*/ 139668 w 607654"/>
              <a:gd name="connsiteY155" fmla="*/ 328321 h 609235"/>
              <a:gd name="connsiteX156" fmla="*/ 154690 w 607654"/>
              <a:gd name="connsiteY156" fmla="*/ 339497 h 609235"/>
              <a:gd name="connsiteX157" fmla="*/ 172573 w 607654"/>
              <a:gd name="connsiteY157" fmla="*/ 333368 h 609235"/>
              <a:gd name="connsiteX158" fmla="*/ 182945 w 607654"/>
              <a:gd name="connsiteY158" fmla="*/ 335892 h 609235"/>
              <a:gd name="connsiteX159" fmla="*/ 185449 w 607654"/>
              <a:gd name="connsiteY159" fmla="*/ 346347 h 609235"/>
              <a:gd name="connsiteX160" fmla="*/ 179369 w 607654"/>
              <a:gd name="connsiteY160" fmla="*/ 364372 h 609235"/>
              <a:gd name="connsiteX161" fmla="*/ 190814 w 607654"/>
              <a:gd name="connsiteY161" fmla="*/ 379874 h 609235"/>
              <a:gd name="connsiteX162" fmla="*/ 191529 w 607654"/>
              <a:gd name="connsiteY162" fmla="*/ 390329 h 609235"/>
              <a:gd name="connsiteX163" fmla="*/ 182588 w 607654"/>
              <a:gd name="connsiteY163" fmla="*/ 395737 h 609235"/>
              <a:gd name="connsiteX164" fmla="*/ 163632 w 607654"/>
              <a:gd name="connsiteY164" fmla="*/ 395737 h 609235"/>
              <a:gd name="connsiteX165" fmla="*/ 152544 w 607654"/>
              <a:gd name="connsiteY165" fmla="*/ 411238 h 609235"/>
              <a:gd name="connsiteX166" fmla="*/ 144318 w 607654"/>
              <a:gd name="connsiteY166" fmla="*/ 415565 h 609235"/>
              <a:gd name="connsiteX167" fmla="*/ 142530 w 607654"/>
              <a:gd name="connsiteY167" fmla="*/ 415204 h 609235"/>
              <a:gd name="connsiteX168" fmla="*/ 134661 w 607654"/>
              <a:gd name="connsiteY168" fmla="*/ 408354 h 609235"/>
              <a:gd name="connsiteX169" fmla="*/ 128939 w 607654"/>
              <a:gd name="connsiteY169" fmla="*/ 389968 h 609235"/>
              <a:gd name="connsiteX170" fmla="*/ 111056 w 607654"/>
              <a:gd name="connsiteY170" fmla="*/ 384561 h 609235"/>
              <a:gd name="connsiteX171" fmla="*/ 103902 w 607654"/>
              <a:gd name="connsiteY171" fmla="*/ 376269 h 609235"/>
              <a:gd name="connsiteX172" fmla="*/ 108194 w 607654"/>
              <a:gd name="connsiteY172" fmla="*/ 366535 h 609235"/>
              <a:gd name="connsiteX173" fmla="*/ 123574 w 607654"/>
              <a:gd name="connsiteY173" fmla="*/ 355359 h 609235"/>
              <a:gd name="connsiteX174" fmla="*/ 123574 w 607654"/>
              <a:gd name="connsiteY174" fmla="*/ 336613 h 609235"/>
              <a:gd name="connsiteX175" fmla="*/ 128939 w 607654"/>
              <a:gd name="connsiteY175" fmla="*/ 327240 h 609235"/>
              <a:gd name="connsiteX176" fmla="*/ 71315 w 607654"/>
              <a:gd name="connsiteY176" fmla="*/ 324417 h 609235"/>
              <a:gd name="connsiteX177" fmla="*/ 90365 w 607654"/>
              <a:gd name="connsiteY177" fmla="*/ 332676 h 609235"/>
              <a:gd name="connsiteX178" fmla="*/ 95861 w 607654"/>
              <a:gd name="connsiteY178" fmla="*/ 345962 h 609235"/>
              <a:gd name="connsiteX179" fmla="*/ 86336 w 607654"/>
              <a:gd name="connsiteY179" fmla="*/ 352066 h 609235"/>
              <a:gd name="connsiteX180" fmla="*/ 82306 w 607654"/>
              <a:gd name="connsiteY180" fmla="*/ 351348 h 609235"/>
              <a:gd name="connsiteX181" fmla="*/ 63255 w 607654"/>
              <a:gd name="connsiteY181" fmla="*/ 343089 h 609235"/>
              <a:gd name="connsiteX182" fmla="*/ 57760 w 607654"/>
              <a:gd name="connsiteY182" fmla="*/ 329803 h 609235"/>
              <a:gd name="connsiteX183" fmla="*/ 71315 w 607654"/>
              <a:gd name="connsiteY183" fmla="*/ 324417 h 609235"/>
              <a:gd name="connsiteX184" fmla="*/ 212508 w 607654"/>
              <a:gd name="connsiteY184" fmla="*/ 314826 h 609235"/>
              <a:gd name="connsiteX185" fmla="*/ 226579 w 607654"/>
              <a:gd name="connsiteY185" fmla="*/ 316665 h 609235"/>
              <a:gd name="connsiteX186" fmla="*/ 224414 w 607654"/>
              <a:gd name="connsiteY186" fmla="*/ 331370 h 609235"/>
              <a:gd name="connsiteX187" fmla="*/ 208179 w 607654"/>
              <a:gd name="connsiteY187" fmla="*/ 343869 h 609235"/>
              <a:gd name="connsiteX188" fmla="*/ 202045 w 607654"/>
              <a:gd name="connsiteY188" fmla="*/ 345707 h 609235"/>
              <a:gd name="connsiteX189" fmla="*/ 194108 w 607654"/>
              <a:gd name="connsiteY189" fmla="*/ 341664 h 609235"/>
              <a:gd name="connsiteX190" fmla="*/ 195912 w 607654"/>
              <a:gd name="connsiteY190" fmla="*/ 327326 h 609235"/>
              <a:gd name="connsiteX191" fmla="*/ 23920 w 607654"/>
              <a:gd name="connsiteY191" fmla="*/ 305051 h 609235"/>
              <a:gd name="connsiteX192" fmla="*/ 42808 w 607654"/>
              <a:gd name="connsiteY192" fmla="*/ 313144 h 609235"/>
              <a:gd name="connsiteX193" fmla="*/ 47894 w 607654"/>
              <a:gd name="connsiteY193" fmla="*/ 326754 h 609235"/>
              <a:gd name="connsiteX194" fmla="*/ 38450 w 607654"/>
              <a:gd name="connsiteY194" fmla="*/ 333007 h 609235"/>
              <a:gd name="connsiteX195" fmla="*/ 34454 w 607654"/>
              <a:gd name="connsiteY195" fmla="*/ 332272 h 609235"/>
              <a:gd name="connsiteX196" fmla="*/ 15928 w 607654"/>
              <a:gd name="connsiteY196" fmla="*/ 324179 h 609235"/>
              <a:gd name="connsiteX197" fmla="*/ 10480 w 607654"/>
              <a:gd name="connsiteY197" fmla="*/ 310569 h 609235"/>
              <a:gd name="connsiteX198" fmla="*/ 23920 w 607654"/>
              <a:gd name="connsiteY198" fmla="*/ 305051 h 609235"/>
              <a:gd name="connsiteX199" fmla="*/ 76184 w 607654"/>
              <a:gd name="connsiteY199" fmla="*/ 294176 h 609235"/>
              <a:gd name="connsiteX200" fmla="*/ 90789 w 607654"/>
              <a:gd name="connsiteY200" fmla="*/ 295641 h 609235"/>
              <a:gd name="connsiteX201" fmla="*/ 103934 w 607654"/>
              <a:gd name="connsiteY201" fmla="*/ 311028 h 609235"/>
              <a:gd name="connsiteX202" fmla="*/ 102838 w 607654"/>
              <a:gd name="connsiteY202" fmla="*/ 325681 h 609235"/>
              <a:gd name="connsiteX203" fmla="*/ 96266 w 607654"/>
              <a:gd name="connsiteY203" fmla="*/ 328246 h 609235"/>
              <a:gd name="connsiteX204" fmla="*/ 88233 w 607654"/>
              <a:gd name="connsiteY204" fmla="*/ 324216 h 609235"/>
              <a:gd name="connsiteX205" fmla="*/ 75088 w 607654"/>
              <a:gd name="connsiteY205" fmla="*/ 308463 h 609235"/>
              <a:gd name="connsiteX206" fmla="*/ 76184 w 607654"/>
              <a:gd name="connsiteY206" fmla="*/ 294176 h 609235"/>
              <a:gd name="connsiteX207" fmla="*/ 395725 w 607654"/>
              <a:gd name="connsiteY207" fmla="*/ 293687 h 609235"/>
              <a:gd name="connsiteX208" fmla="*/ 406044 w 607654"/>
              <a:gd name="connsiteY208" fmla="*/ 303918 h 609235"/>
              <a:gd name="connsiteX209" fmla="*/ 406044 w 607654"/>
              <a:gd name="connsiteY209" fmla="*/ 318382 h 609235"/>
              <a:gd name="connsiteX210" fmla="*/ 395725 w 607654"/>
              <a:gd name="connsiteY210" fmla="*/ 328259 h 609235"/>
              <a:gd name="connsiteX211" fmla="*/ 385762 w 607654"/>
              <a:gd name="connsiteY211" fmla="*/ 318382 h 609235"/>
              <a:gd name="connsiteX212" fmla="*/ 385762 w 607654"/>
              <a:gd name="connsiteY212" fmla="*/ 303918 h 609235"/>
              <a:gd name="connsiteX213" fmla="*/ 395725 w 607654"/>
              <a:gd name="connsiteY213" fmla="*/ 293687 h 609235"/>
              <a:gd name="connsiteX214" fmla="*/ 243325 w 607654"/>
              <a:gd name="connsiteY214" fmla="*/ 293687 h 609235"/>
              <a:gd name="connsiteX215" fmla="*/ 243681 w 607654"/>
              <a:gd name="connsiteY215" fmla="*/ 293687 h 609235"/>
              <a:gd name="connsiteX216" fmla="*/ 253644 w 607654"/>
              <a:gd name="connsiteY216" fmla="*/ 304187 h 609235"/>
              <a:gd name="connsiteX217" fmla="*/ 243681 w 607654"/>
              <a:gd name="connsiteY217" fmla="*/ 313963 h 609235"/>
              <a:gd name="connsiteX218" fmla="*/ 233362 w 607654"/>
              <a:gd name="connsiteY218" fmla="*/ 304187 h 609235"/>
              <a:gd name="connsiteX219" fmla="*/ 243325 w 607654"/>
              <a:gd name="connsiteY219" fmla="*/ 293687 h 609235"/>
              <a:gd name="connsiteX220" fmla="*/ 422237 w 607654"/>
              <a:gd name="connsiteY220" fmla="*/ 287549 h 609235"/>
              <a:gd name="connsiteX221" fmla="*/ 435523 w 607654"/>
              <a:gd name="connsiteY221" fmla="*/ 294025 h 609235"/>
              <a:gd name="connsiteX222" fmla="*/ 472508 w 607654"/>
              <a:gd name="connsiteY222" fmla="*/ 398719 h 609235"/>
              <a:gd name="connsiteX223" fmla="*/ 466044 w 607654"/>
              <a:gd name="connsiteY223" fmla="*/ 411671 h 609235"/>
              <a:gd name="connsiteX224" fmla="*/ 462813 w 607654"/>
              <a:gd name="connsiteY224" fmla="*/ 412390 h 609235"/>
              <a:gd name="connsiteX225" fmla="*/ 453477 w 607654"/>
              <a:gd name="connsiteY225" fmla="*/ 405555 h 609235"/>
              <a:gd name="connsiteX226" fmla="*/ 416133 w 607654"/>
              <a:gd name="connsiteY226" fmla="*/ 300501 h 609235"/>
              <a:gd name="connsiteX227" fmla="*/ 422237 w 607654"/>
              <a:gd name="connsiteY227" fmla="*/ 287549 h 609235"/>
              <a:gd name="connsiteX228" fmla="*/ 362043 w 607654"/>
              <a:gd name="connsiteY228" fmla="*/ 286316 h 609235"/>
              <a:gd name="connsiteX229" fmla="*/ 367391 w 607654"/>
              <a:gd name="connsiteY229" fmla="*/ 299595 h 609235"/>
              <a:gd name="connsiteX230" fmla="*/ 323536 w 607654"/>
              <a:gd name="connsiteY230" fmla="*/ 401527 h 609235"/>
              <a:gd name="connsiteX231" fmla="*/ 314265 w 607654"/>
              <a:gd name="connsiteY231" fmla="*/ 407628 h 609235"/>
              <a:gd name="connsiteX232" fmla="*/ 310343 w 607654"/>
              <a:gd name="connsiteY232" fmla="*/ 406551 h 609235"/>
              <a:gd name="connsiteX233" fmla="*/ 304995 w 607654"/>
              <a:gd name="connsiteY233" fmla="*/ 393272 h 609235"/>
              <a:gd name="connsiteX234" fmla="*/ 348851 w 607654"/>
              <a:gd name="connsiteY234" fmla="*/ 291340 h 609235"/>
              <a:gd name="connsiteX235" fmla="*/ 362043 w 607654"/>
              <a:gd name="connsiteY235" fmla="*/ 286316 h 609235"/>
              <a:gd name="connsiteX236" fmla="*/ 196145 w 607654"/>
              <a:gd name="connsiteY236" fmla="*/ 277140 h 609235"/>
              <a:gd name="connsiteX237" fmla="*/ 200378 w 607654"/>
              <a:gd name="connsiteY237" fmla="*/ 290727 h 609235"/>
              <a:gd name="connsiteX238" fmla="*/ 191558 w 607654"/>
              <a:gd name="connsiteY238" fmla="*/ 308247 h 609235"/>
              <a:gd name="connsiteX239" fmla="*/ 182739 w 607654"/>
              <a:gd name="connsiteY239" fmla="*/ 313968 h 609235"/>
              <a:gd name="connsiteX240" fmla="*/ 178506 w 607654"/>
              <a:gd name="connsiteY240" fmla="*/ 312895 h 609235"/>
              <a:gd name="connsiteX241" fmla="*/ 173920 w 607654"/>
              <a:gd name="connsiteY241" fmla="*/ 299666 h 609235"/>
              <a:gd name="connsiteX242" fmla="*/ 182739 w 607654"/>
              <a:gd name="connsiteY242" fmla="*/ 281431 h 609235"/>
              <a:gd name="connsiteX243" fmla="*/ 196145 w 607654"/>
              <a:gd name="connsiteY243" fmla="*/ 277140 h 609235"/>
              <a:gd name="connsiteX244" fmla="*/ 111506 w 607654"/>
              <a:gd name="connsiteY244" fmla="*/ 271323 h 609235"/>
              <a:gd name="connsiteX245" fmla="*/ 124166 w 607654"/>
              <a:gd name="connsiteY245" fmla="*/ 278565 h 609235"/>
              <a:gd name="connsiteX246" fmla="*/ 129954 w 607654"/>
              <a:gd name="connsiteY246" fmla="*/ 298116 h 609235"/>
              <a:gd name="connsiteX247" fmla="*/ 122719 w 607654"/>
              <a:gd name="connsiteY247" fmla="*/ 310426 h 609235"/>
              <a:gd name="connsiteX248" fmla="*/ 119826 w 607654"/>
              <a:gd name="connsiteY248" fmla="*/ 310788 h 609235"/>
              <a:gd name="connsiteX249" fmla="*/ 110060 w 607654"/>
              <a:gd name="connsiteY249" fmla="*/ 303909 h 609235"/>
              <a:gd name="connsiteX250" fmla="*/ 104634 w 607654"/>
              <a:gd name="connsiteY250" fmla="*/ 283996 h 609235"/>
              <a:gd name="connsiteX251" fmla="*/ 111506 w 607654"/>
              <a:gd name="connsiteY251" fmla="*/ 271323 h 609235"/>
              <a:gd name="connsiteX252" fmla="*/ 322747 w 607654"/>
              <a:gd name="connsiteY252" fmla="*/ 270659 h 609235"/>
              <a:gd name="connsiteX253" fmla="*/ 337028 w 607654"/>
              <a:gd name="connsiteY253" fmla="*/ 270659 h 609235"/>
              <a:gd name="connsiteX254" fmla="*/ 337028 w 607654"/>
              <a:gd name="connsiteY254" fmla="*/ 285056 h 609235"/>
              <a:gd name="connsiteX255" fmla="*/ 270621 w 607654"/>
              <a:gd name="connsiteY255" fmla="*/ 352001 h 609235"/>
              <a:gd name="connsiteX256" fmla="*/ 263480 w 607654"/>
              <a:gd name="connsiteY256" fmla="*/ 355240 h 609235"/>
              <a:gd name="connsiteX257" fmla="*/ 256339 w 607654"/>
              <a:gd name="connsiteY257" fmla="*/ 352001 h 609235"/>
              <a:gd name="connsiteX258" fmla="*/ 256339 w 607654"/>
              <a:gd name="connsiteY258" fmla="*/ 337964 h 609235"/>
              <a:gd name="connsiteX259" fmla="*/ 453211 w 607654"/>
              <a:gd name="connsiteY259" fmla="*/ 270643 h 609235"/>
              <a:gd name="connsiteX260" fmla="*/ 467572 w 607654"/>
              <a:gd name="connsiteY260" fmla="*/ 270643 h 609235"/>
              <a:gd name="connsiteX261" fmla="*/ 546554 w 607654"/>
              <a:gd name="connsiteY261" fmla="*/ 349147 h 609235"/>
              <a:gd name="connsiteX262" fmla="*/ 546554 w 607654"/>
              <a:gd name="connsiteY262" fmla="*/ 363486 h 609235"/>
              <a:gd name="connsiteX263" fmla="*/ 539374 w 607654"/>
              <a:gd name="connsiteY263" fmla="*/ 366354 h 609235"/>
              <a:gd name="connsiteX264" fmla="*/ 532194 w 607654"/>
              <a:gd name="connsiteY264" fmla="*/ 363486 h 609235"/>
              <a:gd name="connsiteX265" fmla="*/ 453211 w 607654"/>
              <a:gd name="connsiteY265" fmla="*/ 284982 h 609235"/>
              <a:gd name="connsiteX266" fmla="*/ 453211 w 607654"/>
              <a:gd name="connsiteY266" fmla="*/ 270643 h 609235"/>
              <a:gd name="connsiteX267" fmla="*/ 151250 w 607654"/>
              <a:gd name="connsiteY267" fmla="*/ 263525 h 609235"/>
              <a:gd name="connsiteX268" fmla="*/ 161569 w 607654"/>
              <a:gd name="connsiteY268" fmla="*/ 273663 h 609235"/>
              <a:gd name="connsiteX269" fmla="*/ 161569 w 607654"/>
              <a:gd name="connsiteY269" fmla="*/ 293938 h 609235"/>
              <a:gd name="connsiteX270" fmla="*/ 151250 w 607654"/>
              <a:gd name="connsiteY270" fmla="*/ 304438 h 609235"/>
              <a:gd name="connsiteX271" fmla="*/ 141287 w 607654"/>
              <a:gd name="connsiteY271" fmla="*/ 293938 h 609235"/>
              <a:gd name="connsiteX272" fmla="*/ 141287 w 607654"/>
              <a:gd name="connsiteY272" fmla="*/ 273663 h 609235"/>
              <a:gd name="connsiteX273" fmla="*/ 151250 w 607654"/>
              <a:gd name="connsiteY273" fmla="*/ 263525 h 609235"/>
              <a:gd name="connsiteX274" fmla="*/ 44434 w 607654"/>
              <a:gd name="connsiteY274" fmla="*/ 256076 h 609235"/>
              <a:gd name="connsiteX275" fmla="*/ 59039 w 607654"/>
              <a:gd name="connsiteY275" fmla="*/ 257541 h 609235"/>
              <a:gd name="connsiteX276" fmla="*/ 72184 w 607654"/>
              <a:gd name="connsiteY276" fmla="*/ 273294 h 609235"/>
              <a:gd name="connsiteX277" fmla="*/ 70723 w 607654"/>
              <a:gd name="connsiteY277" fmla="*/ 287948 h 609235"/>
              <a:gd name="connsiteX278" fmla="*/ 64151 w 607654"/>
              <a:gd name="connsiteY278" fmla="*/ 290146 h 609235"/>
              <a:gd name="connsiteX279" fmla="*/ 56483 w 607654"/>
              <a:gd name="connsiteY279" fmla="*/ 286482 h 609235"/>
              <a:gd name="connsiteX280" fmla="*/ 42973 w 607654"/>
              <a:gd name="connsiteY280" fmla="*/ 270729 h 609235"/>
              <a:gd name="connsiteX281" fmla="*/ 44434 w 607654"/>
              <a:gd name="connsiteY281" fmla="*/ 256076 h 609235"/>
              <a:gd name="connsiteX282" fmla="*/ 483720 w 607654"/>
              <a:gd name="connsiteY282" fmla="*/ 238711 h 609235"/>
              <a:gd name="connsiteX283" fmla="*/ 585842 w 607654"/>
              <a:gd name="connsiteY283" fmla="*/ 283282 h 609235"/>
              <a:gd name="connsiteX284" fmla="*/ 591217 w 607654"/>
              <a:gd name="connsiteY284" fmla="*/ 296690 h 609235"/>
              <a:gd name="connsiteX285" fmla="*/ 581900 w 607654"/>
              <a:gd name="connsiteY285" fmla="*/ 302850 h 609235"/>
              <a:gd name="connsiteX286" fmla="*/ 577601 w 607654"/>
              <a:gd name="connsiteY286" fmla="*/ 302125 h 609235"/>
              <a:gd name="connsiteX287" fmla="*/ 475479 w 607654"/>
              <a:gd name="connsiteY287" fmla="*/ 257554 h 609235"/>
              <a:gd name="connsiteX288" fmla="*/ 470462 w 607654"/>
              <a:gd name="connsiteY288" fmla="*/ 244147 h 609235"/>
              <a:gd name="connsiteX289" fmla="*/ 483720 w 607654"/>
              <a:gd name="connsiteY289" fmla="*/ 238711 h 609235"/>
              <a:gd name="connsiteX290" fmla="*/ 217761 w 607654"/>
              <a:gd name="connsiteY290" fmla="*/ 234315 h 609235"/>
              <a:gd name="connsiteX291" fmla="*/ 222506 w 607654"/>
              <a:gd name="connsiteY291" fmla="*/ 248104 h 609235"/>
              <a:gd name="connsiteX292" fmla="*/ 214842 w 607654"/>
              <a:gd name="connsiteY292" fmla="*/ 263707 h 609235"/>
              <a:gd name="connsiteX293" fmla="*/ 205353 w 607654"/>
              <a:gd name="connsiteY293" fmla="*/ 269512 h 609235"/>
              <a:gd name="connsiteX294" fmla="*/ 200609 w 607654"/>
              <a:gd name="connsiteY294" fmla="*/ 268061 h 609235"/>
              <a:gd name="connsiteX295" fmla="*/ 196230 w 607654"/>
              <a:gd name="connsiteY295" fmla="*/ 254635 h 609235"/>
              <a:gd name="connsiteX296" fmla="*/ 203894 w 607654"/>
              <a:gd name="connsiteY296" fmla="*/ 239032 h 609235"/>
              <a:gd name="connsiteX297" fmla="*/ 217761 w 607654"/>
              <a:gd name="connsiteY297" fmla="*/ 234315 h 609235"/>
              <a:gd name="connsiteX298" fmla="*/ 305559 w 607654"/>
              <a:gd name="connsiteY298" fmla="*/ 231604 h 609235"/>
              <a:gd name="connsiteX299" fmla="*/ 318516 w 607654"/>
              <a:gd name="connsiteY299" fmla="*/ 238335 h 609235"/>
              <a:gd name="connsiteX300" fmla="*/ 312037 w 607654"/>
              <a:gd name="connsiteY300" fmla="*/ 250733 h 609235"/>
              <a:gd name="connsiteX301" fmla="*/ 246172 w 607654"/>
              <a:gd name="connsiteY301" fmla="*/ 271987 h 609235"/>
              <a:gd name="connsiteX302" fmla="*/ 242933 w 607654"/>
              <a:gd name="connsiteY302" fmla="*/ 272696 h 609235"/>
              <a:gd name="connsiteX303" fmla="*/ 233215 w 607654"/>
              <a:gd name="connsiteY303" fmla="*/ 265611 h 609235"/>
              <a:gd name="connsiteX304" fmla="*/ 239693 w 607654"/>
              <a:gd name="connsiteY304" fmla="*/ 253213 h 609235"/>
              <a:gd name="connsiteX305" fmla="*/ 99168 w 607654"/>
              <a:gd name="connsiteY305" fmla="*/ 223698 h 609235"/>
              <a:gd name="connsiteX306" fmla="*/ 111828 w 607654"/>
              <a:gd name="connsiteY306" fmla="*/ 230578 h 609235"/>
              <a:gd name="connsiteX307" fmla="*/ 117254 w 607654"/>
              <a:gd name="connsiteY307" fmla="*/ 250129 h 609235"/>
              <a:gd name="connsiteX308" fmla="*/ 110381 w 607654"/>
              <a:gd name="connsiteY308" fmla="*/ 262801 h 609235"/>
              <a:gd name="connsiteX309" fmla="*/ 107487 w 607654"/>
              <a:gd name="connsiteY309" fmla="*/ 263163 h 609235"/>
              <a:gd name="connsiteX310" fmla="*/ 97721 w 607654"/>
              <a:gd name="connsiteY310" fmla="*/ 255922 h 609235"/>
              <a:gd name="connsiteX311" fmla="*/ 91934 w 607654"/>
              <a:gd name="connsiteY311" fmla="*/ 236371 h 609235"/>
              <a:gd name="connsiteX312" fmla="*/ 99168 w 607654"/>
              <a:gd name="connsiteY312" fmla="*/ 223698 h 609235"/>
              <a:gd name="connsiteX313" fmla="*/ 151250 w 607654"/>
              <a:gd name="connsiteY313" fmla="*/ 212725 h 609235"/>
              <a:gd name="connsiteX314" fmla="*/ 161569 w 607654"/>
              <a:gd name="connsiteY314" fmla="*/ 222952 h 609235"/>
              <a:gd name="connsiteX315" fmla="*/ 161569 w 607654"/>
              <a:gd name="connsiteY315" fmla="*/ 243407 h 609235"/>
              <a:gd name="connsiteX316" fmla="*/ 151250 w 607654"/>
              <a:gd name="connsiteY316" fmla="*/ 253635 h 609235"/>
              <a:gd name="connsiteX317" fmla="*/ 141287 w 607654"/>
              <a:gd name="connsiteY317" fmla="*/ 243407 h 609235"/>
              <a:gd name="connsiteX318" fmla="*/ 141287 w 607654"/>
              <a:gd name="connsiteY318" fmla="*/ 222952 h 609235"/>
              <a:gd name="connsiteX319" fmla="*/ 151250 w 607654"/>
              <a:gd name="connsiteY319" fmla="*/ 212725 h 609235"/>
              <a:gd name="connsiteX320" fmla="*/ 486275 w 607654"/>
              <a:gd name="connsiteY320" fmla="*/ 203200 h 609235"/>
              <a:gd name="connsiteX321" fmla="*/ 597629 w 607654"/>
              <a:gd name="connsiteY321" fmla="*/ 203200 h 609235"/>
              <a:gd name="connsiteX322" fmla="*/ 607654 w 607654"/>
              <a:gd name="connsiteY322" fmla="*/ 213519 h 609235"/>
              <a:gd name="connsiteX323" fmla="*/ 597629 w 607654"/>
              <a:gd name="connsiteY323" fmla="*/ 223481 h 609235"/>
              <a:gd name="connsiteX324" fmla="*/ 486275 w 607654"/>
              <a:gd name="connsiteY324" fmla="*/ 223481 h 609235"/>
              <a:gd name="connsiteX325" fmla="*/ 476250 w 607654"/>
              <a:gd name="connsiteY325" fmla="*/ 213519 h 609235"/>
              <a:gd name="connsiteX326" fmla="*/ 486275 w 607654"/>
              <a:gd name="connsiteY326" fmla="*/ 203200 h 609235"/>
              <a:gd name="connsiteX327" fmla="*/ 192615 w 607654"/>
              <a:gd name="connsiteY327" fmla="*/ 203200 h 609235"/>
              <a:gd name="connsiteX328" fmla="*/ 304272 w 607654"/>
              <a:gd name="connsiteY328" fmla="*/ 203200 h 609235"/>
              <a:gd name="connsiteX329" fmla="*/ 313966 w 607654"/>
              <a:gd name="connsiteY329" fmla="*/ 213519 h 609235"/>
              <a:gd name="connsiteX330" fmla="*/ 304272 w 607654"/>
              <a:gd name="connsiteY330" fmla="*/ 223481 h 609235"/>
              <a:gd name="connsiteX331" fmla="*/ 192615 w 607654"/>
              <a:gd name="connsiteY331" fmla="*/ 223481 h 609235"/>
              <a:gd name="connsiteX332" fmla="*/ 182562 w 607654"/>
              <a:gd name="connsiteY332" fmla="*/ 213519 h 609235"/>
              <a:gd name="connsiteX333" fmla="*/ 192615 w 607654"/>
              <a:gd name="connsiteY333" fmla="*/ 203200 h 609235"/>
              <a:gd name="connsiteX334" fmla="*/ 395722 w 607654"/>
              <a:gd name="connsiteY334" fmla="*/ 172893 h 609235"/>
              <a:gd name="connsiteX335" fmla="*/ 355455 w 607654"/>
              <a:gd name="connsiteY335" fmla="*/ 213519 h 609235"/>
              <a:gd name="connsiteX336" fmla="*/ 395722 w 607654"/>
              <a:gd name="connsiteY336" fmla="*/ 253785 h 609235"/>
              <a:gd name="connsiteX337" fmla="*/ 436348 w 607654"/>
              <a:gd name="connsiteY337" fmla="*/ 213519 h 609235"/>
              <a:gd name="connsiteX338" fmla="*/ 395722 w 607654"/>
              <a:gd name="connsiteY338" fmla="*/ 172893 h 609235"/>
              <a:gd name="connsiteX339" fmla="*/ 86341 w 607654"/>
              <a:gd name="connsiteY339" fmla="*/ 161925 h 609235"/>
              <a:gd name="connsiteX340" fmla="*/ 93793 w 607654"/>
              <a:gd name="connsiteY340" fmla="*/ 163699 h 609235"/>
              <a:gd name="connsiteX341" fmla="*/ 99471 w 607654"/>
              <a:gd name="connsiteY341" fmla="*/ 169377 h 609235"/>
              <a:gd name="connsiteX342" fmla="*/ 101245 w 607654"/>
              <a:gd name="connsiteY342" fmla="*/ 176829 h 609235"/>
              <a:gd name="connsiteX343" fmla="*/ 99471 w 607654"/>
              <a:gd name="connsiteY343" fmla="*/ 184280 h 609235"/>
              <a:gd name="connsiteX344" fmla="*/ 93793 w 607654"/>
              <a:gd name="connsiteY344" fmla="*/ 189603 h 609235"/>
              <a:gd name="connsiteX345" fmla="*/ 86341 w 607654"/>
              <a:gd name="connsiteY345" fmla="*/ 191732 h 609235"/>
              <a:gd name="connsiteX346" fmla="*/ 78889 w 607654"/>
              <a:gd name="connsiteY346" fmla="*/ 189603 h 609235"/>
              <a:gd name="connsiteX347" fmla="*/ 73211 w 607654"/>
              <a:gd name="connsiteY347" fmla="*/ 184280 h 609235"/>
              <a:gd name="connsiteX348" fmla="*/ 71437 w 607654"/>
              <a:gd name="connsiteY348" fmla="*/ 176829 h 609235"/>
              <a:gd name="connsiteX349" fmla="*/ 73211 w 607654"/>
              <a:gd name="connsiteY349" fmla="*/ 169377 h 609235"/>
              <a:gd name="connsiteX350" fmla="*/ 78889 w 607654"/>
              <a:gd name="connsiteY350" fmla="*/ 163699 h 609235"/>
              <a:gd name="connsiteX351" fmla="*/ 86341 w 607654"/>
              <a:gd name="connsiteY351" fmla="*/ 161925 h 609235"/>
              <a:gd name="connsiteX352" fmla="*/ 395722 w 607654"/>
              <a:gd name="connsiteY352" fmla="*/ 152400 h 609235"/>
              <a:gd name="connsiteX353" fmla="*/ 456841 w 607654"/>
              <a:gd name="connsiteY353" fmla="*/ 213519 h 609235"/>
              <a:gd name="connsiteX354" fmla="*/ 395722 w 607654"/>
              <a:gd name="connsiteY354" fmla="*/ 274278 h 609235"/>
              <a:gd name="connsiteX355" fmla="*/ 334962 w 607654"/>
              <a:gd name="connsiteY355" fmla="*/ 213519 h 609235"/>
              <a:gd name="connsiteX356" fmla="*/ 395722 w 607654"/>
              <a:gd name="connsiteY356" fmla="*/ 152400 h 609235"/>
              <a:gd name="connsiteX357" fmla="*/ 583359 w 607654"/>
              <a:gd name="connsiteY357" fmla="*/ 133553 h 609235"/>
              <a:gd name="connsiteX358" fmla="*/ 596326 w 607654"/>
              <a:gd name="connsiteY358" fmla="*/ 139641 h 609235"/>
              <a:gd name="connsiteX359" fmla="*/ 590203 w 607654"/>
              <a:gd name="connsiteY359" fmla="*/ 152535 h 609235"/>
              <a:gd name="connsiteX360" fmla="*/ 484668 w 607654"/>
              <a:gd name="connsiteY360" fmla="*/ 189784 h 609235"/>
              <a:gd name="connsiteX361" fmla="*/ 481426 w 607654"/>
              <a:gd name="connsiteY361" fmla="*/ 190142 h 609235"/>
              <a:gd name="connsiteX362" fmla="*/ 471701 w 607654"/>
              <a:gd name="connsiteY362" fmla="*/ 183337 h 609235"/>
              <a:gd name="connsiteX363" fmla="*/ 477824 w 607654"/>
              <a:gd name="connsiteY363" fmla="*/ 170443 h 609235"/>
              <a:gd name="connsiteX364" fmla="*/ 212616 w 607654"/>
              <a:gd name="connsiteY364" fmla="*/ 121236 h 609235"/>
              <a:gd name="connsiteX365" fmla="*/ 314379 w 607654"/>
              <a:gd name="connsiteY365" fmla="*/ 165807 h 609235"/>
              <a:gd name="connsiteX366" fmla="*/ 319396 w 607654"/>
              <a:gd name="connsiteY366" fmla="*/ 179215 h 609235"/>
              <a:gd name="connsiteX367" fmla="*/ 310079 w 607654"/>
              <a:gd name="connsiteY367" fmla="*/ 185375 h 609235"/>
              <a:gd name="connsiteX368" fmla="*/ 306138 w 607654"/>
              <a:gd name="connsiteY368" fmla="*/ 184650 h 609235"/>
              <a:gd name="connsiteX369" fmla="*/ 204375 w 607654"/>
              <a:gd name="connsiteY369" fmla="*/ 140079 h 609235"/>
              <a:gd name="connsiteX370" fmla="*/ 199358 w 607654"/>
              <a:gd name="connsiteY370" fmla="*/ 126672 h 609235"/>
              <a:gd name="connsiteX371" fmla="*/ 212616 w 607654"/>
              <a:gd name="connsiteY371" fmla="*/ 121236 h 609235"/>
              <a:gd name="connsiteX372" fmla="*/ 137141 w 607654"/>
              <a:gd name="connsiteY372" fmla="*/ 111125 h 609235"/>
              <a:gd name="connsiteX373" fmla="*/ 144593 w 607654"/>
              <a:gd name="connsiteY373" fmla="*/ 113340 h 609235"/>
              <a:gd name="connsiteX374" fmla="*/ 150271 w 607654"/>
              <a:gd name="connsiteY374" fmla="*/ 119247 h 609235"/>
              <a:gd name="connsiteX375" fmla="*/ 152045 w 607654"/>
              <a:gd name="connsiteY375" fmla="*/ 127000 h 609235"/>
              <a:gd name="connsiteX376" fmla="*/ 150271 w 607654"/>
              <a:gd name="connsiteY376" fmla="*/ 134753 h 609235"/>
              <a:gd name="connsiteX377" fmla="*/ 144593 w 607654"/>
              <a:gd name="connsiteY377" fmla="*/ 140291 h 609235"/>
              <a:gd name="connsiteX378" fmla="*/ 137141 w 607654"/>
              <a:gd name="connsiteY378" fmla="*/ 142506 h 609235"/>
              <a:gd name="connsiteX379" fmla="*/ 129689 w 607654"/>
              <a:gd name="connsiteY379" fmla="*/ 140291 h 609235"/>
              <a:gd name="connsiteX380" fmla="*/ 124011 w 607654"/>
              <a:gd name="connsiteY380" fmla="*/ 134753 h 609235"/>
              <a:gd name="connsiteX381" fmla="*/ 122237 w 607654"/>
              <a:gd name="connsiteY381" fmla="*/ 127000 h 609235"/>
              <a:gd name="connsiteX382" fmla="*/ 124011 w 607654"/>
              <a:gd name="connsiteY382" fmla="*/ 119247 h 609235"/>
              <a:gd name="connsiteX383" fmla="*/ 129689 w 607654"/>
              <a:gd name="connsiteY383" fmla="*/ 113340 h 609235"/>
              <a:gd name="connsiteX384" fmla="*/ 137141 w 607654"/>
              <a:gd name="connsiteY384" fmla="*/ 111125 h 609235"/>
              <a:gd name="connsiteX385" fmla="*/ 55995 w 607654"/>
              <a:gd name="connsiteY385" fmla="*/ 101167 h 609235"/>
              <a:gd name="connsiteX386" fmla="*/ 40842 w 607654"/>
              <a:gd name="connsiteY386" fmla="*/ 116681 h 609235"/>
              <a:gd name="connsiteX387" fmla="*/ 55995 w 607654"/>
              <a:gd name="connsiteY387" fmla="*/ 131834 h 609235"/>
              <a:gd name="connsiteX388" fmla="*/ 71510 w 607654"/>
              <a:gd name="connsiteY388" fmla="*/ 116681 h 609235"/>
              <a:gd name="connsiteX389" fmla="*/ 55995 w 607654"/>
              <a:gd name="connsiteY389" fmla="*/ 101167 h 609235"/>
              <a:gd name="connsiteX390" fmla="*/ 55995 w 607654"/>
              <a:gd name="connsiteY390" fmla="*/ 80962 h 609235"/>
              <a:gd name="connsiteX391" fmla="*/ 91714 w 607654"/>
              <a:gd name="connsiteY391" fmla="*/ 116681 h 609235"/>
              <a:gd name="connsiteX392" fmla="*/ 55995 w 607654"/>
              <a:gd name="connsiteY392" fmla="*/ 152039 h 609235"/>
              <a:gd name="connsiteX393" fmla="*/ 20637 w 607654"/>
              <a:gd name="connsiteY393" fmla="*/ 116681 h 609235"/>
              <a:gd name="connsiteX394" fmla="*/ 55995 w 607654"/>
              <a:gd name="connsiteY394" fmla="*/ 80962 h 609235"/>
              <a:gd name="connsiteX395" fmla="*/ 532194 w 607654"/>
              <a:gd name="connsiteY395" fmla="*/ 62680 h 609235"/>
              <a:gd name="connsiteX396" fmla="*/ 546554 w 607654"/>
              <a:gd name="connsiteY396" fmla="*/ 62680 h 609235"/>
              <a:gd name="connsiteX397" fmla="*/ 546554 w 607654"/>
              <a:gd name="connsiteY397" fmla="*/ 76660 h 609235"/>
              <a:gd name="connsiteX398" fmla="*/ 467572 w 607654"/>
              <a:gd name="connsiteY398" fmla="*/ 155524 h 609235"/>
              <a:gd name="connsiteX399" fmla="*/ 460391 w 607654"/>
              <a:gd name="connsiteY399" fmla="*/ 158391 h 609235"/>
              <a:gd name="connsiteX400" fmla="*/ 453211 w 607654"/>
              <a:gd name="connsiteY400" fmla="*/ 155524 h 609235"/>
              <a:gd name="connsiteX401" fmla="*/ 453211 w 607654"/>
              <a:gd name="connsiteY401" fmla="*/ 141185 h 609235"/>
              <a:gd name="connsiteX402" fmla="*/ 245277 w 607654"/>
              <a:gd name="connsiteY402" fmla="*/ 62680 h 609235"/>
              <a:gd name="connsiteX403" fmla="*/ 259740 w 607654"/>
              <a:gd name="connsiteY403" fmla="*/ 62680 h 609235"/>
              <a:gd name="connsiteX404" fmla="*/ 338561 w 607654"/>
              <a:gd name="connsiteY404" fmla="*/ 141185 h 609235"/>
              <a:gd name="connsiteX405" fmla="*/ 338561 w 607654"/>
              <a:gd name="connsiteY405" fmla="*/ 155524 h 609235"/>
              <a:gd name="connsiteX406" fmla="*/ 331330 w 607654"/>
              <a:gd name="connsiteY406" fmla="*/ 158391 h 609235"/>
              <a:gd name="connsiteX407" fmla="*/ 324099 w 607654"/>
              <a:gd name="connsiteY407" fmla="*/ 155524 h 609235"/>
              <a:gd name="connsiteX408" fmla="*/ 245277 w 607654"/>
              <a:gd name="connsiteY408" fmla="*/ 76660 h 609235"/>
              <a:gd name="connsiteX409" fmla="*/ 245277 w 607654"/>
              <a:gd name="connsiteY409" fmla="*/ 62680 h 609235"/>
              <a:gd name="connsiteX410" fmla="*/ 146664 w 607654"/>
              <a:gd name="connsiteY410" fmla="*/ 40842 h 609235"/>
              <a:gd name="connsiteX411" fmla="*/ 131587 w 607654"/>
              <a:gd name="connsiteY411" fmla="*/ 55995 h 609235"/>
              <a:gd name="connsiteX412" fmla="*/ 146664 w 607654"/>
              <a:gd name="connsiteY412" fmla="*/ 71509 h 609235"/>
              <a:gd name="connsiteX413" fmla="*/ 162100 w 607654"/>
              <a:gd name="connsiteY413" fmla="*/ 55995 h 609235"/>
              <a:gd name="connsiteX414" fmla="*/ 146664 w 607654"/>
              <a:gd name="connsiteY414" fmla="*/ 40842 h 609235"/>
              <a:gd name="connsiteX415" fmla="*/ 146664 w 607654"/>
              <a:gd name="connsiteY415" fmla="*/ 20637 h 609235"/>
              <a:gd name="connsiteX416" fmla="*/ 182203 w 607654"/>
              <a:gd name="connsiteY416" fmla="*/ 55995 h 609235"/>
              <a:gd name="connsiteX417" fmla="*/ 146664 w 607654"/>
              <a:gd name="connsiteY417" fmla="*/ 91714 h 609235"/>
              <a:gd name="connsiteX418" fmla="*/ 111125 w 607654"/>
              <a:gd name="connsiteY418" fmla="*/ 55995 h 609235"/>
              <a:gd name="connsiteX419" fmla="*/ 146664 w 607654"/>
              <a:gd name="connsiteY419" fmla="*/ 20637 h 609235"/>
              <a:gd name="connsiteX420" fmla="*/ 473155 w 607654"/>
              <a:gd name="connsiteY420" fmla="*/ 14914 h 609235"/>
              <a:gd name="connsiteX421" fmla="*/ 480962 w 607654"/>
              <a:gd name="connsiteY421" fmla="*/ 15230 h 609235"/>
              <a:gd name="connsiteX422" fmla="*/ 486408 w 607654"/>
              <a:gd name="connsiteY422" fmla="*/ 28602 h 609235"/>
              <a:gd name="connsiteX423" fmla="*/ 441747 w 607654"/>
              <a:gd name="connsiteY423" fmla="*/ 131606 h 609235"/>
              <a:gd name="connsiteX424" fmla="*/ 432306 w 607654"/>
              <a:gd name="connsiteY424" fmla="*/ 137751 h 609235"/>
              <a:gd name="connsiteX425" fmla="*/ 428312 w 607654"/>
              <a:gd name="connsiteY425" fmla="*/ 136666 h 609235"/>
              <a:gd name="connsiteX426" fmla="*/ 422866 w 607654"/>
              <a:gd name="connsiteY426" fmla="*/ 123294 h 609235"/>
              <a:gd name="connsiteX427" fmla="*/ 467527 w 607654"/>
              <a:gd name="connsiteY427" fmla="*/ 20290 h 609235"/>
              <a:gd name="connsiteX428" fmla="*/ 473155 w 607654"/>
              <a:gd name="connsiteY428" fmla="*/ 14914 h 609235"/>
              <a:gd name="connsiteX429" fmla="*/ 323859 w 607654"/>
              <a:gd name="connsiteY429" fmla="*/ 9731 h 609235"/>
              <a:gd name="connsiteX430" fmla="*/ 336863 w 607654"/>
              <a:gd name="connsiteY430" fmla="*/ 15830 h 609235"/>
              <a:gd name="connsiteX431" fmla="*/ 374070 w 607654"/>
              <a:gd name="connsiteY431" fmla="*/ 120945 h 609235"/>
              <a:gd name="connsiteX432" fmla="*/ 367929 w 607654"/>
              <a:gd name="connsiteY432" fmla="*/ 133861 h 609235"/>
              <a:gd name="connsiteX433" fmla="*/ 364678 w 607654"/>
              <a:gd name="connsiteY433" fmla="*/ 134578 h 609235"/>
              <a:gd name="connsiteX434" fmla="*/ 354925 w 607654"/>
              <a:gd name="connsiteY434" fmla="*/ 127762 h 609235"/>
              <a:gd name="connsiteX435" fmla="*/ 317718 w 607654"/>
              <a:gd name="connsiteY435" fmla="*/ 22646 h 609235"/>
              <a:gd name="connsiteX436" fmla="*/ 323859 w 607654"/>
              <a:gd name="connsiteY436" fmla="*/ 9731 h 609235"/>
              <a:gd name="connsiteX437" fmla="*/ 395725 w 607654"/>
              <a:gd name="connsiteY437" fmla="*/ 0 h 609235"/>
              <a:gd name="connsiteX438" fmla="*/ 406044 w 607654"/>
              <a:gd name="connsiteY438" fmla="*/ 10025 h 609235"/>
              <a:gd name="connsiteX439" fmla="*/ 406044 w 607654"/>
              <a:gd name="connsiteY439" fmla="*/ 121379 h 609235"/>
              <a:gd name="connsiteX440" fmla="*/ 395725 w 607654"/>
              <a:gd name="connsiteY440" fmla="*/ 131404 h 609235"/>
              <a:gd name="connsiteX441" fmla="*/ 385762 w 607654"/>
              <a:gd name="connsiteY441" fmla="*/ 121379 h 609235"/>
              <a:gd name="connsiteX442" fmla="*/ 385762 w 607654"/>
              <a:gd name="connsiteY442" fmla="*/ 10025 h 609235"/>
              <a:gd name="connsiteX443" fmla="*/ 395725 w 607654"/>
              <a:gd name="connsiteY443" fmla="*/ 0 h 60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</a:cxnLst>
            <a:rect l="l" t="t" r="r" b="b"/>
            <a:pathLst>
              <a:path w="607654" h="609235">
                <a:moveTo>
                  <a:pt x="395725" y="573087"/>
                </a:moveTo>
                <a:cubicBezTo>
                  <a:pt x="401419" y="573087"/>
                  <a:pt x="406044" y="577834"/>
                  <a:pt x="406044" y="583311"/>
                </a:cubicBezTo>
                <a:lnTo>
                  <a:pt x="406044" y="599011"/>
                </a:lnTo>
                <a:cubicBezTo>
                  <a:pt x="406044" y="604488"/>
                  <a:pt x="401419" y="609235"/>
                  <a:pt x="395725" y="609235"/>
                </a:cubicBezTo>
                <a:cubicBezTo>
                  <a:pt x="390388" y="609235"/>
                  <a:pt x="385762" y="604488"/>
                  <a:pt x="385762" y="599011"/>
                </a:cubicBezTo>
                <a:lnTo>
                  <a:pt x="385762" y="583311"/>
                </a:lnTo>
                <a:cubicBezTo>
                  <a:pt x="385762" y="577834"/>
                  <a:pt x="390388" y="573087"/>
                  <a:pt x="395725" y="573087"/>
                </a:cubicBezTo>
                <a:close/>
                <a:moveTo>
                  <a:pt x="395725" y="514350"/>
                </a:moveTo>
                <a:cubicBezTo>
                  <a:pt x="401419" y="514350"/>
                  <a:pt x="406044" y="519101"/>
                  <a:pt x="406044" y="524583"/>
                </a:cubicBezTo>
                <a:lnTo>
                  <a:pt x="406044" y="554552"/>
                </a:lnTo>
                <a:cubicBezTo>
                  <a:pt x="406044" y="560034"/>
                  <a:pt x="401419" y="564785"/>
                  <a:pt x="395725" y="564785"/>
                </a:cubicBezTo>
                <a:cubicBezTo>
                  <a:pt x="390388" y="564785"/>
                  <a:pt x="385762" y="560034"/>
                  <a:pt x="385762" y="554552"/>
                </a:cubicBezTo>
                <a:lnTo>
                  <a:pt x="385762" y="524583"/>
                </a:lnTo>
                <a:cubicBezTo>
                  <a:pt x="385762" y="519101"/>
                  <a:pt x="390388" y="514350"/>
                  <a:pt x="395725" y="514350"/>
                </a:cubicBezTo>
                <a:close/>
                <a:moveTo>
                  <a:pt x="105019" y="469206"/>
                </a:moveTo>
                <a:cubicBezTo>
                  <a:pt x="110148" y="471686"/>
                  <a:pt x="112346" y="477710"/>
                  <a:pt x="109781" y="482671"/>
                </a:cubicBezTo>
                <a:lnTo>
                  <a:pt x="100257" y="500388"/>
                </a:lnTo>
                <a:cubicBezTo>
                  <a:pt x="98425" y="503932"/>
                  <a:pt x="94761" y="506058"/>
                  <a:pt x="91098" y="506058"/>
                </a:cubicBezTo>
                <a:cubicBezTo>
                  <a:pt x="89633" y="506058"/>
                  <a:pt x="88167" y="505703"/>
                  <a:pt x="86702" y="504995"/>
                </a:cubicBezTo>
                <a:cubicBezTo>
                  <a:pt x="81573" y="502514"/>
                  <a:pt x="79375" y="496490"/>
                  <a:pt x="81940" y="491530"/>
                </a:cubicBezTo>
                <a:lnTo>
                  <a:pt x="91098" y="473458"/>
                </a:lnTo>
                <a:cubicBezTo>
                  <a:pt x="93662" y="468851"/>
                  <a:pt x="99890" y="466725"/>
                  <a:pt x="105019" y="469206"/>
                </a:cubicBezTo>
                <a:close/>
                <a:moveTo>
                  <a:pt x="204622" y="460022"/>
                </a:moveTo>
                <a:cubicBezTo>
                  <a:pt x="209351" y="457200"/>
                  <a:pt x="215536" y="458258"/>
                  <a:pt x="218810" y="462845"/>
                </a:cubicBezTo>
                <a:lnTo>
                  <a:pt x="230088" y="479425"/>
                </a:lnTo>
                <a:cubicBezTo>
                  <a:pt x="232998" y="484011"/>
                  <a:pt x="231907" y="490008"/>
                  <a:pt x="227177" y="493183"/>
                </a:cubicBezTo>
                <a:cubicBezTo>
                  <a:pt x="225358" y="494242"/>
                  <a:pt x="223539" y="494947"/>
                  <a:pt x="221357" y="494947"/>
                </a:cubicBezTo>
                <a:cubicBezTo>
                  <a:pt x="218082" y="494947"/>
                  <a:pt x="214808" y="493183"/>
                  <a:pt x="212989" y="490361"/>
                </a:cubicBezTo>
                <a:lnTo>
                  <a:pt x="201711" y="473781"/>
                </a:lnTo>
                <a:cubicBezTo>
                  <a:pt x="198437" y="469195"/>
                  <a:pt x="199892" y="462845"/>
                  <a:pt x="204622" y="460022"/>
                </a:cubicBezTo>
                <a:close/>
                <a:moveTo>
                  <a:pt x="395725" y="455612"/>
                </a:moveTo>
                <a:cubicBezTo>
                  <a:pt x="401419" y="455612"/>
                  <a:pt x="406044" y="460363"/>
                  <a:pt x="406044" y="465845"/>
                </a:cubicBezTo>
                <a:lnTo>
                  <a:pt x="406044" y="495814"/>
                </a:lnTo>
                <a:cubicBezTo>
                  <a:pt x="406044" y="501296"/>
                  <a:pt x="401419" y="506047"/>
                  <a:pt x="395725" y="506047"/>
                </a:cubicBezTo>
                <a:cubicBezTo>
                  <a:pt x="390388" y="506047"/>
                  <a:pt x="385762" y="501296"/>
                  <a:pt x="385762" y="495814"/>
                </a:cubicBezTo>
                <a:lnTo>
                  <a:pt x="385762" y="465845"/>
                </a:lnTo>
                <a:cubicBezTo>
                  <a:pt x="385762" y="460363"/>
                  <a:pt x="390388" y="455612"/>
                  <a:pt x="395725" y="455612"/>
                </a:cubicBezTo>
                <a:close/>
                <a:moveTo>
                  <a:pt x="57766" y="445341"/>
                </a:moveTo>
                <a:cubicBezTo>
                  <a:pt x="61666" y="441325"/>
                  <a:pt x="68046" y="441325"/>
                  <a:pt x="71946" y="445341"/>
                </a:cubicBezTo>
                <a:cubicBezTo>
                  <a:pt x="75846" y="449358"/>
                  <a:pt x="75846" y="455930"/>
                  <a:pt x="71946" y="459946"/>
                </a:cubicBezTo>
                <a:lnTo>
                  <a:pt x="57766" y="474551"/>
                </a:lnTo>
                <a:cubicBezTo>
                  <a:pt x="55994" y="476377"/>
                  <a:pt x="53158" y="477472"/>
                  <a:pt x="50676" y="477472"/>
                </a:cubicBezTo>
                <a:cubicBezTo>
                  <a:pt x="47840" y="477472"/>
                  <a:pt x="45713" y="476377"/>
                  <a:pt x="43586" y="474551"/>
                </a:cubicBezTo>
                <a:cubicBezTo>
                  <a:pt x="39687" y="470535"/>
                  <a:pt x="39687" y="463963"/>
                  <a:pt x="43586" y="459946"/>
                </a:cubicBezTo>
                <a:close/>
                <a:moveTo>
                  <a:pt x="125686" y="426402"/>
                </a:moveTo>
                <a:cubicBezTo>
                  <a:pt x="130796" y="428942"/>
                  <a:pt x="132985" y="435111"/>
                  <a:pt x="130431" y="440191"/>
                </a:cubicBezTo>
                <a:lnTo>
                  <a:pt x="122767" y="455794"/>
                </a:lnTo>
                <a:cubicBezTo>
                  <a:pt x="120942" y="459422"/>
                  <a:pt x="117293" y="461599"/>
                  <a:pt x="113643" y="461599"/>
                </a:cubicBezTo>
                <a:cubicBezTo>
                  <a:pt x="111819" y="461599"/>
                  <a:pt x="110359" y="461236"/>
                  <a:pt x="108899" y="460511"/>
                </a:cubicBezTo>
                <a:cubicBezTo>
                  <a:pt x="103790" y="457971"/>
                  <a:pt x="101600" y="451802"/>
                  <a:pt x="104155" y="446722"/>
                </a:cubicBezTo>
                <a:lnTo>
                  <a:pt x="112183" y="431119"/>
                </a:lnTo>
                <a:cubicBezTo>
                  <a:pt x="114738" y="426039"/>
                  <a:pt x="120942" y="423862"/>
                  <a:pt x="125686" y="426402"/>
                </a:cubicBezTo>
                <a:close/>
                <a:moveTo>
                  <a:pt x="151250" y="425450"/>
                </a:moveTo>
                <a:cubicBezTo>
                  <a:pt x="156944" y="425450"/>
                  <a:pt x="161569" y="430122"/>
                  <a:pt x="161569" y="435872"/>
                </a:cubicBezTo>
                <a:lnTo>
                  <a:pt x="161569" y="597590"/>
                </a:lnTo>
                <a:cubicBezTo>
                  <a:pt x="161569" y="602981"/>
                  <a:pt x="156588" y="607653"/>
                  <a:pt x="151250" y="607653"/>
                </a:cubicBezTo>
                <a:cubicBezTo>
                  <a:pt x="145557" y="607653"/>
                  <a:pt x="141287" y="602981"/>
                  <a:pt x="141287" y="597590"/>
                </a:cubicBezTo>
                <a:lnTo>
                  <a:pt x="141287" y="435872"/>
                </a:lnTo>
                <a:cubicBezTo>
                  <a:pt x="141287" y="430122"/>
                  <a:pt x="145913" y="425450"/>
                  <a:pt x="151250" y="425450"/>
                </a:cubicBezTo>
                <a:close/>
                <a:moveTo>
                  <a:pt x="177271" y="417512"/>
                </a:moveTo>
                <a:cubicBezTo>
                  <a:pt x="182000" y="414337"/>
                  <a:pt x="188549" y="415748"/>
                  <a:pt x="191459" y="420334"/>
                </a:cubicBezTo>
                <a:lnTo>
                  <a:pt x="203101" y="436562"/>
                </a:lnTo>
                <a:cubicBezTo>
                  <a:pt x="206011" y="441148"/>
                  <a:pt x="204920" y="447498"/>
                  <a:pt x="199827" y="450673"/>
                </a:cubicBezTo>
                <a:cubicBezTo>
                  <a:pt x="198371" y="451732"/>
                  <a:pt x="196189" y="452084"/>
                  <a:pt x="194370" y="452084"/>
                </a:cubicBezTo>
                <a:cubicBezTo>
                  <a:pt x="191095" y="452084"/>
                  <a:pt x="187821" y="450673"/>
                  <a:pt x="186002" y="447851"/>
                </a:cubicBezTo>
                <a:lnTo>
                  <a:pt x="174361" y="431270"/>
                </a:lnTo>
                <a:cubicBezTo>
                  <a:pt x="171450" y="426684"/>
                  <a:pt x="172542" y="420334"/>
                  <a:pt x="177271" y="417512"/>
                </a:cubicBezTo>
                <a:close/>
                <a:moveTo>
                  <a:pt x="264350" y="414948"/>
                </a:moveTo>
                <a:lnTo>
                  <a:pt x="267949" y="416414"/>
                </a:lnTo>
                <a:cubicBezTo>
                  <a:pt x="272987" y="418612"/>
                  <a:pt x="275865" y="424473"/>
                  <a:pt x="273706" y="429602"/>
                </a:cubicBezTo>
                <a:cubicBezTo>
                  <a:pt x="271907" y="433631"/>
                  <a:pt x="268309" y="436196"/>
                  <a:pt x="264350" y="436196"/>
                </a:cubicBezTo>
                <a:cubicBezTo>
                  <a:pt x="262911" y="436196"/>
                  <a:pt x="261832" y="436196"/>
                  <a:pt x="260392" y="435463"/>
                </a:cubicBezTo>
                <a:lnTo>
                  <a:pt x="256794" y="433998"/>
                </a:lnTo>
                <a:cubicBezTo>
                  <a:pt x="251756" y="431800"/>
                  <a:pt x="249237" y="425938"/>
                  <a:pt x="251036" y="420810"/>
                </a:cubicBezTo>
                <a:cubicBezTo>
                  <a:pt x="253195" y="415314"/>
                  <a:pt x="258953" y="412750"/>
                  <a:pt x="264350" y="414948"/>
                </a:cubicBezTo>
                <a:close/>
                <a:moveTo>
                  <a:pt x="92691" y="408829"/>
                </a:moveTo>
                <a:cubicBezTo>
                  <a:pt x="96591" y="404812"/>
                  <a:pt x="102972" y="404812"/>
                  <a:pt x="106871" y="408829"/>
                </a:cubicBezTo>
                <a:cubicBezTo>
                  <a:pt x="110771" y="412845"/>
                  <a:pt x="110771" y="419417"/>
                  <a:pt x="106871" y="423434"/>
                </a:cubicBezTo>
                <a:lnTo>
                  <a:pt x="92691" y="438039"/>
                </a:lnTo>
                <a:cubicBezTo>
                  <a:pt x="90564" y="440230"/>
                  <a:pt x="88083" y="440960"/>
                  <a:pt x="85601" y="440960"/>
                </a:cubicBezTo>
                <a:cubicBezTo>
                  <a:pt x="83120" y="440960"/>
                  <a:pt x="80639" y="440230"/>
                  <a:pt x="78512" y="438039"/>
                </a:cubicBezTo>
                <a:cubicBezTo>
                  <a:pt x="74612" y="434023"/>
                  <a:pt x="74612" y="427450"/>
                  <a:pt x="78512" y="423434"/>
                </a:cubicBezTo>
                <a:close/>
                <a:moveTo>
                  <a:pt x="36270" y="399883"/>
                </a:moveTo>
                <a:cubicBezTo>
                  <a:pt x="41719" y="398462"/>
                  <a:pt x="47531" y="401303"/>
                  <a:pt x="48984" y="406630"/>
                </a:cubicBezTo>
                <a:cubicBezTo>
                  <a:pt x="50437" y="412311"/>
                  <a:pt x="47531" y="417638"/>
                  <a:pt x="42082" y="419058"/>
                </a:cubicBezTo>
                <a:lnTo>
                  <a:pt x="22103" y="424740"/>
                </a:lnTo>
                <a:cubicBezTo>
                  <a:pt x="21377" y="425095"/>
                  <a:pt x="20287" y="425095"/>
                  <a:pt x="19561" y="425095"/>
                </a:cubicBezTo>
                <a:cubicBezTo>
                  <a:pt x="14839" y="425095"/>
                  <a:pt x="10843" y="422254"/>
                  <a:pt x="9390" y="417638"/>
                </a:cubicBezTo>
                <a:cubicBezTo>
                  <a:pt x="7937" y="412666"/>
                  <a:pt x="11206" y="406985"/>
                  <a:pt x="16655" y="405209"/>
                </a:cubicBezTo>
                <a:close/>
                <a:moveTo>
                  <a:pt x="395725" y="396875"/>
                </a:moveTo>
                <a:cubicBezTo>
                  <a:pt x="401419" y="396875"/>
                  <a:pt x="406044" y="401626"/>
                  <a:pt x="406044" y="407108"/>
                </a:cubicBezTo>
                <a:lnTo>
                  <a:pt x="406044" y="437077"/>
                </a:lnTo>
                <a:cubicBezTo>
                  <a:pt x="406044" y="442559"/>
                  <a:pt x="401419" y="447310"/>
                  <a:pt x="395725" y="447310"/>
                </a:cubicBezTo>
                <a:cubicBezTo>
                  <a:pt x="390388" y="447310"/>
                  <a:pt x="385762" y="442559"/>
                  <a:pt x="385762" y="437077"/>
                </a:cubicBezTo>
                <a:lnTo>
                  <a:pt x="385762" y="407108"/>
                </a:lnTo>
                <a:cubicBezTo>
                  <a:pt x="385762" y="401626"/>
                  <a:pt x="390388" y="396875"/>
                  <a:pt x="395725" y="396875"/>
                </a:cubicBezTo>
                <a:close/>
                <a:moveTo>
                  <a:pt x="217232" y="395881"/>
                </a:moveTo>
                <a:lnTo>
                  <a:pt x="236120" y="403512"/>
                </a:lnTo>
                <a:cubicBezTo>
                  <a:pt x="241569" y="405692"/>
                  <a:pt x="244112" y="411870"/>
                  <a:pt x="241932" y="416958"/>
                </a:cubicBezTo>
                <a:cubicBezTo>
                  <a:pt x="240479" y="420955"/>
                  <a:pt x="236484" y="423499"/>
                  <a:pt x="232488" y="423499"/>
                </a:cubicBezTo>
                <a:cubicBezTo>
                  <a:pt x="231398" y="423499"/>
                  <a:pt x="229945" y="423135"/>
                  <a:pt x="228856" y="422772"/>
                </a:cubicBezTo>
                <a:lnTo>
                  <a:pt x="209604" y="415141"/>
                </a:lnTo>
                <a:cubicBezTo>
                  <a:pt x="204155" y="412960"/>
                  <a:pt x="201612" y="407146"/>
                  <a:pt x="203792" y="401695"/>
                </a:cubicBezTo>
                <a:cubicBezTo>
                  <a:pt x="205971" y="396607"/>
                  <a:pt x="211783" y="393700"/>
                  <a:pt x="217232" y="395881"/>
                </a:cubicBezTo>
                <a:close/>
                <a:moveTo>
                  <a:pt x="85725" y="385595"/>
                </a:moveTo>
                <a:cubicBezTo>
                  <a:pt x="90854" y="384175"/>
                  <a:pt x="96349" y="387371"/>
                  <a:pt x="98180" y="392697"/>
                </a:cubicBezTo>
                <a:cubicBezTo>
                  <a:pt x="99646" y="398024"/>
                  <a:pt x="96715" y="403705"/>
                  <a:pt x="91220" y="405126"/>
                </a:cubicBezTo>
                <a:lnTo>
                  <a:pt x="71437" y="410452"/>
                </a:lnTo>
                <a:cubicBezTo>
                  <a:pt x="70338" y="410807"/>
                  <a:pt x="69605" y="410807"/>
                  <a:pt x="68506" y="410807"/>
                </a:cubicBezTo>
                <a:cubicBezTo>
                  <a:pt x="64110" y="410807"/>
                  <a:pt x="60081" y="407966"/>
                  <a:pt x="58615" y="403705"/>
                </a:cubicBezTo>
                <a:cubicBezTo>
                  <a:pt x="57150" y="398379"/>
                  <a:pt x="60081" y="392697"/>
                  <a:pt x="65576" y="391277"/>
                </a:cubicBezTo>
                <a:close/>
                <a:moveTo>
                  <a:pt x="222953" y="365125"/>
                </a:moveTo>
                <a:lnTo>
                  <a:pt x="243407" y="365125"/>
                </a:lnTo>
                <a:cubicBezTo>
                  <a:pt x="249252" y="365125"/>
                  <a:pt x="253635" y="369470"/>
                  <a:pt x="253635" y="375263"/>
                </a:cubicBezTo>
                <a:cubicBezTo>
                  <a:pt x="253635" y="381055"/>
                  <a:pt x="249252" y="385400"/>
                  <a:pt x="243407" y="385400"/>
                </a:cubicBezTo>
                <a:lnTo>
                  <a:pt x="222953" y="385400"/>
                </a:lnTo>
                <a:cubicBezTo>
                  <a:pt x="217108" y="385400"/>
                  <a:pt x="212725" y="381055"/>
                  <a:pt x="212725" y="375263"/>
                </a:cubicBezTo>
                <a:cubicBezTo>
                  <a:pt x="212725" y="369470"/>
                  <a:pt x="217108" y="365125"/>
                  <a:pt x="222953" y="365125"/>
                </a:cubicBezTo>
                <a:close/>
                <a:moveTo>
                  <a:pt x="143960" y="356801"/>
                </a:moveTo>
                <a:lnTo>
                  <a:pt x="143960" y="360407"/>
                </a:lnTo>
                <a:cubicBezTo>
                  <a:pt x="143960" y="364012"/>
                  <a:pt x="142530" y="367256"/>
                  <a:pt x="139668" y="369059"/>
                </a:cubicBezTo>
                <a:lnTo>
                  <a:pt x="136807" y="371222"/>
                </a:lnTo>
                <a:lnTo>
                  <a:pt x="140384" y="372303"/>
                </a:lnTo>
                <a:cubicBezTo>
                  <a:pt x="143603" y="373385"/>
                  <a:pt x="146106" y="375909"/>
                  <a:pt x="146822" y="379153"/>
                </a:cubicBezTo>
                <a:lnTo>
                  <a:pt x="147895" y="382398"/>
                </a:lnTo>
                <a:lnTo>
                  <a:pt x="150041" y="379514"/>
                </a:lnTo>
                <a:cubicBezTo>
                  <a:pt x="152187" y="376630"/>
                  <a:pt x="155405" y="375548"/>
                  <a:pt x="158624" y="375188"/>
                </a:cubicBezTo>
                <a:lnTo>
                  <a:pt x="162201" y="375188"/>
                </a:lnTo>
                <a:lnTo>
                  <a:pt x="160055" y="372303"/>
                </a:lnTo>
                <a:cubicBezTo>
                  <a:pt x="157909" y="369780"/>
                  <a:pt x="157551" y="366175"/>
                  <a:pt x="158624" y="362930"/>
                </a:cubicBezTo>
                <a:lnTo>
                  <a:pt x="159697" y="359325"/>
                </a:lnTo>
                <a:lnTo>
                  <a:pt x="156121" y="360407"/>
                </a:lnTo>
                <a:cubicBezTo>
                  <a:pt x="153260" y="361488"/>
                  <a:pt x="149683" y="361128"/>
                  <a:pt x="146822" y="358965"/>
                </a:cubicBezTo>
                <a:close/>
                <a:moveTo>
                  <a:pt x="60938" y="354012"/>
                </a:moveTo>
                <a:lnTo>
                  <a:pt x="81575" y="354012"/>
                </a:lnTo>
                <a:cubicBezTo>
                  <a:pt x="87006" y="354012"/>
                  <a:pt x="91713" y="358719"/>
                  <a:pt x="91713" y="364150"/>
                </a:cubicBezTo>
                <a:cubicBezTo>
                  <a:pt x="91713" y="369943"/>
                  <a:pt x="87006" y="374288"/>
                  <a:pt x="81575" y="374288"/>
                </a:cubicBezTo>
                <a:lnTo>
                  <a:pt x="60938" y="374288"/>
                </a:lnTo>
                <a:cubicBezTo>
                  <a:pt x="55507" y="374288"/>
                  <a:pt x="50800" y="369943"/>
                  <a:pt x="50800" y="364150"/>
                </a:cubicBezTo>
                <a:cubicBezTo>
                  <a:pt x="50800" y="358719"/>
                  <a:pt x="55507" y="354012"/>
                  <a:pt x="60938" y="354012"/>
                </a:cubicBezTo>
                <a:close/>
                <a:moveTo>
                  <a:pt x="10138" y="354012"/>
                </a:moveTo>
                <a:lnTo>
                  <a:pt x="30775" y="354012"/>
                </a:lnTo>
                <a:cubicBezTo>
                  <a:pt x="36206" y="354012"/>
                  <a:pt x="40913" y="358357"/>
                  <a:pt x="40913" y="364150"/>
                </a:cubicBezTo>
                <a:cubicBezTo>
                  <a:pt x="40913" y="369581"/>
                  <a:pt x="36206" y="374288"/>
                  <a:pt x="30775" y="374288"/>
                </a:cubicBezTo>
                <a:lnTo>
                  <a:pt x="10138" y="374288"/>
                </a:lnTo>
                <a:cubicBezTo>
                  <a:pt x="4707" y="374288"/>
                  <a:pt x="0" y="369943"/>
                  <a:pt x="0" y="364150"/>
                </a:cubicBezTo>
                <a:cubicBezTo>
                  <a:pt x="0" y="358719"/>
                  <a:pt x="4707" y="354012"/>
                  <a:pt x="10138" y="354012"/>
                </a:cubicBezTo>
                <a:close/>
                <a:moveTo>
                  <a:pt x="395725" y="338137"/>
                </a:moveTo>
                <a:cubicBezTo>
                  <a:pt x="401419" y="338137"/>
                  <a:pt x="406044" y="342888"/>
                  <a:pt x="406044" y="348370"/>
                </a:cubicBezTo>
                <a:lnTo>
                  <a:pt x="406044" y="378339"/>
                </a:lnTo>
                <a:cubicBezTo>
                  <a:pt x="406044" y="383821"/>
                  <a:pt x="401419" y="388572"/>
                  <a:pt x="395725" y="388572"/>
                </a:cubicBezTo>
                <a:cubicBezTo>
                  <a:pt x="390388" y="388572"/>
                  <a:pt x="385762" y="383821"/>
                  <a:pt x="385762" y="378339"/>
                </a:cubicBezTo>
                <a:lnTo>
                  <a:pt x="385762" y="348370"/>
                </a:lnTo>
                <a:cubicBezTo>
                  <a:pt x="385762" y="342888"/>
                  <a:pt x="390388" y="338137"/>
                  <a:pt x="395725" y="338137"/>
                </a:cubicBezTo>
                <a:close/>
                <a:moveTo>
                  <a:pt x="128939" y="327240"/>
                </a:moveTo>
                <a:cubicBezTo>
                  <a:pt x="132515" y="325437"/>
                  <a:pt x="136450" y="325798"/>
                  <a:pt x="139668" y="328321"/>
                </a:cubicBezTo>
                <a:lnTo>
                  <a:pt x="154690" y="339497"/>
                </a:lnTo>
                <a:lnTo>
                  <a:pt x="172573" y="333368"/>
                </a:lnTo>
                <a:cubicBezTo>
                  <a:pt x="176150" y="332287"/>
                  <a:pt x="180084" y="333368"/>
                  <a:pt x="182945" y="335892"/>
                </a:cubicBezTo>
                <a:cubicBezTo>
                  <a:pt x="185807" y="338776"/>
                  <a:pt x="186522" y="342742"/>
                  <a:pt x="185449" y="346347"/>
                </a:cubicBezTo>
                <a:lnTo>
                  <a:pt x="179369" y="364372"/>
                </a:lnTo>
                <a:lnTo>
                  <a:pt x="190814" y="379874"/>
                </a:lnTo>
                <a:cubicBezTo>
                  <a:pt x="192960" y="382758"/>
                  <a:pt x="193317" y="387084"/>
                  <a:pt x="191529" y="390329"/>
                </a:cubicBezTo>
                <a:cubicBezTo>
                  <a:pt x="189741" y="393934"/>
                  <a:pt x="186522" y="395737"/>
                  <a:pt x="182588" y="395737"/>
                </a:cubicBezTo>
                <a:lnTo>
                  <a:pt x="163632" y="395737"/>
                </a:lnTo>
                <a:lnTo>
                  <a:pt x="152544" y="411238"/>
                </a:lnTo>
                <a:cubicBezTo>
                  <a:pt x="150756" y="413762"/>
                  <a:pt x="147537" y="415565"/>
                  <a:pt x="144318" y="415565"/>
                </a:cubicBezTo>
                <a:cubicBezTo>
                  <a:pt x="143960" y="415565"/>
                  <a:pt x="143245" y="415565"/>
                  <a:pt x="142530" y="415204"/>
                </a:cubicBezTo>
                <a:cubicBezTo>
                  <a:pt x="138595" y="414483"/>
                  <a:pt x="135734" y="411960"/>
                  <a:pt x="134661" y="408354"/>
                </a:cubicBezTo>
                <a:lnTo>
                  <a:pt x="128939" y="389968"/>
                </a:lnTo>
                <a:lnTo>
                  <a:pt x="111056" y="384561"/>
                </a:lnTo>
                <a:cubicBezTo>
                  <a:pt x="107479" y="383479"/>
                  <a:pt x="104260" y="380235"/>
                  <a:pt x="103902" y="376269"/>
                </a:cubicBezTo>
                <a:cubicBezTo>
                  <a:pt x="103187" y="372664"/>
                  <a:pt x="104975" y="368698"/>
                  <a:pt x="108194" y="366535"/>
                </a:cubicBezTo>
                <a:lnTo>
                  <a:pt x="123574" y="355359"/>
                </a:lnTo>
                <a:lnTo>
                  <a:pt x="123574" y="336613"/>
                </a:lnTo>
                <a:cubicBezTo>
                  <a:pt x="123574" y="332647"/>
                  <a:pt x="125720" y="329042"/>
                  <a:pt x="128939" y="327240"/>
                </a:cubicBezTo>
                <a:close/>
                <a:moveTo>
                  <a:pt x="71315" y="324417"/>
                </a:moveTo>
                <a:lnTo>
                  <a:pt x="90365" y="332676"/>
                </a:lnTo>
                <a:cubicBezTo>
                  <a:pt x="95494" y="334830"/>
                  <a:pt x="98059" y="340575"/>
                  <a:pt x="95861" y="345962"/>
                </a:cubicBezTo>
                <a:cubicBezTo>
                  <a:pt x="94029" y="349552"/>
                  <a:pt x="90365" y="352066"/>
                  <a:pt x="86336" y="352066"/>
                </a:cubicBezTo>
                <a:cubicBezTo>
                  <a:pt x="84870" y="352066"/>
                  <a:pt x="83771" y="351707"/>
                  <a:pt x="82306" y="351348"/>
                </a:cubicBezTo>
                <a:lnTo>
                  <a:pt x="63255" y="343089"/>
                </a:lnTo>
                <a:cubicBezTo>
                  <a:pt x="58126" y="340934"/>
                  <a:pt x="55562" y="335189"/>
                  <a:pt x="57760" y="329803"/>
                </a:cubicBezTo>
                <a:cubicBezTo>
                  <a:pt x="59958" y="324776"/>
                  <a:pt x="66186" y="322262"/>
                  <a:pt x="71315" y="324417"/>
                </a:cubicBezTo>
                <a:close/>
                <a:moveTo>
                  <a:pt x="212508" y="314826"/>
                </a:moveTo>
                <a:cubicBezTo>
                  <a:pt x="216838" y="311150"/>
                  <a:pt x="223332" y="312253"/>
                  <a:pt x="226579" y="316665"/>
                </a:cubicBezTo>
                <a:cubicBezTo>
                  <a:pt x="229826" y="321444"/>
                  <a:pt x="229105" y="328061"/>
                  <a:pt x="224414" y="331370"/>
                </a:cubicBezTo>
                <a:lnTo>
                  <a:pt x="208179" y="343869"/>
                </a:lnTo>
                <a:cubicBezTo>
                  <a:pt x="206375" y="344972"/>
                  <a:pt x="204210" y="345707"/>
                  <a:pt x="202045" y="345707"/>
                </a:cubicBezTo>
                <a:cubicBezTo>
                  <a:pt x="199159" y="345707"/>
                  <a:pt x="195912" y="344237"/>
                  <a:pt x="194108" y="341664"/>
                </a:cubicBezTo>
                <a:cubicBezTo>
                  <a:pt x="190500" y="337252"/>
                  <a:pt x="191582" y="330635"/>
                  <a:pt x="195912" y="327326"/>
                </a:cubicBezTo>
                <a:close/>
                <a:moveTo>
                  <a:pt x="23920" y="305051"/>
                </a:moveTo>
                <a:lnTo>
                  <a:pt x="42808" y="313144"/>
                </a:lnTo>
                <a:cubicBezTo>
                  <a:pt x="47894" y="315351"/>
                  <a:pt x="50437" y="321604"/>
                  <a:pt x="47894" y="326754"/>
                </a:cubicBezTo>
                <a:cubicBezTo>
                  <a:pt x="46441" y="330800"/>
                  <a:pt x="42445" y="333007"/>
                  <a:pt x="38450" y="333007"/>
                </a:cubicBezTo>
                <a:cubicBezTo>
                  <a:pt x="37360" y="333007"/>
                  <a:pt x="35907" y="333007"/>
                  <a:pt x="34454" y="332272"/>
                </a:cubicBezTo>
                <a:lnTo>
                  <a:pt x="15928" y="324179"/>
                </a:lnTo>
                <a:cubicBezTo>
                  <a:pt x="10480" y="321604"/>
                  <a:pt x="7937" y="315719"/>
                  <a:pt x="10480" y="310569"/>
                </a:cubicBezTo>
                <a:cubicBezTo>
                  <a:pt x="12659" y="305051"/>
                  <a:pt x="18471" y="303212"/>
                  <a:pt x="23920" y="305051"/>
                </a:cubicBezTo>
                <a:close/>
                <a:moveTo>
                  <a:pt x="76184" y="294176"/>
                </a:moveTo>
                <a:cubicBezTo>
                  <a:pt x="80931" y="290512"/>
                  <a:pt x="87138" y="291245"/>
                  <a:pt x="90789" y="295641"/>
                </a:cubicBezTo>
                <a:lnTo>
                  <a:pt x="103934" y="311028"/>
                </a:lnTo>
                <a:cubicBezTo>
                  <a:pt x="107585" y="315424"/>
                  <a:pt x="107220" y="322018"/>
                  <a:pt x="102838" y="325681"/>
                </a:cubicBezTo>
                <a:cubicBezTo>
                  <a:pt x="100648" y="327147"/>
                  <a:pt x="98457" y="328246"/>
                  <a:pt x="96266" y="328246"/>
                </a:cubicBezTo>
                <a:cubicBezTo>
                  <a:pt x="92980" y="328246"/>
                  <a:pt x="90059" y="326780"/>
                  <a:pt x="88233" y="324216"/>
                </a:cubicBezTo>
                <a:lnTo>
                  <a:pt x="75088" y="308463"/>
                </a:lnTo>
                <a:cubicBezTo>
                  <a:pt x="71437" y="304067"/>
                  <a:pt x="72167" y="297839"/>
                  <a:pt x="76184" y="294176"/>
                </a:cubicBezTo>
                <a:close/>
                <a:moveTo>
                  <a:pt x="395725" y="293687"/>
                </a:moveTo>
                <a:cubicBezTo>
                  <a:pt x="401419" y="293687"/>
                  <a:pt x="406044" y="298273"/>
                  <a:pt x="406044" y="303918"/>
                </a:cubicBezTo>
                <a:lnTo>
                  <a:pt x="406044" y="318382"/>
                </a:lnTo>
                <a:cubicBezTo>
                  <a:pt x="406044" y="323673"/>
                  <a:pt x="401419" y="328259"/>
                  <a:pt x="395725" y="328259"/>
                </a:cubicBezTo>
                <a:cubicBezTo>
                  <a:pt x="390388" y="328259"/>
                  <a:pt x="385762" y="323673"/>
                  <a:pt x="385762" y="318382"/>
                </a:cubicBezTo>
                <a:lnTo>
                  <a:pt x="385762" y="303918"/>
                </a:lnTo>
                <a:cubicBezTo>
                  <a:pt x="385762" y="298273"/>
                  <a:pt x="390388" y="293687"/>
                  <a:pt x="395725" y="293687"/>
                </a:cubicBezTo>
                <a:close/>
                <a:moveTo>
                  <a:pt x="243325" y="293687"/>
                </a:moveTo>
                <a:lnTo>
                  <a:pt x="243681" y="293687"/>
                </a:lnTo>
                <a:cubicBezTo>
                  <a:pt x="249019" y="293687"/>
                  <a:pt x="253644" y="298394"/>
                  <a:pt x="253644" y="304187"/>
                </a:cubicBezTo>
                <a:cubicBezTo>
                  <a:pt x="253644" y="309618"/>
                  <a:pt x="249019" y="313963"/>
                  <a:pt x="243681" y="313963"/>
                </a:cubicBezTo>
                <a:cubicBezTo>
                  <a:pt x="237988" y="313963"/>
                  <a:pt x="233362" y="309618"/>
                  <a:pt x="233362" y="304187"/>
                </a:cubicBezTo>
                <a:cubicBezTo>
                  <a:pt x="233362" y="298394"/>
                  <a:pt x="237988" y="293687"/>
                  <a:pt x="243325" y="293687"/>
                </a:cubicBezTo>
                <a:close/>
                <a:moveTo>
                  <a:pt x="422237" y="287549"/>
                </a:moveTo>
                <a:cubicBezTo>
                  <a:pt x="427623" y="285750"/>
                  <a:pt x="433368" y="288628"/>
                  <a:pt x="435523" y="294025"/>
                </a:cubicBezTo>
                <a:lnTo>
                  <a:pt x="472508" y="398719"/>
                </a:lnTo>
                <a:cubicBezTo>
                  <a:pt x="474303" y="404116"/>
                  <a:pt x="471430" y="409872"/>
                  <a:pt x="466044" y="411671"/>
                </a:cubicBezTo>
                <a:cubicBezTo>
                  <a:pt x="464967" y="412031"/>
                  <a:pt x="463890" y="412390"/>
                  <a:pt x="462813" y="412390"/>
                </a:cubicBezTo>
                <a:cubicBezTo>
                  <a:pt x="458504" y="412390"/>
                  <a:pt x="454913" y="409872"/>
                  <a:pt x="453477" y="405555"/>
                </a:cubicBezTo>
                <a:lnTo>
                  <a:pt x="416133" y="300501"/>
                </a:lnTo>
                <a:cubicBezTo>
                  <a:pt x="414337" y="295464"/>
                  <a:pt x="417210" y="289348"/>
                  <a:pt x="422237" y="287549"/>
                </a:cubicBezTo>
                <a:close/>
                <a:moveTo>
                  <a:pt x="362043" y="286316"/>
                </a:moveTo>
                <a:cubicBezTo>
                  <a:pt x="367035" y="288469"/>
                  <a:pt x="369531" y="294571"/>
                  <a:pt x="367391" y="299595"/>
                </a:cubicBezTo>
                <a:lnTo>
                  <a:pt x="323536" y="401527"/>
                </a:lnTo>
                <a:cubicBezTo>
                  <a:pt x="321753" y="405116"/>
                  <a:pt x="318187" y="407628"/>
                  <a:pt x="314265" y="407628"/>
                </a:cubicBezTo>
                <a:cubicBezTo>
                  <a:pt x="312839" y="407628"/>
                  <a:pt x="311413" y="407269"/>
                  <a:pt x="310343" y="406551"/>
                </a:cubicBezTo>
                <a:cubicBezTo>
                  <a:pt x="304995" y="404398"/>
                  <a:pt x="303212" y="398655"/>
                  <a:pt x="304995" y="393272"/>
                </a:cubicBezTo>
                <a:lnTo>
                  <a:pt x="348851" y="291340"/>
                </a:lnTo>
                <a:cubicBezTo>
                  <a:pt x="350990" y="286316"/>
                  <a:pt x="357051" y="284162"/>
                  <a:pt x="362043" y="286316"/>
                </a:cubicBezTo>
                <a:close/>
                <a:moveTo>
                  <a:pt x="196145" y="277140"/>
                </a:moveTo>
                <a:cubicBezTo>
                  <a:pt x="201083" y="279643"/>
                  <a:pt x="202847" y="285721"/>
                  <a:pt x="200378" y="290727"/>
                </a:cubicBezTo>
                <a:lnTo>
                  <a:pt x="191558" y="308247"/>
                </a:lnTo>
                <a:cubicBezTo>
                  <a:pt x="189795" y="311822"/>
                  <a:pt x="186267" y="313968"/>
                  <a:pt x="182739" y="313968"/>
                </a:cubicBezTo>
                <a:cubicBezTo>
                  <a:pt x="181328" y="313968"/>
                  <a:pt x="179564" y="313610"/>
                  <a:pt x="178506" y="312895"/>
                </a:cubicBezTo>
                <a:cubicBezTo>
                  <a:pt x="173214" y="310392"/>
                  <a:pt x="171450" y="304314"/>
                  <a:pt x="173920" y="299666"/>
                </a:cubicBezTo>
                <a:lnTo>
                  <a:pt x="182739" y="281431"/>
                </a:lnTo>
                <a:cubicBezTo>
                  <a:pt x="185208" y="276425"/>
                  <a:pt x="191206" y="274637"/>
                  <a:pt x="196145" y="277140"/>
                </a:cubicBezTo>
                <a:close/>
                <a:moveTo>
                  <a:pt x="111506" y="271323"/>
                </a:moveTo>
                <a:cubicBezTo>
                  <a:pt x="117294" y="269875"/>
                  <a:pt x="122719" y="273134"/>
                  <a:pt x="124166" y="278565"/>
                </a:cubicBezTo>
                <a:lnTo>
                  <a:pt x="129954" y="298116"/>
                </a:lnTo>
                <a:cubicBezTo>
                  <a:pt x="131400" y="303547"/>
                  <a:pt x="128145" y="308978"/>
                  <a:pt x="122719" y="310426"/>
                </a:cubicBezTo>
                <a:cubicBezTo>
                  <a:pt x="121634" y="310788"/>
                  <a:pt x="120911" y="310788"/>
                  <a:pt x="119826" y="310788"/>
                </a:cubicBezTo>
                <a:cubicBezTo>
                  <a:pt x="115485" y="310788"/>
                  <a:pt x="111506" y="307892"/>
                  <a:pt x="110060" y="303909"/>
                </a:cubicBezTo>
                <a:lnTo>
                  <a:pt x="104634" y="283996"/>
                </a:lnTo>
                <a:cubicBezTo>
                  <a:pt x="103187" y="278565"/>
                  <a:pt x="106081" y="273134"/>
                  <a:pt x="111506" y="271323"/>
                </a:cubicBezTo>
                <a:close/>
                <a:moveTo>
                  <a:pt x="322747" y="270659"/>
                </a:moveTo>
                <a:cubicBezTo>
                  <a:pt x="326674" y="266700"/>
                  <a:pt x="333100" y="266700"/>
                  <a:pt x="337028" y="270659"/>
                </a:cubicBezTo>
                <a:cubicBezTo>
                  <a:pt x="340955" y="274618"/>
                  <a:pt x="340955" y="281097"/>
                  <a:pt x="337028" y="285056"/>
                </a:cubicBezTo>
                <a:lnTo>
                  <a:pt x="270621" y="352001"/>
                </a:lnTo>
                <a:cubicBezTo>
                  <a:pt x="268478" y="354160"/>
                  <a:pt x="265979" y="355240"/>
                  <a:pt x="263480" y="355240"/>
                </a:cubicBezTo>
                <a:cubicBezTo>
                  <a:pt x="260624" y="355240"/>
                  <a:pt x="258125" y="354160"/>
                  <a:pt x="256339" y="352001"/>
                </a:cubicBezTo>
                <a:cubicBezTo>
                  <a:pt x="252412" y="348042"/>
                  <a:pt x="252412" y="341923"/>
                  <a:pt x="256339" y="337964"/>
                </a:cubicBezTo>
                <a:close/>
                <a:moveTo>
                  <a:pt x="453211" y="270643"/>
                </a:moveTo>
                <a:cubicBezTo>
                  <a:pt x="457160" y="266700"/>
                  <a:pt x="463623" y="266700"/>
                  <a:pt x="467572" y="270643"/>
                </a:cubicBezTo>
                <a:lnTo>
                  <a:pt x="546554" y="349147"/>
                </a:lnTo>
                <a:cubicBezTo>
                  <a:pt x="550503" y="353090"/>
                  <a:pt x="550503" y="359543"/>
                  <a:pt x="546554" y="363486"/>
                </a:cubicBezTo>
                <a:cubicBezTo>
                  <a:pt x="544400" y="365278"/>
                  <a:pt x="542246" y="366354"/>
                  <a:pt x="539374" y="366354"/>
                </a:cubicBezTo>
                <a:cubicBezTo>
                  <a:pt x="536861" y="366354"/>
                  <a:pt x="533989" y="365278"/>
                  <a:pt x="532194" y="363486"/>
                </a:cubicBezTo>
                <a:lnTo>
                  <a:pt x="453211" y="284982"/>
                </a:lnTo>
                <a:cubicBezTo>
                  <a:pt x="449262" y="281039"/>
                  <a:pt x="449262" y="274586"/>
                  <a:pt x="453211" y="270643"/>
                </a:cubicBezTo>
                <a:close/>
                <a:moveTo>
                  <a:pt x="151250" y="263525"/>
                </a:moveTo>
                <a:cubicBezTo>
                  <a:pt x="156588" y="263525"/>
                  <a:pt x="161569" y="267870"/>
                  <a:pt x="161569" y="273663"/>
                </a:cubicBezTo>
                <a:lnTo>
                  <a:pt x="161569" y="293938"/>
                </a:lnTo>
                <a:cubicBezTo>
                  <a:pt x="161569" y="299731"/>
                  <a:pt x="156944" y="304438"/>
                  <a:pt x="151250" y="304438"/>
                </a:cubicBezTo>
                <a:cubicBezTo>
                  <a:pt x="145913" y="304438"/>
                  <a:pt x="141287" y="299731"/>
                  <a:pt x="141287" y="293938"/>
                </a:cubicBezTo>
                <a:lnTo>
                  <a:pt x="141287" y="273663"/>
                </a:lnTo>
                <a:cubicBezTo>
                  <a:pt x="141287" y="267870"/>
                  <a:pt x="145557" y="263525"/>
                  <a:pt x="151250" y="263525"/>
                </a:cubicBezTo>
                <a:close/>
                <a:moveTo>
                  <a:pt x="44434" y="256076"/>
                </a:moveTo>
                <a:cubicBezTo>
                  <a:pt x="48815" y="252412"/>
                  <a:pt x="55387" y="253145"/>
                  <a:pt x="59039" y="257541"/>
                </a:cubicBezTo>
                <a:lnTo>
                  <a:pt x="72184" y="273294"/>
                </a:lnTo>
                <a:cubicBezTo>
                  <a:pt x="75835" y="277690"/>
                  <a:pt x="75105" y="284284"/>
                  <a:pt x="70723" y="287948"/>
                </a:cubicBezTo>
                <a:cubicBezTo>
                  <a:pt x="68897" y="289413"/>
                  <a:pt x="66706" y="290146"/>
                  <a:pt x="64151" y="290146"/>
                </a:cubicBezTo>
                <a:cubicBezTo>
                  <a:pt x="61230" y="290146"/>
                  <a:pt x="58309" y="289047"/>
                  <a:pt x="56483" y="286482"/>
                </a:cubicBezTo>
                <a:lnTo>
                  <a:pt x="42973" y="270729"/>
                </a:lnTo>
                <a:cubicBezTo>
                  <a:pt x="39687" y="266333"/>
                  <a:pt x="40052" y="259739"/>
                  <a:pt x="44434" y="256076"/>
                </a:cubicBezTo>
                <a:close/>
                <a:moveTo>
                  <a:pt x="483720" y="238711"/>
                </a:moveTo>
                <a:lnTo>
                  <a:pt x="585842" y="283282"/>
                </a:lnTo>
                <a:cubicBezTo>
                  <a:pt x="590859" y="285819"/>
                  <a:pt x="593367" y="291616"/>
                  <a:pt x="591217" y="296690"/>
                </a:cubicBezTo>
                <a:cubicBezTo>
                  <a:pt x="589425" y="300676"/>
                  <a:pt x="585842" y="302850"/>
                  <a:pt x="581900" y="302850"/>
                </a:cubicBezTo>
                <a:cubicBezTo>
                  <a:pt x="580467" y="302850"/>
                  <a:pt x="579034" y="302850"/>
                  <a:pt x="577601" y="302125"/>
                </a:cubicBezTo>
                <a:lnTo>
                  <a:pt x="475479" y="257554"/>
                </a:lnTo>
                <a:cubicBezTo>
                  <a:pt x="470462" y="255380"/>
                  <a:pt x="468312" y="249220"/>
                  <a:pt x="470462" y="244147"/>
                </a:cubicBezTo>
                <a:cubicBezTo>
                  <a:pt x="472612" y="239074"/>
                  <a:pt x="478345" y="236537"/>
                  <a:pt x="483720" y="238711"/>
                </a:cubicBezTo>
                <a:close/>
                <a:moveTo>
                  <a:pt x="217761" y="234315"/>
                </a:moveTo>
                <a:cubicBezTo>
                  <a:pt x="222871" y="236855"/>
                  <a:pt x="225060" y="243024"/>
                  <a:pt x="222506" y="248104"/>
                </a:cubicBezTo>
                <a:lnTo>
                  <a:pt x="214842" y="263707"/>
                </a:lnTo>
                <a:cubicBezTo>
                  <a:pt x="212652" y="267335"/>
                  <a:pt x="209368" y="269512"/>
                  <a:pt x="205353" y="269512"/>
                </a:cubicBezTo>
                <a:cubicBezTo>
                  <a:pt x="203894" y="269512"/>
                  <a:pt x="202069" y="268787"/>
                  <a:pt x="200609" y="268061"/>
                </a:cubicBezTo>
                <a:cubicBezTo>
                  <a:pt x="195500" y="265884"/>
                  <a:pt x="193675" y="259715"/>
                  <a:pt x="196230" y="254635"/>
                </a:cubicBezTo>
                <a:lnTo>
                  <a:pt x="203894" y="239032"/>
                </a:lnTo>
                <a:cubicBezTo>
                  <a:pt x="206448" y="233952"/>
                  <a:pt x="212652" y="231775"/>
                  <a:pt x="217761" y="234315"/>
                </a:cubicBezTo>
                <a:close/>
                <a:moveTo>
                  <a:pt x="305559" y="231604"/>
                </a:moveTo>
                <a:cubicBezTo>
                  <a:pt x="310957" y="230187"/>
                  <a:pt x="317076" y="233021"/>
                  <a:pt x="318516" y="238335"/>
                </a:cubicBezTo>
                <a:cubicBezTo>
                  <a:pt x="320315" y="243294"/>
                  <a:pt x="317076" y="248962"/>
                  <a:pt x="312037" y="250733"/>
                </a:cubicBezTo>
                <a:lnTo>
                  <a:pt x="246172" y="271987"/>
                </a:lnTo>
                <a:cubicBezTo>
                  <a:pt x="245092" y="272342"/>
                  <a:pt x="244012" y="272696"/>
                  <a:pt x="242933" y="272696"/>
                </a:cubicBezTo>
                <a:cubicBezTo>
                  <a:pt x="238614" y="272696"/>
                  <a:pt x="234654" y="269862"/>
                  <a:pt x="233215" y="265611"/>
                </a:cubicBezTo>
                <a:cubicBezTo>
                  <a:pt x="231775" y="260652"/>
                  <a:pt x="234654" y="254984"/>
                  <a:pt x="239693" y="253213"/>
                </a:cubicBezTo>
                <a:close/>
                <a:moveTo>
                  <a:pt x="99168" y="223698"/>
                </a:moveTo>
                <a:cubicBezTo>
                  <a:pt x="104594" y="222250"/>
                  <a:pt x="110019" y="225147"/>
                  <a:pt x="111828" y="230578"/>
                </a:cubicBezTo>
                <a:lnTo>
                  <a:pt x="117254" y="250129"/>
                </a:lnTo>
                <a:cubicBezTo>
                  <a:pt x="118700" y="255560"/>
                  <a:pt x="115807" y="261353"/>
                  <a:pt x="110381" y="262801"/>
                </a:cubicBezTo>
                <a:cubicBezTo>
                  <a:pt x="109296" y="263163"/>
                  <a:pt x="108211" y="263163"/>
                  <a:pt x="107487" y="263163"/>
                </a:cubicBezTo>
                <a:cubicBezTo>
                  <a:pt x="103147" y="263163"/>
                  <a:pt x="98806" y="260267"/>
                  <a:pt x="97721" y="255922"/>
                </a:cubicBezTo>
                <a:lnTo>
                  <a:pt x="91934" y="236371"/>
                </a:lnTo>
                <a:cubicBezTo>
                  <a:pt x="90487" y="230940"/>
                  <a:pt x="93381" y="225147"/>
                  <a:pt x="99168" y="223698"/>
                </a:cubicBezTo>
                <a:close/>
                <a:moveTo>
                  <a:pt x="151250" y="212725"/>
                </a:moveTo>
                <a:cubicBezTo>
                  <a:pt x="156588" y="212725"/>
                  <a:pt x="161569" y="217108"/>
                  <a:pt x="161569" y="222952"/>
                </a:cubicBezTo>
                <a:lnTo>
                  <a:pt x="161569" y="243407"/>
                </a:lnTo>
                <a:cubicBezTo>
                  <a:pt x="161569" y="249252"/>
                  <a:pt x="156588" y="253635"/>
                  <a:pt x="151250" y="253635"/>
                </a:cubicBezTo>
                <a:cubicBezTo>
                  <a:pt x="145557" y="253635"/>
                  <a:pt x="141287" y="249252"/>
                  <a:pt x="141287" y="243407"/>
                </a:cubicBezTo>
                <a:lnTo>
                  <a:pt x="141287" y="222952"/>
                </a:lnTo>
                <a:cubicBezTo>
                  <a:pt x="141287" y="217108"/>
                  <a:pt x="145557" y="212725"/>
                  <a:pt x="151250" y="212725"/>
                </a:cubicBezTo>
                <a:close/>
                <a:moveTo>
                  <a:pt x="486275" y="203200"/>
                </a:moveTo>
                <a:lnTo>
                  <a:pt x="597629" y="203200"/>
                </a:lnTo>
                <a:cubicBezTo>
                  <a:pt x="602999" y="203200"/>
                  <a:pt x="607654" y="207826"/>
                  <a:pt x="607654" y="213519"/>
                </a:cubicBezTo>
                <a:cubicBezTo>
                  <a:pt x="607654" y="218856"/>
                  <a:pt x="602999" y="223481"/>
                  <a:pt x="597629" y="223481"/>
                </a:cubicBezTo>
                <a:lnTo>
                  <a:pt x="486275" y="223481"/>
                </a:lnTo>
                <a:cubicBezTo>
                  <a:pt x="480905" y="223481"/>
                  <a:pt x="476250" y="218856"/>
                  <a:pt x="476250" y="213519"/>
                </a:cubicBezTo>
                <a:cubicBezTo>
                  <a:pt x="476250" y="207826"/>
                  <a:pt x="480905" y="203200"/>
                  <a:pt x="486275" y="203200"/>
                </a:cubicBezTo>
                <a:close/>
                <a:moveTo>
                  <a:pt x="192615" y="203200"/>
                </a:moveTo>
                <a:lnTo>
                  <a:pt x="304272" y="203200"/>
                </a:lnTo>
                <a:cubicBezTo>
                  <a:pt x="309299" y="203200"/>
                  <a:pt x="313966" y="207826"/>
                  <a:pt x="313966" y="213519"/>
                </a:cubicBezTo>
                <a:cubicBezTo>
                  <a:pt x="313966" y="218856"/>
                  <a:pt x="309299" y="223481"/>
                  <a:pt x="304272" y="223481"/>
                </a:cubicBezTo>
                <a:lnTo>
                  <a:pt x="192615" y="223481"/>
                </a:lnTo>
                <a:cubicBezTo>
                  <a:pt x="187229" y="223481"/>
                  <a:pt x="182562" y="218856"/>
                  <a:pt x="182562" y="213519"/>
                </a:cubicBezTo>
                <a:cubicBezTo>
                  <a:pt x="182562" y="207826"/>
                  <a:pt x="187229" y="203200"/>
                  <a:pt x="192615" y="203200"/>
                </a:cubicBezTo>
                <a:close/>
                <a:moveTo>
                  <a:pt x="395722" y="172893"/>
                </a:moveTo>
                <a:cubicBezTo>
                  <a:pt x="373431" y="172893"/>
                  <a:pt x="355455" y="190869"/>
                  <a:pt x="355455" y="213519"/>
                </a:cubicBezTo>
                <a:cubicBezTo>
                  <a:pt x="355455" y="235809"/>
                  <a:pt x="373431" y="253785"/>
                  <a:pt x="395722" y="253785"/>
                </a:cubicBezTo>
                <a:cubicBezTo>
                  <a:pt x="418372" y="253785"/>
                  <a:pt x="436348" y="235809"/>
                  <a:pt x="436348" y="213519"/>
                </a:cubicBezTo>
                <a:cubicBezTo>
                  <a:pt x="436348" y="190869"/>
                  <a:pt x="418372" y="172893"/>
                  <a:pt x="395722" y="172893"/>
                </a:cubicBezTo>
                <a:close/>
                <a:moveTo>
                  <a:pt x="86341" y="161925"/>
                </a:moveTo>
                <a:cubicBezTo>
                  <a:pt x="89180" y="161925"/>
                  <a:pt x="91309" y="162280"/>
                  <a:pt x="93793" y="163699"/>
                </a:cubicBezTo>
                <a:cubicBezTo>
                  <a:pt x="96277" y="165119"/>
                  <a:pt x="98052" y="166893"/>
                  <a:pt x="99471" y="169377"/>
                </a:cubicBezTo>
                <a:cubicBezTo>
                  <a:pt x="100536" y="171506"/>
                  <a:pt x="101245" y="173990"/>
                  <a:pt x="101245" y="176829"/>
                </a:cubicBezTo>
                <a:cubicBezTo>
                  <a:pt x="101245" y="179667"/>
                  <a:pt x="100536" y="181796"/>
                  <a:pt x="99471" y="184280"/>
                </a:cubicBezTo>
                <a:cubicBezTo>
                  <a:pt x="98052" y="186764"/>
                  <a:pt x="96277" y="188184"/>
                  <a:pt x="93793" y="189603"/>
                </a:cubicBezTo>
                <a:cubicBezTo>
                  <a:pt x="91309" y="190668"/>
                  <a:pt x="89180" y="191732"/>
                  <a:pt x="86341" y="191732"/>
                </a:cubicBezTo>
                <a:cubicBezTo>
                  <a:pt x="83502" y="191732"/>
                  <a:pt x="81373" y="190668"/>
                  <a:pt x="78889" y="189603"/>
                </a:cubicBezTo>
                <a:cubicBezTo>
                  <a:pt x="76405" y="188184"/>
                  <a:pt x="74631" y="186764"/>
                  <a:pt x="73211" y="184280"/>
                </a:cubicBezTo>
                <a:cubicBezTo>
                  <a:pt x="71792" y="181796"/>
                  <a:pt x="71437" y="179667"/>
                  <a:pt x="71437" y="176829"/>
                </a:cubicBezTo>
                <a:cubicBezTo>
                  <a:pt x="71437" y="173990"/>
                  <a:pt x="71792" y="171506"/>
                  <a:pt x="73211" y="169377"/>
                </a:cubicBezTo>
                <a:cubicBezTo>
                  <a:pt x="74631" y="166893"/>
                  <a:pt x="76405" y="165119"/>
                  <a:pt x="78889" y="163699"/>
                </a:cubicBezTo>
                <a:cubicBezTo>
                  <a:pt x="81373" y="162280"/>
                  <a:pt x="83502" y="161925"/>
                  <a:pt x="86341" y="161925"/>
                </a:cubicBezTo>
                <a:close/>
                <a:moveTo>
                  <a:pt x="395722" y="152400"/>
                </a:moveTo>
                <a:cubicBezTo>
                  <a:pt x="429517" y="152400"/>
                  <a:pt x="456841" y="179724"/>
                  <a:pt x="456841" y="213519"/>
                </a:cubicBezTo>
                <a:cubicBezTo>
                  <a:pt x="456841" y="246954"/>
                  <a:pt x="429517" y="274278"/>
                  <a:pt x="395722" y="274278"/>
                </a:cubicBezTo>
                <a:cubicBezTo>
                  <a:pt x="362286" y="274278"/>
                  <a:pt x="334962" y="246954"/>
                  <a:pt x="334962" y="213519"/>
                </a:cubicBezTo>
                <a:cubicBezTo>
                  <a:pt x="334962" y="179724"/>
                  <a:pt x="362286" y="152400"/>
                  <a:pt x="395722" y="152400"/>
                </a:cubicBezTo>
                <a:close/>
                <a:moveTo>
                  <a:pt x="583359" y="133553"/>
                </a:moveTo>
                <a:cubicBezTo>
                  <a:pt x="588762" y="131762"/>
                  <a:pt x="594525" y="134269"/>
                  <a:pt x="596326" y="139641"/>
                </a:cubicBezTo>
                <a:cubicBezTo>
                  <a:pt x="598127" y="145014"/>
                  <a:pt x="595245" y="150744"/>
                  <a:pt x="590203" y="152535"/>
                </a:cubicBezTo>
                <a:lnTo>
                  <a:pt x="484668" y="189784"/>
                </a:lnTo>
                <a:cubicBezTo>
                  <a:pt x="483587" y="190142"/>
                  <a:pt x="482507" y="190142"/>
                  <a:pt x="481426" y="190142"/>
                </a:cubicBezTo>
                <a:cubicBezTo>
                  <a:pt x="477104" y="190142"/>
                  <a:pt x="473142" y="187635"/>
                  <a:pt x="471701" y="183337"/>
                </a:cubicBezTo>
                <a:cubicBezTo>
                  <a:pt x="469900" y="178323"/>
                  <a:pt x="472782" y="172592"/>
                  <a:pt x="477824" y="170443"/>
                </a:cubicBezTo>
                <a:close/>
                <a:moveTo>
                  <a:pt x="212616" y="121236"/>
                </a:moveTo>
                <a:lnTo>
                  <a:pt x="314379" y="165807"/>
                </a:lnTo>
                <a:cubicBezTo>
                  <a:pt x="319396" y="167981"/>
                  <a:pt x="321904" y="174141"/>
                  <a:pt x="319396" y="179215"/>
                </a:cubicBezTo>
                <a:cubicBezTo>
                  <a:pt x="317962" y="183201"/>
                  <a:pt x="314021" y="185375"/>
                  <a:pt x="310079" y="185375"/>
                </a:cubicBezTo>
                <a:cubicBezTo>
                  <a:pt x="308646" y="185375"/>
                  <a:pt x="307571" y="185375"/>
                  <a:pt x="306138" y="184650"/>
                </a:cubicBezTo>
                <a:lnTo>
                  <a:pt x="204375" y="140079"/>
                </a:lnTo>
                <a:cubicBezTo>
                  <a:pt x="199358" y="137905"/>
                  <a:pt x="196850" y="131745"/>
                  <a:pt x="199358" y="126672"/>
                </a:cubicBezTo>
                <a:cubicBezTo>
                  <a:pt x="201508" y="121598"/>
                  <a:pt x="207241" y="119062"/>
                  <a:pt x="212616" y="121236"/>
                </a:cubicBezTo>
                <a:close/>
                <a:moveTo>
                  <a:pt x="137141" y="111125"/>
                </a:moveTo>
                <a:cubicBezTo>
                  <a:pt x="139980" y="111125"/>
                  <a:pt x="142109" y="111863"/>
                  <a:pt x="144593" y="113340"/>
                </a:cubicBezTo>
                <a:cubicBezTo>
                  <a:pt x="147077" y="114817"/>
                  <a:pt x="148852" y="116663"/>
                  <a:pt x="150271" y="119247"/>
                </a:cubicBezTo>
                <a:cubicBezTo>
                  <a:pt x="151690" y="121462"/>
                  <a:pt x="152045" y="124046"/>
                  <a:pt x="152045" y="127000"/>
                </a:cubicBezTo>
                <a:cubicBezTo>
                  <a:pt x="152045" y="129953"/>
                  <a:pt x="151690" y="132169"/>
                  <a:pt x="150271" y="134753"/>
                </a:cubicBezTo>
                <a:cubicBezTo>
                  <a:pt x="148852" y="137337"/>
                  <a:pt x="147077" y="138814"/>
                  <a:pt x="144593" y="140291"/>
                </a:cubicBezTo>
                <a:cubicBezTo>
                  <a:pt x="142109" y="141398"/>
                  <a:pt x="139980" y="142506"/>
                  <a:pt x="137141" y="142506"/>
                </a:cubicBezTo>
                <a:cubicBezTo>
                  <a:pt x="134302" y="142506"/>
                  <a:pt x="132173" y="141398"/>
                  <a:pt x="129689" y="140291"/>
                </a:cubicBezTo>
                <a:cubicBezTo>
                  <a:pt x="127205" y="138814"/>
                  <a:pt x="125431" y="137337"/>
                  <a:pt x="124011" y="134753"/>
                </a:cubicBezTo>
                <a:cubicBezTo>
                  <a:pt x="122592" y="132169"/>
                  <a:pt x="122237" y="129953"/>
                  <a:pt x="122237" y="127000"/>
                </a:cubicBezTo>
                <a:cubicBezTo>
                  <a:pt x="122237" y="124046"/>
                  <a:pt x="122592" y="121462"/>
                  <a:pt x="124011" y="119247"/>
                </a:cubicBezTo>
                <a:cubicBezTo>
                  <a:pt x="125431" y="116663"/>
                  <a:pt x="127205" y="114817"/>
                  <a:pt x="129689" y="113340"/>
                </a:cubicBezTo>
                <a:cubicBezTo>
                  <a:pt x="132173" y="111863"/>
                  <a:pt x="134302" y="111125"/>
                  <a:pt x="137141" y="111125"/>
                </a:cubicBezTo>
                <a:close/>
                <a:moveTo>
                  <a:pt x="55995" y="101167"/>
                </a:moveTo>
                <a:cubicBezTo>
                  <a:pt x="47697" y="101167"/>
                  <a:pt x="40842" y="108022"/>
                  <a:pt x="40842" y="116681"/>
                </a:cubicBezTo>
                <a:cubicBezTo>
                  <a:pt x="40842" y="124979"/>
                  <a:pt x="47336" y="131834"/>
                  <a:pt x="55995" y="131834"/>
                </a:cubicBezTo>
                <a:cubicBezTo>
                  <a:pt x="64293" y="131834"/>
                  <a:pt x="71510" y="124979"/>
                  <a:pt x="71510" y="116681"/>
                </a:cubicBezTo>
                <a:cubicBezTo>
                  <a:pt x="71510" y="108022"/>
                  <a:pt x="64654" y="101167"/>
                  <a:pt x="55995" y="101167"/>
                </a:cubicBezTo>
                <a:close/>
                <a:moveTo>
                  <a:pt x="55995" y="80962"/>
                </a:moveTo>
                <a:cubicBezTo>
                  <a:pt x="75478" y="80962"/>
                  <a:pt x="91714" y="96837"/>
                  <a:pt x="91714" y="116681"/>
                </a:cubicBezTo>
                <a:cubicBezTo>
                  <a:pt x="91714" y="136164"/>
                  <a:pt x="75839" y="152039"/>
                  <a:pt x="55995" y="152039"/>
                </a:cubicBezTo>
                <a:cubicBezTo>
                  <a:pt x="36512" y="152039"/>
                  <a:pt x="20637" y="136164"/>
                  <a:pt x="20637" y="116681"/>
                </a:cubicBezTo>
                <a:cubicBezTo>
                  <a:pt x="20637" y="96837"/>
                  <a:pt x="36151" y="80962"/>
                  <a:pt x="55995" y="80962"/>
                </a:cubicBezTo>
                <a:close/>
                <a:moveTo>
                  <a:pt x="532194" y="62680"/>
                </a:moveTo>
                <a:cubicBezTo>
                  <a:pt x="536143" y="58737"/>
                  <a:pt x="542605" y="58737"/>
                  <a:pt x="546554" y="62680"/>
                </a:cubicBezTo>
                <a:cubicBezTo>
                  <a:pt x="550503" y="66623"/>
                  <a:pt x="550503" y="72717"/>
                  <a:pt x="546554" y="76660"/>
                </a:cubicBezTo>
                <a:lnTo>
                  <a:pt x="467572" y="155524"/>
                </a:lnTo>
                <a:cubicBezTo>
                  <a:pt x="465777" y="157316"/>
                  <a:pt x="462905" y="158391"/>
                  <a:pt x="460391" y="158391"/>
                </a:cubicBezTo>
                <a:cubicBezTo>
                  <a:pt x="457878" y="158391"/>
                  <a:pt x="455365" y="157675"/>
                  <a:pt x="453211" y="155524"/>
                </a:cubicBezTo>
                <a:cubicBezTo>
                  <a:pt x="449262" y="151581"/>
                  <a:pt x="449262" y="145128"/>
                  <a:pt x="453211" y="141185"/>
                </a:cubicBezTo>
                <a:close/>
                <a:moveTo>
                  <a:pt x="245277" y="62680"/>
                </a:moveTo>
                <a:cubicBezTo>
                  <a:pt x="249255" y="58737"/>
                  <a:pt x="255763" y="58737"/>
                  <a:pt x="259740" y="62680"/>
                </a:cubicBezTo>
                <a:lnTo>
                  <a:pt x="338561" y="141185"/>
                </a:lnTo>
                <a:cubicBezTo>
                  <a:pt x="342539" y="145128"/>
                  <a:pt x="342539" y="151581"/>
                  <a:pt x="338561" y="155524"/>
                </a:cubicBezTo>
                <a:cubicBezTo>
                  <a:pt x="336392" y="157316"/>
                  <a:pt x="333861" y="158391"/>
                  <a:pt x="331330" y="158391"/>
                </a:cubicBezTo>
                <a:cubicBezTo>
                  <a:pt x="328799" y="158391"/>
                  <a:pt x="326268" y="157675"/>
                  <a:pt x="324099" y="155524"/>
                </a:cubicBezTo>
                <a:lnTo>
                  <a:pt x="245277" y="76660"/>
                </a:lnTo>
                <a:cubicBezTo>
                  <a:pt x="241300" y="72717"/>
                  <a:pt x="241300" y="66623"/>
                  <a:pt x="245277" y="62680"/>
                </a:cubicBezTo>
                <a:close/>
                <a:moveTo>
                  <a:pt x="146664" y="40842"/>
                </a:moveTo>
                <a:cubicBezTo>
                  <a:pt x="138408" y="40842"/>
                  <a:pt x="131587" y="47336"/>
                  <a:pt x="131587" y="55995"/>
                </a:cubicBezTo>
                <a:cubicBezTo>
                  <a:pt x="131587" y="64293"/>
                  <a:pt x="138049" y="71509"/>
                  <a:pt x="146664" y="71509"/>
                </a:cubicBezTo>
                <a:cubicBezTo>
                  <a:pt x="154921" y="71509"/>
                  <a:pt x="162100" y="64293"/>
                  <a:pt x="162100" y="55995"/>
                </a:cubicBezTo>
                <a:cubicBezTo>
                  <a:pt x="162100" y="47336"/>
                  <a:pt x="155280" y="40842"/>
                  <a:pt x="146664" y="40842"/>
                </a:cubicBezTo>
                <a:close/>
                <a:moveTo>
                  <a:pt x="146664" y="20637"/>
                </a:moveTo>
                <a:cubicBezTo>
                  <a:pt x="166049" y="20637"/>
                  <a:pt x="182203" y="36151"/>
                  <a:pt x="182203" y="55995"/>
                </a:cubicBezTo>
                <a:cubicBezTo>
                  <a:pt x="182203" y="75478"/>
                  <a:pt x="166408" y="91714"/>
                  <a:pt x="146664" y="91714"/>
                </a:cubicBezTo>
                <a:cubicBezTo>
                  <a:pt x="127279" y="91714"/>
                  <a:pt x="111125" y="75478"/>
                  <a:pt x="111125" y="55995"/>
                </a:cubicBezTo>
                <a:cubicBezTo>
                  <a:pt x="111125" y="36151"/>
                  <a:pt x="126920" y="20637"/>
                  <a:pt x="146664" y="20637"/>
                </a:cubicBezTo>
                <a:close/>
                <a:moveTo>
                  <a:pt x="473155" y="14914"/>
                </a:moveTo>
                <a:cubicBezTo>
                  <a:pt x="475606" y="13965"/>
                  <a:pt x="478420" y="13965"/>
                  <a:pt x="480962" y="15230"/>
                </a:cubicBezTo>
                <a:cubicBezTo>
                  <a:pt x="486408" y="17398"/>
                  <a:pt x="488587" y="23181"/>
                  <a:pt x="486408" y="28602"/>
                </a:cubicBezTo>
                <a:lnTo>
                  <a:pt x="441747" y="131606"/>
                </a:lnTo>
                <a:cubicBezTo>
                  <a:pt x="440295" y="135221"/>
                  <a:pt x="436300" y="137751"/>
                  <a:pt x="432306" y="137751"/>
                </a:cubicBezTo>
                <a:cubicBezTo>
                  <a:pt x="430854" y="137751"/>
                  <a:pt x="429765" y="137389"/>
                  <a:pt x="428312" y="136666"/>
                </a:cubicBezTo>
                <a:cubicBezTo>
                  <a:pt x="422866" y="134498"/>
                  <a:pt x="420687" y="128715"/>
                  <a:pt x="422866" y="123294"/>
                </a:cubicBezTo>
                <a:lnTo>
                  <a:pt x="467527" y="20290"/>
                </a:lnTo>
                <a:cubicBezTo>
                  <a:pt x="468616" y="17760"/>
                  <a:pt x="470704" y="15862"/>
                  <a:pt x="473155" y="14914"/>
                </a:cubicBezTo>
                <a:close/>
                <a:moveTo>
                  <a:pt x="323859" y="9731"/>
                </a:moveTo>
                <a:cubicBezTo>
                  <a:pt x="329278" y="7937"/>
                  <a:pt x="335057" y="10807"/>
                  <a:pt x="336863" y="15830"/>
                </a:cubicBezTo>
                <a:lnTo>
                  <a:pt x="374070" y="120945"/>
                </a:lnTo>
                <a:cubicBezTo>
                  <a:pt x="375876" y="125968"/>
                  <a:pt x="373347" y="132067"/>
                  <a:pt x="367929" y="133861"/>
                </a:cubicBezTo>
                <a:cubicBezTo>
                  <a:pt x="366845" y="134219"/>
                  <a:pt x="365762" y="134578"/>
                  <a:pt x="364678" y="134578"/>
                </a:cubicBezTo>
                <a:cubicBezTo>
                  <a:pt x="360343" y="134578"/>
                  <a:pt x="356370" y="131708"/>
                  <a:pt x="354925" y="127762"/>
                </a:cubicBezTo>
                <a:lnTo>
                  <a:pt x="317718" y="22646"/>
                </a:lnTo>
                <a:cubicBezTo>
                  <a:pt x="315912" y="17265"/>
                  <a:pt x="318441" y="11525"/>
                  <a:pt x="323859" y="9731"/>
                </a:cubicBezTo>
                <a:close/>
                <a:moveTo>
                  <a:pt x="395725" y="0"/>
                </a:moveTo>
                <a:cubicBezTo>
                  <a:pt x="401419" y="0"/>
                  <a:pt x="406044" y="4655"/>
                  <a:pt x="406044" y="10025"/>
                </a:cubicBezTo>
                <a:lnTo>
                  <a:pt x="406044" y="121379"/>
                </a:lnTo>
                <a:cubicBezTo>
                  <a:pt x="406044" y="126749"/>
                  <a:pt x="401419" y="131404"/>
                  <a:pt x="395725" y="131404"/>
                </a:cubicBezTo>
                <a:cubicBezTo>
                  <a:pt x="390388" y="131404"/>
                  <a:pt x="385762" y="126749"/>
                  <a:pt x="385762" y="121379"/>
                </a:cubicBezTo>
                <a:lnTo>
                  <a:pt x="385762" y="10025"/>
                </a:lnTo>
                <a:cubicBezTo>
                  <a:pt x="385762" y="4655"/>
                  <a:pt x="390388" y="0"/>
                  <a:pt x="395725" y="0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17" name="Freeform 69">
            <a:extLst>
              <a:ext uri="{FF2B5EF4-FFF2-40B4-BE49-F238E27FC236}">
                <a16:creationId xmlns:a16="http://schemas.microsoft.com/office/drawing/2014/main" id="{B6AAF0DD-3BD6-2B0C-9F35-26B4287126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3583" y="2327509"/>
            <a:ext cx="378888" cy="363106"/>
          </a:xfrm>
          <a:custGeom>
            <a:avLst/>
            <a:gdLst>
              <a:gd name="T0" fmla="*/ 1723 w 1724"/>
              <a:gd name="T1" fmla="*/ 837 h 1500"/>
              <a:gd name="T2" fmla="*/ 1604 w 1724"/>
              <a:gd name="T3" fmla="*/ 795 h 1500"/>
              <a:gd name="T4" fmla="*/ 1295 w 1724"/>
              <a:gd name="T5" fmla="*/ 639 h 1500"/>
              <a:gd name="T6" fmla="*/ 1403 w 1724"/>
              <a:gd name="T7" fmla="*/ 434 h 1500"/>
              <a:gd name="T8" fmla="*/ 1454 w 1724"/>
              <a:gd name="T9" fmla="*/ 356 h 1500"/>
              <a:gd name="T10" fmla="*/ 1365 w 1724"/>
              <a:gd name="T11" fmla="*/ 386 h 1500"/>
              <a:gd name="T12" fmla="*/ 1191 w 1724"/>
              <a:gd name="T13" fmla="*/ 431 h 1500"/>
              <a:gd name="T14" fmla="*/ 1231 w 1724"/>
              <a:gd name="T15" fmla="*/ 132 h 1500"/>
              <a:gd name="T16" fmla="*/ 1262 w 1724"/>
              <a:gd name="T17" fmla="*/ 0 h 1500"/>
              <a:gd name="T18" fmla="*/ 1175 w 1724"/>
              <a:gd name="T19" fmla="*/ 104 h 1500"/>
              <a:gd name="T20" fmla="*/ 901 w 1724"/>
              <a:gd name="T21" fmla="*/ 382 h 1500"/>
              <a:gd name="T22" fmla="*/ 613 w 1724"/>
              <a:gd name="T23" fmla="*/ 160 h 1500"/>
              <a:gd name="T24" fmla="*/ 526 w 1724"/>
              <a:gd name="T25" fmla="*/ 83 h 1500"/>
              <a:gd name="T26" fmla="*/ 561 w 1724"/>
              <a:gd name="T27" fmla="*/ 193 h 1500"/>
              <a:gd name="T28" fmla="*/ 628 w 1724"/>
              <a:gd name="T29" fmla="*/ 567 h 1500"/>
              <a:gd name="T30" fmla="*/ 119 w 1724"/>
              <a:gd name="T31" fmla="*/ 774 h 1500"/>
              <a:gd name="T32" fmla="*/ 0 w 1724"/>
              <a:gd name="T33" fmla="*/ 812 h 1500"/>
              <a:gd name="T34" fmla="*/ 123 w 1724"/>
              <a:gd name="T35" fmla="*/ 836 h 1500"/>
              <a:gd name="T36" fmla="*/ 540 w 1724"/>
              <a:gd name="T37" fmla="*/ 951 h 1500"/>
              <a:gd name="T38" fmla="*/ 392 w 1724"/>
              <a:gd name="T39" fmla="*/ 1228 h 1500"/>
              <a:gd name="T40" fmla="*/ 328 w 1724"/>
              <a:gd name="T41" fmla="*/ 1333 h 1500"/>
              <a:gd name="T42" fmla="*/ 436 w 1724"/>
              <a:gd name="T43" fmla="*/ 1272 h 1500"/>
              <a:gd name="T44" fmla="*/ 792 w 1724"/>
              <a:gd name="T45" fmla="*/ 1115 h 1500"/>
              <a:gd name="T46" fmla="*/ 1007 w 1724"/>
              <a:gd name="T47" fmla="*/ 1400 h 1500"/>
              <a:gd name="T48" fmla="*/ 1064 w 1724"/>
              <a:gd name="T49" fmla="*/ 1499 h 1500"/>
              <a:gd name="T50" fmla="*/ 1067 w 1724"/>
              <a:gd name="T51" fmla="*/ 1384 h 1500"/>
              <a:gd name="T52" fmla="*/ 1105 w 1724"/>
              <a:gd name="T53" fmla="*/ 1113 h 1500"/>
              <a:gd name="T54" fmla="*/ 1399 w 1724"/>
              <a:gd name="T55" fmla="*/ 1234 h 1500"/>
              <a:gd name="T56" fmla="*/ 1499 w 1724"/>
              <a:gd name="T57" fmla="*/ 1288 h 1500"/>
              <a:gd name="T58" fmla="*/ 1442 w 1724"/>
              <a:gd name="T59" fmla="*/ 1190 h 1500"/>
              <a:gd name="T60" fmla="*/ 1310 w 1724"/>
              <a:gd name="T61" fmla="*/ 924 h 1500"/>
              <a:gd name="T62" fmla="*/ 1599 w 1724"/>
              <a:gd name="T63" fmla="*/ 856 h 1500"/>
              <a:gd name="T64" fmla="*/ 1723 w 1724"/>
              <a:gd name="T65" fmla="*/ 837 h 1500"/>
              <a:gd name="T66" fmla="*/ 1303 w 1724"/>
              <a:gd name="T67" fmla="*/ 473 h 1500"/>
              <a:gd name="T68" fmla="*/ 1245 w 1724"/>
              <a:gd name="T69" fmla="*/ 588 h 1500"/>
              <a:gd name="T70" fmla="*/ 1201 w 1724"/>
              <a:gd name="T71" fmla="*/ 495 h 1500"/>
              <a:gd name="T72" fmla="*/ 1303 w 1724"/>
              <a:gd name="T73" fmla="*/ 473 h 1500"/>
              <a:gd name="T74" fmla="*/ 652 w 1724"/>
              <a:gd name="T75" fmla="*/ 280 h 1500"/>
              <a:gd name="T76" fmla="*/ 847 w 1724"/>
              <a:gd name="T77" fmla="*/ 425 h 1500"/>
              <a:gd name="T78" fmla="*/ 691 w 1724"/>
              <a:gd name="T79" fmla="*/ 531 h 1500"/>
              <a:gd name="T80" fmla="*/ 652 w 1724"/>
              <a:gd name="T81" fmla="*/ 280 h 1500"/>
              <a:gd name="T82" fmla="*/ 506 w 1724"/>
              <a:gd name="T83" fmla="*/ 1161 h 1500"/>
              <a:gd name="T84" fmla="*/ 599 w 1724"/>
              <a:gd name="T85" fmla="*/ 978 h 1500"/>
              <a:gd name="T86" fmla="*/ 734 w 1724"/>
              <a:gd name="T87" fmla="*/ 1064 h 1500"/>
              <a:gd name="T88" fmla="*/ 506 w 1724"/>
              <a:gd name="T89" fmla="*/ 1161 h 1500"/>
              <a:gd name="T90" fmla="*/ 1335 w 1724"/>
              <a:gd name="T91" fmla="*/ 1129 h 1500"/>
              <a:gd name="T92" fmla="*/ 1134 w 1724"/>
              <a:gd name="T93" fmla="*/ 1054 h 1500"/>
              <a:gd name="T94" fmla="*/ 1170 w 1724"/>
              <a:gd name="T95" fmla="*/ 1008 h 1500"/>
              <a:gd name="T96" fmla="*/ 1251 w 1724"/>
              <a:gd name="T97" fmla="*/ 950 h 1500"/>
              <a:gd name="T98" fmla="*/ 1335 w 1724"/>
              <a:gd name="T99" fmla="*/ 1129 h 1500"/>
              <a:gd name="T100" fmla="*/ 1124 w 1724"/>
              <a:gd name="T101" fmla="*/ 962 h 1500"/>
              <a:gd name="T102" fmla="*/ 1008 w 1724"/>
              <a:gd name="T103" fmla="*/ 1279 h 1500"/>
              <a:gd name="T104" fmla="*/ 685 w 1724"/>
              <a:gd name="T105" fmla="*/ 952 h 1500"/>
              <a:gd name="T106" fmla="*/ 253 w 1724"/>
              <a:gd name="T107" fmla="*/ 797 h 1500"/>
              <a:gd name="T108" fmla="*/ 729 w 1724"/>
              <a:gd name="T109" fmla="*/ 583 h 1500"/>
              <a:gd name="T110" fmla="*/ 1142 w 1724"/>
              <a:gd name="T111" fmla="*/ 239 h 1500"/>
              <a:gd name="T112" fmla="*/ 1162 w 1724"/>
              <a:gd name="T113" fmla="*/ 575 h 1500"/>
              <a:gd name="T114" fmla="*/ 1475 w 1724"/>
              <a:gd name="T115" fmla="*/ 814 h 1500"/>
              <a:gd name="T116" fmla="*/ 1124 w 1724"/>
              <a:gd name="T117" fmla="*/ 962 h 1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724" h="1500">
                <a:moveTo>
                  <a:pt x="1723" y="837"/>
                </a:moveTo>
                <a:lnTo>
                  <a:pt x="1604" y="795"/>
                </a:lnTo>
                <a:cubicBezTo>
                  <a:pt x="1460" y="744"/>
                  <a:pt x="1361" y="696"/>
                  <a:pt x="1295" y="639"/>
                </a:cubicBezTo>
                <a:cubicBezTo>
                  <a:pt x="1315" y="577"/>
                  <a:pt x="1351" y="512"/>
                  <a:pt x="1403" y="434"/>
                </a:cubicBezTo>
                <a:lnTo>
                  <a:pt x="1454" y="356"/>
                </a:lnTo>
                <a:lnTo>
                  <a:pt x="1365" y="386"/>
                </a:lnTo>
                <a:cubicBezTo>
                  <a:pt x="1300" y="408"/>
                  <a:pt x="1243" y="423"/>
                  <a:pt x="1191" y="431"/>
                </a:cubicBezTo>
                <a:cubicBezTo>
                  <a:pt x="1186" y="351"/>
                  <a:pt x="1202" y="255"/>
                  <a:pt x="1231" y="132"/>
                </a:cubicBezTo>
                <a:lnTo>
                  <a:pt x="1262" y="0"/>
                </a:lnTo>
                <a:lnTo>
                  <a:pt x="1175" y="104"/>
                </a:lnTo>
                <a:cubicBezTo>
                  <a:pt x="1082" y="216"/>
                  <a:pt x="992" y="306"/>
                  <a:pt x="901" y="382"/>
                </a:cubicBezTo>
                <a:cubicBezTo>
                  <a:pt x="814" y="335"/>
                  <a:pt x="726" y="260"/>
                  <a:pt x="613" y="160"/>
                </a:cubicBezTo>
                <a:lnTo>
                  <a:pt x="526" y="83"/>
                </a:lnTo>
                <a:lnTo>
                  <a:pt x="561" y="193"/>
                </a:lnTo>
                <a:cubicBezTo>
                  <a:pt x="606" y="336"/>
                  <a:pt x="627" y="456"/>
                  <a:pt x="628" y="567"/>
                </a:cubicBezTo>
                <a:cubicBezTo>
                  <a:pt x="480" y="647"/>
                  <a:pt x="317" y="709"/>
                  <a:pt x="119" y="774"/>
                </a:cubicBezTo>
                <a:lnTo>
                  <a:pt x="0" y="812"/>
                </a:lnTo>
                <a:lnTo>
                  <a:pt x="123" y="836"/>
                </a:lnTo>
                <a:cubicBezTo>
                  <a:pt x="290" y="867"/>
                  <a:pt x="425" y="901"/>
                  <a:pt x="540" y="951"/>
                </a:cubicBezTo>
                <a:cubicBezTo>
                  <a:pt x="503" y="1037"/>
                  <a:pt x="453" y="1127"/>
                  <a:pt x="392" y="1228"/>
                </a:cubicBezTo>
                <a:lnTo>
                  <a:pt x="328" y="1333"/>
                </a:lnTo>
                <a:lnTo>
                  <a:pt x="436" y="1272"/>
                </a:lnTo>
                <a:cubicBezTo>
                  <a:pt x="578" y="1191"/>
                  <a:pt x="691" y="1141"/>
                  <a:pt x="792" y="1115"/>
                </a:cubicBezTo>
                <a:cubicBezTo>
                  <a:pt x="869" y="1187"/>
                  <a:pt x="938" y="1279"/>
                  <a:pt x="1007" y="1400"/>
                </a:cubicBezTo>
                <a:lnTo>
                  <a:pt x="1064" y="1499"/>
                </a:lnTo>
                <a:lnTo>
                  <a:pt x="1067" y="1384"/>
                </a:lnTo>
                <a:cubicBezTo>
                  <a:pt x="1070" y="1264"/>
                  <a:pt x="1082" y="1177"/>
                  <a:pt x="1105" y="1113"/>
                </a:cubicBezTo>
                <a:cubicBezTo>
                  <a:pt x="1192" y="1134"/>
                  <a:pt x="1286" y="1173"/>
                  <a:pt x="1399" y="1234"/>
                </a:cubicBezTo>
                <a:lnTo>
                  <a:pt x="1499" y="1288"/>
                </a:lnTo>
                <a:lnTo>
                  <a:pt x="1442" y="1190"/>
                </a:lnTo>
                <a:cubicBezTo>
                  <a:pt x="1381" y="1084"/>
                  <a:pt x="1337" y="999"/>
                  <a:pt x="1310" y="924"/>
                </a:cubicBezTo>
                <a:cubicBezTo>
                  <a:pt x="1380" y="898"/>
                  <a:pt x="1473" y="877"/>
                  <a:pt x="1599" y="856"/>
                </a:cubicBezTo>
                <a:lnTo>
                  <a:pt x="1723" y="837"/>
                </a:lnTo>
                <a:close/>
                <a:moveTo>
                  <a:pt x="1303" y="473"/>
                </a:moveTo>
                <a:cubicBezTo>
                  <a:pt x="1279" y="513"/>
                  <a:pt x="1260" y="551"/>
                  <a:pt x="1245" y="588"/>
                </a:cubicBezTo>
                <a:cubicBezTo>
                  <a:pt x="1224" y="559"/>
                  <a:pt x="1210" y="529"/>
                  <a:pt x="1201" y="495"/>
                </a:cubicBezTo>
                <a:cubicBezTo>
                  <a:pt x="1233" y="490"/>
                  <a:pt x="1266" y="482"/>
                  <a:pt x="1303" y="473"/>
                </a:cubicBezTo>
                <a:close/>
                <a:moveTo>
                  <a:pt x="652" y="280"/>
                </a:moveTo>
                <a:cubicBezTo>
                  <a:pt x="722" y="339"/>
                  <a:pt x="784" y="388"/>
                  <a:pt x="847" y="425"/>
                </a:cubicBezTo>
                <a:cubicBezTo>
                  <a:pt x="796" y="464"/>
                  <a:pt x="744" y="499"/>
                  <a:pt x="691" y="531"/>
                </a:cubicBezTo>
                <a:cubicBezTo>
                  <a:pt x="687" y="453"/>
                  <a:pt x="675" y="370"/>
                  <a:pt x="652" y="280"/>
                </a:cubicBezTo>
                <a:close/>
                <a:moveTo>
                  <a:pt x="506" y="1161"/>
                </a:moveTo>
                <a:cubicBezTo>
                  <a:pt x="541" y="1097"/>
                  <a:pt x="572" y="1037"/>
                  <a:pt x="599" y="978"/>
                </a:cubicBezTo>
                <a:cubicBezTo>
                  <a:pt x="647" y="1002"/>
                  <a:pt x="691" y="1031"/>
                  <a:pt x="734" y="1064"/>
                </a:cubicBezTo>
                <a:cubicBezTo>
                  <a:pt x="664" y="1086"/>
                  <a:pt x="590" y="1118"/>
                  <a:pt x="506" y="1161"/>
                </a:cubicBezTo>
                <a:close/>
                <a:moveTo>
                  <a:pt x="1335" y="1129"/>
                </a:moveTo>
                <a:cubicBezTo>
                  <a:pt x="1262" y="1095"/>
                  <a:pt x="1196" y="1070"/>
                  <a:pt x="1134" y="1054"/>
                </a:cubicBezTo>
                <a:cubicBezTo>
                  <a:pt x="1144" y="1037"/>
                  <a:pt x="1156" y="1021"/>
                  <a:pt x="1170" y="1008"/>
                </a:cubicBezTo>
                <a:cubicBezTo>
                  <a:pt x="1192" y="986"/>
                  <a:pt x="1218" y="967"/>
                  <a:pt x="1251" y="950"/>
                </a:cubicBezTo>
                <a:cubicBezTo>
                  <a:pt x="1272" y="1004"/>
                  <a:pt x="1299" y="1063"/>
                  <a:pt x="1335" y="1129"/>
                </a:cubicBezTo>
                <a:close/>
                <a:moveTo>
                  <a:pt x="1124" y="962"/>
                </a:moveTo>
                <a:cubicBezTo>
                  <a:pt x="1066" y="1021"/>
                  <a:pt x="1023" y="1100"/>
                  <a:pt x="1008" y="1279"/>
                </a:cubicBezTo>
                <a:cubicBezTo>
                  <a:pt x="911" y="1129"/>
                  <a:pt x="808" y="1027"/>
                  <a:pt x="685" y="952"/>
                </a:cubicBezTo>
                <a:cubicBezTo>
                  <a:pt x="561" y="877"/>
                  <a:pt x="420" y="833"/>
                  <a:pt x="253" y="797"/>
                </a:cubicBezTo>
                <a:cubicBezTo>
                  <a:pt x="413" y="741"/>
                  <a:pt x="576" y="675"/>
                  <a:pt x="729" y="583"/>
                </a:cubicBezTo>
                <a:cubicBezTo>
                  <a:pt x="877" y="494"/>
                  <a:pt x="1010" y="383"/>
                  <a:pt x="1142" y="239"/>
                </a:cubicBezTo>
                <a:cubicBezTo>
                  <a:pt x="1118" y="376"/>
                  <a:pt x="1117" y="484"/>
                  <a:pt x="1162" y="575"/>
                </a:cubicBezTo>
                <a:cubicBezTo>
                  <a:pt x="1210" y="670"/>
                  <a:pt x="1304" y="742"/>
                  <a:pt x="1475" y="814"/>
                </a:cubicBezTo>
                <a:cubicBezTo>
                  <a:pt x="1320" y="845"/>
                  <a:pt x="1200" y="887"/>
                  <a:pt x="1124" y="962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pic>
        <p:nvPicPr>
          <p:cNvPr id="18" name="Graphic 17" descr="Lightning bolt outline">
            <a:extLst>
              <a:ext uri="{FF2B5EF4-FFF2-40B4-BE49-F238E27FC236}">
                <a16:creationId xmlns:a16="http://schemas.microsoft.com/office/drawing/2014/main" id="{0A572BAD-629F-D31C-1638-7A28DE9B96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01794" y="2252959"/>
            <a:ext cx="496983" cy="518266"/>
          </a:xfrm>
          <a:prstGeom prst="rect">
            <a:avLst/>
          </a:prstGeom>
        </p:spPr>
      </p:pic>
      <p:sp>
        <p:nvSpPr>
          <p:cNvPr id="15" name="Shape 2927">
            <a:extLst>
              <a:ext uri="{FF2B5EF4-FFF2-40B4-BE49-F238E27FC236}">
                <a16:creationId xmlns:a16="http://schemas.microsoft.com/office/drawing/2014/main" id="{6AC2B21E-7725-5E78-9714-6583D763AF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037" y="2961927"/>
            <a:ext cx="1191638" cy="50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659" tIns="45659" rIns="45659" bIns="45659" anchor="ctr"/>
          <a:lstStyle>
            <a:lvl1pPr>
              <a:defRPr>
                <a:solidFill>
                  <a:schemeClr val="tx1"/>
                </a:solidFill>
                <a:latin typeface="Franklin Gothic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Book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x-none" sz="10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Personalisation</a:t>
            </a:r>
            <a:endParaRPr kumimoji="0" lang="en-US" altLang="x-none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Century Gothic" charset="0"/>
              <a:cs typeface="Poppins" pitchFamily="2" charset="77"/>
              <a:sym typeface="Franklin Gothic" charset="0"/>
            </a:endParaRP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D3F5D4CE-81C9-FD7A-92BA-315B5DE7CF60}"/>
              </a:ext>
            </a:extLst>
          </p:cNvPr>
          <p:cNvSpPr txBox="1">
            <a:spLocks/>
          </p:cNvSpPr>
          <p:nvPr/>
        </p:nvSpPr>
        <p:spPr>
          <a:xfrm>
            <a:off x="2117674" y="2936170"/>
            <a:ext cx="2828215" cy="55660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One to Many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AC017B9-67B1-FF0C-934E-637B7CC042A4}"/>
              </a:ext>
            </a:extLst>
          </p:cNvPr>
          <p:cNvSpPr txBox="1">
            <a:spLocks/>
          </p:cNvSpPr>
          <p:nvPr/>
        </p:nvSpPr>
        <p:spPr>
          <a:xfrm>
            <a:off x="5034495" y="2936170"/>
            <a:ext cx="3558824" cy="55660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One to Some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9A87C201-09DB-FDC3-5040-7618CE8E12C2}"/>
              </a:ext>
            </a:extLst>
          </p:cNvPr>
          <p:cNvSpPr txBox="1">
            <a:spLocks/>
          </p:cNvSpPr>
          <p:nvPr/>
        </p:nvSpPr>
        <p:spPr>
          <a:xfrm>
            <a:off x="8680340" y="2936170"/>
            <a:ext cx="2798351" cy="55660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One to One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25" name="Shape 2927">
            <a:extLst>
              <a:ext uri="{FF2B5EF4-FFF2-40B4-BE49-F238E27FC236}">
                <a16:creationId xmlns:a16="http://schemas.microsoft.com/office/drawing/2014/main" id="{9E8382B5-1FF6-B998-C286-9982AB08E7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037" y="3594326"/>
            <a:ext cx="1191638" cy="50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659" tIns="45659" rIns="45659" bIns="45659" anchor="ctr"/>
          <a:lstStyle>
            <a:lvl1pPr>
              <a:defRPr>
                <a:solidFill>
                  <a:schemeClr val="tx1"/>
                </a:solidFill>
                <a:latin typeface="Franklin Gothic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Book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x-none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Targeting Cost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C8A40853-E0C5-7530-AEC1-B1A7A5593792}"/>
              </a:ext>
            </a:extLst>
          </p:cNvPr>
          <p:cNvSpPr txBox="1">
            <a:spLocks/>
          </p:cNvSpPr>
          <p:nvPr/>
        </p:nvSpPr>
        <p:spPr>
          <a:xfrm>
            <a:off x="2117674" y="3568569"/>
            <a:ext cx="2828215" cy="55660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Insert CPM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6E8A1512-B538-616F-F00C-686CBDFE38DA}"/>
              </a:ext>
            </a:extLst>
          </p:cNvPr>
          <p:cNvSpPr txBox="1">
            <a:spLocks/>
          </p:cNvSpPr>
          <p:nvPr/>
        </p:nvSpPr>
        <p:spPr>
          <a:xfrm>
            <a:off x="5034495" y="3568569"/>
            <a:ext cx="3558824" cy="55660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Insert CPM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A6FA38A0-0F47-8F2A-11F2-2409CFEB6620}"/>
              </a:ext>
            </a:extLst>
          </p:cNvPr>
          <p:cNvSpPr txBox="1">
            <a:spLocks/>
          </p:cNvSpPr>
          <p:nvPr/>
        </p:nvSpPr>
        <p:spPr>
          <a:xfrm>
            <a:off x="8680340" y="3568569"/>
            <a:ext cx="2798351" cy="55660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Insert CPM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29" name="Shape 2927">
            <a:extLst>
              <a:ext uri="{FF2B5EF4-FFF2-40B4-BE49-F238E27FC236}">
                <a16:creationId xmlns:a16="http://schemas.microsoft.com/office/drawing/2014/main" id="{0F74BF51-5E1F-5366-3211-C30F27EAC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037" y="4226726"/>
            <a:ext cx="1191638" cy="50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659" tIns="45659" rIns="45659" bIns="45659" anchor="ctr"/>
          <a:lstStyle>
            <a:lvl1pPr>
              <a:defRPr>
                <a:solidFill>
                  <a:schemeClr val="tx1"/>
                </a:solidFill>
                <a:latin typeface="Franklin Gothic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Book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x-none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HVA Versions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8DDA996F-70F5-96FC-B6B4-676F43F85DBD}"/>
              </a:ext>
            </a:extLst>
          </p:cNvPr>
          <p:cNvSpPr txBox="1">
            <a:spLocks/>
          </p:cNvSpPr>
          <p:nvPr/>
        </p:nvSpPr>
        <p:spPr>
          <a:xfrm>
            <a:off x="2117674" y="4200968"/>
            <a:ext cx="2828215" cy="55660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2 or below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B4D45C9E-74F0-19A0-A5CD-9119A78E6399}"/>
              </a:ext>
            </a:extLst>
          </p:cNvPr>
          <p:cNvSpPr txBox="1">
            <a:spLocks/>
          </p:cNvSpPr>
          <p:nvPr/>
        </p:nvSpPr>
        <p:spPr>
          <a:xfrm>
            <a:off x="5034495" y="4200968"/>
            <a:ext cx="3558824" cy="55660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4+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FADBA3D4-A2F0-0DA2-C7F4-CBE4EC2ED068}"/>
              </a:ext>
            </a:extLst>
          </p:cNvPr>
          <p:cNvSpPr txBox="1">
            <a:spLocks/>
          </p:cNvSpPr>
          <p:nvPr/>
        </p:nvSpPr>
        <p:spPr>
          <a:xfrm>
            <a:off x="8680340" y="4200968"/>
            <a:ext cx="2798351" cy="55660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Multiple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33" name="Shape 2927">
            <a:extLst>
              <a:ext uri="{FF2B5EF4-FFF2-40B4-BE49-F238E27FC236}">
                <a16:creationId xmlns:a16="http://schemas.microsoft.com/office/drawing/2014/main" id="{DF9BA741-5ACA-D8CE-69E3-99CEBC0F74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565" y="4859125"/>
            <a:ext cx="1363110" cy="50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659" tIns="45659" rIns="45659" bIns="45659" anchor="ctr"/>
          <a:lstStyle>
            <a:lvl1pPr>
              <a:defRPr>
                <a:solidFill>
                  <a:schemeClr val="tx1"/>
                </a:solidFill>
                <a:latin typeface="Franklin Gothic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Book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x-none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Content Versions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11820ECF-7E14-1718-62F4-0D35B9ADDD56}"/>
              </a:ext>
            </a:extLst>
          </p:cNvPr>
          <p:cNvSpPr txBox="1">
            <a:spLocks/>
          </p:cNvSpPr>
          <p:nvPr/>
        </p:nvSpPr>
        <p:spPr>
          <a:xfrm>
            <a:off x="2117674" y="4833367"/>
            <a:ext cx="2828215" cy="55660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2 or below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4F2C5D56-C7FA-0E82-A61C-1FF5CBE08B89}"/>
              </a:ext>
            </a:extLst>
          </p:cNvPr>
          <p:cNvSpPr txBox="1">
            <a:spLocks/>
          </p:cNvSpPr>
          <p:nvPr/>
        </p:nvSpPr>
        <p:spPr>
          <a:xfrm>
            <a:off x="5034495" y="4833367"/>
            <a:ext cx="3558824" cy="55660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4+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B5543F4D-303C-437E-219F-F722457B2C88}"/>
              </a:ext>
            </a:extLst>
          </p:cNvPr>
          <p:cNvSpPr txBox="1">
            <a:spLocks/>
          </p:cNvSpPr>
          <p:nvPr/>
        </p:nvSpPr>
        <p:spPr>
          <a:xfrm>
            <a:off x="8680340" y="4833367"/>
            <a:ext cx="2798351" cy="55660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Multiple</a:t>
            </a:r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77"/>
              <a:ea typeface="Montserrat"/>
              <a:cs typeface="Poppins" pitchFamily="2" charset="77"/>
              <a:sym typeface="Montserrat"/>
            </a:endParaRPr>
          </a:p>
        </p:txBody>
      </p:sp>
      <p:sp>
        <p:nvSpPr>
          <p:cNvPr id="39" name="Shape 2927">
            <a:extLst>
              <a:ext uri="{FF2B5EF4-FFF2-40B4-BE49-F238E27FC236}">
                <a16:creationId xmlns:a16="http://schemas.microsoft.com/office/drawing/2014/main" id="{CFCA2F7D-5B00-34B3-7E31-9F8B994E74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638" y="5491524"/>
            <a:ext cx="1468037" cy="50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659" tIns="45659" rIns="45659" bIns="45659" anchor="ctr"/>
          <a:lstStyle>
            <a:lvl1pPr>
              <a:defRPr>
                <a:solidFill>
                  <a:schemeClr val="tx1"/>
                </a:solidFill>
                <a:latin typeface="Franklin Gothic Book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Book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Book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Book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Book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charset="0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altLang="x-none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Century Gothic" charset="0"/>
                <a:cs typeface="Poppins" pitchFamily="2" charset="77"/>
                <a:sym typeface="Franklin Gothic" charset="0"/>
              </a:rPr>
              <a:t>PM Investment (%)</a:t>
            </a: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7DA10728-FC58-1DAF-195E-A26A37CCBC3B}"/>
              </a:ext>
            </a:extLst>
          </p:cNvPr>
          <p:cNvSpPr txBox="1">
            <a:spLocks/>
          </p:cNvSpPr>
          <p:nvPr/>
        </p:nvSpPr>
        <p:spPr>
          <a:xfrm>
            <a:off x="2117674" y="5465767"/>
            <a:ext cx="2828215" cy="55660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Insert number of spend (X%)</a:t>
            </a:r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91D51CCD-8BAA-C5DF-1B69-58A88C10A1E4}"/>
              </a:ext>
            </a:extLst>
          </p:cNvPr>
          <p:cNvSpPr txBox="1">
            <a:spLocks/>
          </p:cNvSpPr>
          <p:nvPr/>
        </p:nvSpPr>
        <p:spPr>
          <a:xfrm>
            <a:off x="5034495" y="5465767"/>
            <a:ext cx="3558824" cy="55660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Insert number of spend (X%)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3F9C0D1B-25C1-B2F4-04F4-6F98D066AABE}"/>
              </a:ext>
            </a:extLst>
          </p:cNvPr>
          <p:cNvSpPr txBox="1">
            <a:spLocks/>
          </p:cNvSpPr>
          <p:nvPr/>
        </p:nvSpPr>
        <p:spPr>
          <a:xfrm>
            <a:off x="8680340" y="5465767"/>
            <a:ext cx="2798351" cy="556602"/>
          </a:xfrm>
          <a:prstGeom prst="rect">
            <a:avLst/>
          </a:prstGeom>
          <a:solidFill>
            <a:schemeClr val="bg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3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Poppins" pitchFamily="2" charset="77"/>
                <a:ea typeface="Montserrat"/>
                <a:cs typeface="Poppins" pitchFamily="2" charset="77"/>
                <a:sym typeface="Montserrat"/>
              </a:rPr>
              <a:t>Insert number of spend (X%)</a:t>
            </a:r>
          </a:p>
        </p:txBody>
      </p:sp>
      <p:pic>
        <p:nvPicPr>
          <p:cNvPr id="63" name="Google Shape;1414;p163">
            <a:extLst>
              <a:ext uri="{FF2B5EF4-FFF2-40B4-BE49-F238E27FC236}">
                <a16:creationId xmlns:a16="http://schemas.microsoft.com/office/drawing/2014/main" id="{D4121FE5-2625-BF87-7330-31E612465A2B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646575" y="1216392"/>
            <a:ext cx="862444" cy="860858"/>
          </a:xfrm>
          <a:prstGeom prst="rect">
            <a:avLst/>
          </a:prstGeom>
          <a:noFill/>
          <a:ln>
            <a:noFill/>
          </a:ln>
        </p:spPr>
      </p:pic>
      <p:pic>
        <p:nvPicPr>
          <p:cNvPr id="64" name="Google Shape;1415;p163">
            <a:extLst>
              <a:ext uri="{FF2B5EF4-FFF2-40B4-BE49-F238E27FC236}">
                <a16:creationId xmlns:a16="http://schemas.microsoft.com/office/drawing/2014/main" id="{BA94F947-F8F8-6390-49A6-227DBDFFA6A2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464571" y="1230456"/>
            <a:ext cx="862444" cy="862465"/>
          </a:xfrm>
          <a:prstGeom prst="rect">
            <a:avLst/>
          </a:prstGeom>
          <a:noFill/>
          <a:ln>
            <a:noFill/>
          </a:ln>
        </p:spPr>
      </p:pic>
      <p:pic>
        <p:nvPicPr>
          <p:cNvPr id="66" name="Google Shape;1416;p163">
            <a:extLst>
              <a:ext uri="{FF2B5EF4-FFF2-40B4-BE49-F238E27FC236}">
                <a16:creationId xmlns:a16="http://schemas.microsoft.com/office/drawing/2014/main" id="{1BC9A2C9-D7F1-AE8C-8674-7519F034D99E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5282565" y="1231189"/>
            <a:ext cx="862444" cy="862420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Google Shape;1417;p163">
            <a:extLst>
              <a:ext uri="{FF2B5EF4-FFF2-40B4-BE49-F238E27FC236}">
                <a16:creationId xmlns:a16="http://schemas.microsoft.com/office/drawing/2014/main" id="{56197AAA-5C24-4770-D524-88F1DC2E4460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100559" y="1194969"/>
            <a:ext cx="862444" cy="862444"/>
          </a:xfrm>
          <a:prstGeom prst="rect">
            <a:avLst/>
          </a:prstGeom>
          <a:noFill/>
          <a:ln>
            <a:noFill/>
          </a:ln>
        </p:spPr>
      </p:pic>
      <p:pic>
        <p:nvPicPr>
          <p:cNvPr id="68" name="Graphic 67" descr="Circle with left arrow outline">
            <a:extLst>
              <a:ext uri="{FF2B5EF4-FFF2-40B4-BE49-F238E27FC236}">
                <a16:creationId xmlns:a16="http://schemas.microsoft.com/office/drawing/2014/main" id="{27011C49-2CC8-DC06-5C3B-441D25FE1BB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38728" y="1442135"/>
            <a:ext cx="368112" cy="368112"/>
          </a:xfrm>
          <a:prstGeom prst="rect">
            <a:avLst/>
          </a:prstGeom>
        </p:spPr>
      </p:pic>
      <p:pic>
        <p:nvPicPr>
          <p:cNvPr id="69" name="Graphic 68" descr="Circle with left arrow outline">
            <a:extLst>
              <a:ext uri="{FF2B5EF4-FFF2-40B4-BE49-F238E27FC236}">
                <a16:creationId xmlns:a16="http://schemas.microsoft.com/office/drawing/2014/main" id="{E6AAF46C-9606-FCC6-73C6-980ACFEE176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20734" y="1442135"/>
            <a:ext cx="368112" cy="368112"/>
          </a:xfrm>
          <a:prstGeom prst="rect">
            <a:avLst/>
          </a:prstGeom>
        </p:spPr>
      </p:pic>
      <p:pic>
        <p:nvPicPr>
          <p:cNvPr id="70" name="Graphic 69" descr="Circle with left arrow outline">
            <a:extLst>
              <a:ext uri="{FF2B5EF4-FFF2-40B4-BE49-F238E27FC236}">
                <a16:creationId xmlns:a16="http://schemas.microsoft.com/office/drawing/2014/main" id="{04EA4694-B882-E0CB-EEAF-60C439217F7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802740" y="1442135"/>
            <a:ext cx="368112" cy="368112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268504B2-1663-7310-7195-C62C7341CA53}"/>
              </a:ext>
            </a:extLst>
          </p:cNvPr>
          <p:cNvSpPr/>
          <p:nvPr/>
        </p:nvSpPr>
        <p:spPr>
          <a:xfrm>
            <a:off x="-1317172" y="0"/>
            <a:ext cx="1317172" cy="772886"/>
          </a:xfrm>
          <a:prstGeom prst="rect">
            <a:avLst/>
          </a:prstGeom>
          <a:solidFill>
            <a:srgbClr val="FBB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600">
                <a:solidFill>
                  <a:srgbClr val="C00000"/>
                </a:solidFill>
              </a:rPr>
              <a:t>SLIDE GLOBAL</a:t>
            </a:r>
          </a:p>
        </p:txBody>
      </p:sp>
      <p:grpSp>
        <p:nvGrpSpPr>
          <p:cNvPr id="2" name="Group 13">
            <a:extLst>
              <a:ext uri="{FF2B5EF4-FFF2-40B4-BE49-F238E27FC236}">
                <a16:creationId xmlns:a16="http://schemas.microsoft.com/office/drawing/2014/main" id="{C6C70663-6406-63D4-279E-F5EB02C70479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5" name="Round Same-side Corner of Rectangle 28">
              <a:extLst>
                <a:ext uri="{FF2B5EF4-FFF2-40B4-BE49-F238E27FC236}">
                  <a16:creationId xmlns:a16="http://schemas.microsoft.com/office/drawing/2014/main" id="{506A68D7-85A8-0B05-4776-B19752CC7EAF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9" name="Group 33">
              <a:extLst>
                <a:ext uri="{FF2B5EF4-FFF2-40B4-BE49-F238E27FC236}">
                  <a16:creationId xmlns:a16="http://schemas.microsoft.com/office/drawing/2014/main" id="{E8EEE720-7A76-14B6-CED5-7E91822B2B4D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11" name="Oval 44">
                <a:extLst>
                  <a:ext uri="{FF2B5EF4-FFF2-40B4-BE49-F238E27FC236}">
                    <a16:creationId xmlns:a16="http://schemas.microsoft.com/office/drawing/2014/main" id="{DAEF8955-902F-4369-71C3-C09C90612C2F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0" name="TextBox 45">
                <a:extLst>
                  <a:ext uri="{FF2B5EF4-FFF2-40B4-BE49-F238E27FC236}">
                    <a16:creationId xmlns:a16="http://schemas.microsoft.com/office/drawing/2014/main" id="{7D897904-0441-80E3-F2D0-D782A5F357B3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10" name="Google Shape;1194;p40">
              <a:extLst>
                <a:ext uri="{FF2B5EF4-FFF2-40B4-BE49-F238E27FC236}">
                  <a16:creationId xmlns:a16="http://schemas.microsoft.com/office/drawing/2014/main" id="{2FE060DA-25D2-E878-1DFB-07D520B269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578902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F3090074-1325-0C27-7FA5-8DA288F9E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2400" b="1" err="1">
                <a:latin typeface="+mn-lt"/>
              </a:rPr>
              <a:t>Precision</a:t>
            </a:r>
            <a:r>
              <a:rPr lang="es-MX" sz="2400" b="1">
                <a:latin typeface="+mn-lt"/>
              </a:rPr>
              <a:t> Marketing | </a:t>
            </a:r>
            <a:r>
              <a:rPr lang="es-MX" sz="2400" b="1" err="1">
                <a:latin typeface="+mn-lt"/>
              </a:rPr>
              <a:t>Formats</a:t>
            </a:r>
            <a:r>
              <a:rPr lang="es-MX" sz="2400" b="1">
                <a:latin typeface="+mn-lt"/>
              </a:rPr>
              <a:t> &amp; </a:t>
            </a:r>
            <a:r>
              <a:rPr lang="es-MX" sz="2400" b="1" err="1">
                <a:latin typeface="+mn-lt"/>
              </a:rPr>
              <a:t>KPIs</a:t>
            </a:r>
            <a:endParaRPr lang="es-MX" sz="2400" b="1">
              <a:latin typeface="+mn-lt"/>
            </a:endParaRP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844E4A34-6A20-E43A-8779-7A82B0B81B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>
                <a:latin typeface="+mn-lt"/>
              </a:rPr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E8811F7-35BB-5DF8-1882-7103CAA292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>
                <a:latin typeface="+mn-lt"/>
              </a:rPr>
              <a:t>32</a:t>
            </a:fld>
            <a:endParaRPr lang="es-MX">
              <a:latin typeface="+mn-lt"/>
            </a:endParaRPr>
          </a:p>
        </p:txBody>
      </p:sp>
      <p:grpSp>
        <p:nvGrpSpPr>
          <p:cNvPr id="48" name="Group 91">
            <a:extLst>
              <a:ext uri="{FF2B5EF4-FFF2-40B4-BE49-F238E27FC236}">
                <a16:creationId xmlns:a16="http://schemas.microsoft.com/office/drawing/2014/main" id="{4D067D0A-37D6-7CC1-5E65-BED7539E64D5}"/>
              </a:ext>
            </a:extLst>
          </p:cNvPr>
          <p:cNvGrpSpPr/>
          <p:nvPr/>
        </p:nvGrpSpPr>
        <p:grpSpPr>
          <a:xfrm>
            <a:off x="3447458" y="1206781"/>
            <a:ext cx="2473377" cy="4801683"/>
            <a:chOff x="2631958" y="1196893"/>
            <a:chExt cx="2473377" cy="4801683"/>
          </a:xfrm>
        </p:grpSpPr>
        <p:grpSp>
          <p:nvGrpSpPr>
            <p:cNvPr id="49" name="Group 16">
              <a:extLst>
                <a:ext uri="{FF2B5EF4-FFF2-40B4-BE49-F238E27FC236}">
                  <a16:creationId xmlns:a16="http://schemas.microsoft.com/office/drawing/2014/main" id="{0AEC70FA-928D-0C98-C9BB-0E4E65A44F59}"/>
                </a:ext>
              </a:extLst>
            </p:cNvPr>
            <p:cNvGrpSpPr/>
            <p:nvPr/>
          </p:nvGrpSpPr>
          <p:grpSpPr>
            <a:xfrm>
              <a:off x="2631958" y="1196893"/>
              <a:ext cx="2473377" cy="4801683"/>
              <a:chOff x="2631958" y="1196893"/>
              <a:chExt cx="2473377" cy="4801683"/>
            </a:xfrm>
          </p:grpSpPr>
          <p:sp>
            <p:nvSpPr>
              <p:cNvPr id="55" name="Rectangle: Rounded Corners 1">
                <a:extLst>
                  <a:ext uri="{FF2B5EF4-FFF2-40B4-BE49-F238E27FC236}">
                    <a16:creationId xmlns:a16="http://schemas.microsoft.com/office/drawing/2014/main" id="{03DE8B6D-0104-FC4E-DC83-F4980AA59135}"/>
                  </a:ext>
                </a:extLst>
              </p:cNvPr>
              <p:cNvSpPr/>
              <p:nvPr/>
            </p:nvSpPr>
            <p:spPr>
              <a:xfrm>
                <a:off x="2631958" y="1196893"/>
                <a:ext cx="2473377" cy="4801683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600"/>
              </a:p>
            </p:txBody>
          </p:sp>
          <p:sp>
            <p:nvSpPr>
              <p:cNvPr id="56" name="Rectangle: Rounded Corners 8">
                <a:extLst>
                  <a:ext uri="{FF2B5EF4-FFF2-40B4-BE49-F238E27FC236}">
                    <a16:creationId xmlns:a16="http://schemas.microsoft.com/office/drawing/2014/main" id="{843B713A-7A81-D6DC-B8C4-01214D1EDE2C}"/>
                  </a:ext>
                </a:extLst>
              </p:cNvPr>
              <p:cNvSpPr/>
              <p:nvPr/>
            </p:nvSpPr>
            <p:spPr>
              <a:xfrm>
                <a:off x="2758190" y="1340697"/>
                <a:ext cx="2203554" cy="4657879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600"/>
              </a:p>
            </p:txBody>
          </p:sp>
        </p:grpSp>
        <p:sp>
          <p:nvSpPr>
            <p:cNvPr id="50" name="TextBox 13">
              <a:extLst>
                <a:ext uri="{FF2B5EF4-FFF2-40B4-BE49-F238E27FC236}">
                  <a16:creationId xmlns:a16="http://schemas.microsoft.com/office/drawing/2014/main" id="{863A6BFA-DF08-C7EE-DB99-9C9275FDBBE9}"/>
                </a:ext>
              </a:extLst>
            </p:cNvPr>
            <p:cNvSpPr txBox="1"/>
            <p:nvPr/>
          </p:nvSpPr>
          <p:spPr>
            <a:xfrm>
              <a:off x="3119137" y="1346332"/>
              <a:ext cx="1499017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s-ES" sz="1600" b="1" err="1"/>
                <a:t>Awareness</a:t>
              </a:r>
              <a:endParaRPr lang="es-ES" sz="1600" b="1"/>
            </a:p>
          </p:txBody>
        </p:sp>
        <p:sp>
          <p:nvSpPr>
            <p:cNvPr id="51" name="TextBox 30">
              <a:extLst>
                <a:ext uri="{FF2B5EF4-FFF2-40B4-BE49-F238E27FC236}">
                  <a16:creationId xmlns:a16="http://schemas.microsoft.com/office/drawing/2014/main" id="{F794FB87-E626-D1E8-2A03-C58B9A1167B1}"/>
                </a:ext>
              </a:extLst>
            </p:cNvPr>
            <p:cNvSpPr txBox="1"/>
            <p:nvPr/>
          </p:nvSpPr>
          <p:spPr>
            <a:xfrm>
              <a:off x="3462118" y="5526006"/>
              <a:ext cx="1499017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s-ES" sz="1600" b="1"/>
                <a:t>CPM</a:t>
              </a:r>
            </a:p>
          </p:txBody>
        </p:sp>
        <p:pic>
          <p:nvPicPr>
            <p:cNvPr id="52" name="Picture 4" descr="Checkmark PNG, Checkmark Transparent Background - FreeIconsPNG">
              <a:extLst>
                <a:ext uri="{FF2B5EF4-FFF2-40B4-BE49-F238E27FC236}">
                  <a16:creationId xmlns:a16="http://schemas.microsoft.com/office/drawing/2014/main" id="{377B8C74-A803-F806-7FEB-EB4205E007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13949" y="2259619"/>
              <a:ext cx="597677" cy="55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4" descr="Checkmark PNG, Checkmark Transparent Background - FreeIconsPNG">
              <a:extLst>
                <a:ext uri="{FF2B5EF4-FFF2-40B4-BE49-F238E27FC236}">
                  <a16:creationId xmlns:a16="http://schemas.microsoft.com/office/drawing/2014/main" id="{6FB1656D-BA66-100F-0A8E-8CEB98E726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55626" y="2869094"/>
              <a:ext cx="597677" cy="55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4" descr="Checkmark PNG, Checkmark Transparent Background - FreeIconsPNG">
              <a:extLst>
                <a:ext uri="{FF2B5EF4-FFF2-40B4-BE49-F238E27FC236}">
                  <a16:creationId xmlns:a16="http://schemas.microsoft.com/office/drawing/2014/main" id="{F3D7519B-0F92-AEA0-4E27-17F22D71C6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55626" y="3383343"/>
              <a:ext cx="597677" cy="55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7" name="Group 89">
            <a:extLst>
              <a:ext uri="{FF2B5EF4-FFF2-40B4-BE49-F238E27FC236}">
                <a16:creationId xmlns:a16="http://schemas.microsoft.com/office/drawing/2014/main" id="{6422CDA9-023C-B468-F31A-DCE5EC5567DE}"/>
              </a:ext>
            </a:extLst>
          </p:cNvPr>
          <p:cNvGrpSpPr/>
          <p:nvPr/>
        </p:nvGrpSpPr>
        <p:grpSpPr>
          <a:xfrm>
            <a:off x="6272434" y="1196893"/>
            <a:ext cx="2473377" cy="4801683"/>
            <a:chOff x="5580312" y="1226638"/>
            <a:chExt cx="2473377" cy="4801683"/>
          </a:xfrm>
        </p:grpSpPr>
        <p:grpSp>
          <p:nvGrpSpPr>
            <p:cNvPr id="58" name="Group 15">
              <a:extLst>
                <a:ext uri="{FF2B5EF4-FFF2-40B4-BE49-F238E27FC236}">
                  <a16:creationId xmlns:a16="http://schemas.microsoft.com/office/drawing/2014/main" id="{D148C628-CA4C-1546-846C-CCBA25C95AD8}"/>
                </a:ext>
              </a:extLst>
            </p:cNvPr>
            <p:cNvGrpSpPr/>
            <p:nvPr/>
          </p:nvGrpSpPr>
          <p:grpSpPr>
            <a:xfrm>
              <a:off x="5580312" y="1226638"/>
              <a:ext cx="2473377" cy="4801683"/>
              <a:chOff x="5580312" y="1226638"/>
              <a:chExt cx="2473377" cy="4801683"/>
            </a:xfrm>
          </p:grpSpPr>
          <p:sp>
            <p:nvSpPr>
              <p:cNvPr id="62" name="Rectangle: Rounded Corners 9">
                <a:extLst>
                  <a:ext uri="{FF2B5EF4-FFF2-40B4-BE49-F238E27FC236}">
                    <a16:creationId xmlns:a16="http://schemas.microsoft.com/office/drawing/2014/main" id="{7BB13689-C64F-C714-A344-7FEAFFC2E2BE}"/>
                  </a:ext>
                </a:extLst>
              </p:cNvPr>
              <p:cNvSpPr/>
              <p:nvPr/>
            </p:nvSpPr>
            <p:spPr>
              <a:xfrm>
                <a:off x="5580312" y="1226638"/>
                <a:ext cx="2473377" cy="4801683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600"/>
              </a:p>
            </p:txBody>
          </p:sp>
          <p:sp>
            <p:nvSpPr>
              <p:cNvPr id="63" name="Rectangle: Rounded Corners 10">
                <a:extLst>
                  <a:ext uri="{FF2B5EF4-FFF2-40B4-BE49-F238E27FC236}">
                    <a16:creationId xmlns:a16="http://schemas.microsoft.com/office/drawing/2014/main" id="{33945AAD-D4CF-16E4-AD4B-086A920631FF}"/>
                  </a:ext>
                </a:extLst>
              </p:cNvPr>
              <p:cNvSpPr/>
              <p:nvPr/>
            </p:nvSpPr>
            <p:spPr>
              <a:xfrm>
                <a:off x="5706544" y="1370442"/>
                <a:ext cx="2203554" cy="4657879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600"/>
              </a:p>
            </p:txBody>
          </p:sp>
        </p:grpSp>
        <p:sp>
          <p:nvSpPr>
            <p:cNvPr id="59" name="TextBox 14">
              <a:extLst>
                <a:ext uri="{FF2B5EF4-FFF2-40B4-BE49-F238E27FC236}">
                  <a16:creationId xmlns:a16="http://schemas.microsoft.com/office/drawing/2014/main" id="{318FEFAB-ED25-E5D5-6FA5-DA76A291567B}"/>
                </a:ext>
              </a:extLst>
            </p:cNvPr>
            <p:cNvSpPr txBox="1"/>
            <p:nvPr/>
          </p:nvSpPr>
          <p:spPr>
            <a:xfrm>
              <a:off x="5990410" y="1391871"/>
              <a:ext cx="1822185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s-ES" sz="1600" b="1" err="1"/>
                <a:t>Consideration</a:t>
              </a:r>
              <a:endParaRPr lang="es-ES" sz="1600" b="1"/>
            </a:p>
          </p:txBody>
        </p:sp>
        <p:sp>
          <p:nvSpPr>
            <p:cNvPr id="60" name="TextBox 31">
              <a:extLst>
                <a:ext uri="{FF2B5EF4-FFF2-40B4-BE49-F238E27FC236}">
                  <a16:creationId xmlns:a16="http://schemas.microsoft.com/office/drawing/2014/main" id="{D2E57D79-4090-79D9-0E88-67BAAA735F66}"/>
                </a:ext>
              </a:extLst>
            </p:cNvPr>
            <p:cNvSpPr txBox="1"/>
            <p:nvPr/>
          </p:nvSpPr>
          <p:spPr>
            <a:xfrm>
              <a:off x="6446978" y="5558840"/>
              <a:ext cx="1499017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s-ES" sz="1600" b="1"/>
                <a:t>CPV</a:t>
              </a:r>
            </a:p>
          </p:txBody>
        </p:sp>
        <p:pic>
          <p:nvPicPr>
            <p:cNvPr id="61" name="Picture 4" descr="Checkmark PNG, Checkmark Transparent Background - FreeIconsPNG">
              <a:extLst>
                <a:ext uri="{FF2B5EF4-FFF2-40B4-BE49-F238E27FC236}">
                  <a16:creationId xmlns:a16="http://schemas.microsoft.com/office/drawing/2014/main" id="{E65EE722-790F-61C9-0E39-EB4696071B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03384" y="3984153"/>
              <a:ext cx="597677" cy="55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4" name="Group 77">
            <a:extLst>
              <a:ext uri="{FF2B5EF4-FFF2-40B4-BE49-F238E27FC236}">
                <a16:creationId xmlns:a16="http://schemas.microsoft.com/office/drawing/2014/main" id="{058563DD-E31A-78B5-304C-1A3150E220EB}"/>
              </a:ext>
            </a:extLst>
          </p:cNvPr>
          <p:cNvGrpSpPr/>
          <p:nvPr/>
        </p:nvGrpSpPr>
        <p:grpSpPr>
          <a:xfrm>
            <a:off x="9140182" y="1196893"/>
            <a:ext cx="2473377" cy="4801683"/>
            <a:chOff x="8528666" y="1196893"/>
            <a:chExt cx="2473377" cy="4801683"/>
          </a:xfrm>
        </p:grpSpPr>
        <p:grpSp>
          <p:nvGrpSpPr>
            <p:cNvPr id="65" name="Group 17">
              <a:extLst>
                <a:ext uri="{FF2B5EF4-FFF2-40B4-BE49-F238E27FC236}">
                  <a16:creationId xmlns:a16="http://schemas.microsoft.com/office/drawing/2014/main" id="{A2D4D877-8D63-93B9-069C-85098F82450E}"/>
                </a:ext>
              </a:extLst>
            </p:cNvPr>
            <p:cNvGrpSpPr/>
            <p:nvPr/>
          </p:nvGrpSpPr>
          <p:grpSpPr>
            <a:xfrm>
              <a:off x="8528666" y="1196893"/>
              <a:ext cx="2473377" cy="4801683"/>
              <a:chOff x="8528666" y="1196893"/>
              <a:chExt cx="2473377" cy="4801683"/>
            </a:xfrm>
          </p:grpSpPr>
          <p:sp>
            <p:nvSpPr>
              <p:cNvPr id="71" name="Rectangle: Rounded Corners 11">
                <a:extLst>
                  <a:ext uri="{FF2B5EF4-FFF2-40B4-BE49-F238E27FC236}">
                    <a16:creationId xmlns:a16="http://schemas.microsoft.com/office/drawing/2014/main" id="{F92891A5-82B1-E9AE-55B0-A9DF951CA1D4}"/>
                  </a:ext>
                </a:extLst>
              </p:cNvPr>
              <p:cNvSpPr/>
              <p:nvPr/>
            </p:nvSpPr>
            <p:spPr>
              <a:xfrm>
                <a:off x="8528666" y="1196893"/>
                <a:ext cx="2473377" cy="4801683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600"/>
              </a:p>
            </p:txBody>
          </p:sp>
          <p:sp>
            <p:nvSpPr>
              <p:cNvPr id="72" name="Rectangle: Rounded Corners 12">
                <a:extLst>
                  <a:ext uri="{FF2B5EF4-FFF2-40B4-BE49-F238E27FC236}">
                    <a16:creationId xmlns:a16="http://schemas.microsoft.com/office/drawing/2014/main" id="{6D15202C-84C5-D666-BF73-FDE04D1956A2}"/>
                  </a:ext>
                </a:extLst>
              </p:cNvPr>
              <p:cNvSpPr/>
              <p:nvPr/>
            </p:nvSpPr>
            <p:spPr>
              <a:xfrm>
                <a:off x="8654898" y="1340697"/>
                <a:ext cx="2203554" cy="4657879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600"/>
              </a:p>
            </p:txBody>
          </p:sp>
        </p:grpSp>
        <p:sp>
          <p:nvSpPr>
            <p:cNvPr id="66" name="TextBox 18">
              <a:extLst>
                <a:ext uri="{FF2B5EF4-FFF2-40B4-BE49-F238E27FC236}">
                  <a16:creationId xmlns:a16="http://schemas.microsoft.com/office/drawing/2014/main" id="{CA6ACA77-D6F3-4AC9-FCC7-80444F6FCCC9}"/>
                </a:ext>
              </a:extLst>
            </p:cNvPr>
            <p:cNvSpPr txBox="1"/>
            <p:nvPr/>
          </p:nvSpPr>
          <p:spPr>
            <a:xfrm>
              <a:off x="9096141" y="1336452"/>
              <a:ext cx="1822185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s-ES" sz="1600" b="1" err="1"/>
                <a:t>Conversion</a:t>
              </a:r>
              <a:endParaRPr lang="es-ES" sz="1600" b="1"/>
            </a:p>
          </p:txBody>
        </p:sp>
        <p:sp>
          <p:nvSpPr>
            <p:cNvPr id="67" name="TextBox 32">
              <a:extLst>
                <a:ext uri="{FF2B5EF4-FFF2-40B4-BE49-F238E27FC236}">
                  <a16:creationId xmlns:a16="http://schemas.microsoft.com/office/drawing/2014/main" id="{60B2C4CD-29D4-AACB-B719-71C5CB247735}"/>
                </a:ext>
              </a:extLst>
            </p:cNvPr>
            <p:cNvSpPr txBox="1"/>
            <p:nvPr/>
          </p:nvSpPr>
          <p:spPr>
            <a:xfrm>
              <a:off x="9255390" y="5510148"/>
              <a:ext cx="1499017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s-ES" sz="1600" b="1"/>
                <a:t>CPA/CPC</a:t>
              </a:r>
            </a:p>
          </p:txBody>
        </p:sp>
        <p:pic>
          <p:nvPicPr>
            <p:cNvPr id="68" name="Picture 4" descr="Checkmark PNG, Checkmark Transparent Background - FreeIconsPNG">
              <a:extLst>
                <a:ext uri="{FF2B5EF4-FFF2-40B4-BE49-F238E27FC236}">
                  <a16:creationId xmlns:a16="http://schemas.microsoft.com/office/drawing/2014/main" id="{3DF5AD33-6DB8-175C-F37C-621FA4756F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75673" y="4396064"/>
              <a:ext cx="597677" cy="55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9" name="Picture 4" descr="Checkmark PNG, Checkmark Transparent Background - FreeIconsPNG">
              <a:extLst>
                <a:ext uri="{FF2B5EF4-FFF2-40B4-BE49-F238E27FC236}">
                  <a16:creationId xmlns:a16="http://schemas.microsoft.com/office/drawing/2014/main" id="{14C312F4-5E59-61AC-352A-4419FEC864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83845" y="4863548"/>
              <a:ext cx="597677" cy="55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0" name="Picture 4" descr="Checkmark PNG, Checkmark Transparent Background - FreeIconsPNG">
              <a:extLst>
                <a:ext uri="{FF2B5EF4-FFF2-40B4-BE49-F238E27FC236}">
                  <a16:creationId xmlns:a16="http://schemas.microsoft.com/office/drawing/2014/main" id="{776272A1-9013-4F44-5259-8FDCED801C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83845" y="2843421"/>
              <a:ext cx="597677" cy="55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3" name="TextBox 55">
            <a:extLst>
              <a:ext uri="{FF2B5EF4-FFF2-40B4-BE49-F238E27FC236}">
                <a16:creationId xmlns:a16="http://schemas.microsoft.com/office/drawing/2014/main" id="{13CBC68E-ED94-C016-3E3E-C7FE50132BCC}"/>
              </a:ext>
            </a:extLst>
          </p:cNvPr>
          <p:cNvSpPr txBox="1"/>
          <p:nvPr/>
        </p:nvSpPr>
        <p:spPr>
          <a:xfrm>
            <a:off x="132270" y="2407655"/>
            <a:ext cx="15005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err="1"/>
              <a:t>Bumpers</a:t>
            </a:r>
            <a:r>
              <a:rPr lang="es-ES" sz="1600"/>
              <a:t> 7s</a:t>
            </a:r>
            <a:endParaRPr lang="es-ES"/>
          </a:p>
        </p:txBody>
      </p:sp>
      <p:sp>
        <p:nvSpPr>
          <p:cNvPr id="74" name="TextBox 56">
            <a:extLst>
              <a:ext uri="{FF2B5EF4-FFF2-40B4-BE49-F238E27FC236}">
                <a16:creationId xmlns:a16="http://schemas.microsoft.com/office/drawing/2014/main" id="{360F603D-D20A-DAE0-81AE-A61F1551918B}"/>
              </a:ext>
            </a:extLst>
          </p:cNvPr>
          <p:cNvSpPr txBox="1"/>
          <p:nvPr/>
        </p:nvSpPr>
        <p:spPr>
          <a:xfrm>
            <a:off x="132270" y="2970916"/>
            <a:ext cx="23323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/>
              <a:t>Video non </a:t>
            </a:r>
            <a:r>
              <a:rPr lang="es-ES" sz="1600" err="1"/>
              <a:t>skip</a:t>
            </a:r>
            <a:r>
              <a:rPr lang="es-ES" sz="1600"/>
              <a:t> 15s</a:t>
            </a:r>
          </a:p>
        </p:txBody>
      </p:sp>
      <p:sp>
        <p:nvSpPr>
          <p:cNvPr id="75" name="TextBox 58">
            <a:extLst>
              <a:ext uri="{FF2B5EF4-FFF2-40B4-BE49-F238E27FC236}">
                <a16:creationId xmlns:a16="http://schemas.microsoft.com/office/drawing/2014/main" id="{F692B5A5-0FAA-E7E9-9BF4-A6163C335E13}"/>
              </a:ext>
            </a:extLst>
          </p:cNvPr>
          <p:cNvSpPr txBox="1"/>
          <p:nvPr/>
        </p:nvSpPr>
        <p:spPr>
          <a:xfrm>
            <a:off x="132270" y="3506487"/>
            <a:ext cx="26737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err="1"/>
              <a:t>Display</a:t>
            </a:r>
            <a:r>
              <a:rPr lang="es-ES" sz="1600"/>
              <a:t> (banners, post)</a:t>
            </a:r>
          </a:p>
        </p:txBody>
      </p:sp>
      <p:sp>
        <p:nvSpPr>
          <p:cNvPr id="76" name="TextBox 59">
            <a:extLst>
              <a:ext uri="{FF2B5EF4-FFF2-40B4-BE49-F238E27FC236}">
                <a16:creationId xmlns:a16="http://schemas.microsoft.com/office/drawing/2014/main" id="{64186429-4734-BD5E-0839-49EB203423CB}"/>
              </a:ext>
            </a:extLst>
          </p:cNvPr>
          <p:cNvSpPr txBox="1"/>
          <p:nvPr/>
        </p:nvSpPr>
        <p:spPr>
          <a:xfrm>
            <a:off x="101879" y="4019568"/>
            <a:ext cx="28676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err="1"/>
              <a:t>Trueview</a:t>
            </a:r>
            <a:r>
              <a:rPr lang="es-ES" sz="1600"/>
              <a:t> in </a:t>
            </a:r>
            <a:r>
              <a:rPr lang="es-ES" sz="1600" err="1"/>
              <a:t>stream</a:t>
            </a:r>
            <a:r>
              <a:rPr lang="es-ES" sz="1600"/>
              <a:t>/in </a:t>
            </a:r>
            <a:r>
              <a:rPr lang="es-ES" sz="1600" err="1"/>
              <a:t>feed</a:t>
            </a:r>
            <a:endParaRPr lang="es-ES" sz="1600"/>
          </a:p>
        </p:txBody>
      </p:sp>
      <p:sp>
        <p:nvSpPr>
          <p:cNvPr id="77" name="TextBox 60">
            <a:extLst>
              <a:ext uri="{FF2B5EF4-FFF2-40B4-BE49-F238E27FC236}">
                <a16:creationId xmlns:a16="http://schemas.microsoft.com/office/drawing/2014/main" id="{2CD18A76-8D8E-D3AC-D72A-1AF0BD9B1BB1}"/>
              </a:ext>
            </a:extLst>
          </p:cNvPr>
          <p:cNvSpPr txBox="1"/>
          <p:nvPr/>
        </p:nvSpPr>
        <p:spPr>
          <a:xfrm>
            <a:off x="101879" y="4531276"/>
            <a:ext cx="26557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/>
              <a:t>Video </a:t>
            </a:r>
            <a:r>
              <a:rPr lang="es-ES" sz="1600" err="1"/>
              <a:t>action</a:t>
            </a:r>
            <a:r>
              <a:rPr lang="es-ES" sz="1600"/>
              <a:t> </a:t>
            </a:r>
            <a:r>
              <a:rPr lang="es-ES" sz="1600" err="1"/>
              <a:t>campaign</a:t>
            </a:r>
            <a:endParaRPr lang="es-ES" sz="1600"/>
          </a:p>
        </p:txBody>
      </p:sp>
      <p:sp>
        <p:nvSpPr>
          <p:cNvPr id="78" name="TextBox 62">
            <a:extLst>
              <a:ext uri="{FF2B5EF4-FFF2-40B4-BE49-F238E27FC236}">
                <a16:creationId xmlns:a16="http://schemas.microsoft.com/office/drawing/2014/main" id="{45DC0E39-FE6F-84F7-1BA3-0DCDB43CF95E}"/>
              </a:ext>
            </a:extLst>
          </p:cNvPr>
          <p:cNvSpPr txBox="1"/>
          <p:nvPr/>
        </p:nvSpPr>
        <p:spPr>
          <a:xfrm>
            <a:off x="101879" y="5016373"/>
            <a:ext cx="26557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/>
              <a:t>Carrousels</a:t>
            </a:r>
            <a:r>
              <a:rPr lang="es-ES" sz="1600"/>
              <a:t>, </a:t>
            </a:r>
            <a:r>
              <a:rPr lang="es-ES" sz="1600" err="1"/>
              <a:t>collections</a:t>
            </a:r>
            <a:endParaRPr lang="es-ES" sz="1600"/>
          </a:p>
        </p:txBody>
      </p:sp>
      <p:pic>
        <p:nvPicPr>
          <p:cNvPr id="79" name="Picture 2" descr="Meta Logo | significado del logotipo, png, vector">
            <a:extLst>
              <a:ext uri="{FF2B5EF4-FFF2-40B4-BE49-F238E27FC236}">
                <a16:creationId xmlns:a16="http://schemas.microsoft.com/office/drawing/2014/main" id="{5C6FB130-AEE7-2547-7D30-9EB011D510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2262" y="3558331"/>
            <a:ext cx="430599" cy="268817"/>
          </a:xfrm>
          <a:prstGeom prst="rect">
            <a:avLst/>
          </a:prstGeom>
          <a:noFill/>
        </p:spPr>
      </p:pic>
      <p:pic>
        <p:nvPicPr>
          <p:cNvPr id="80" name="Picture 2" descr="Outstream video advertising for publishers | Monetise every page view">
            <a:extLst>
              <a:ext uri="{FF2B5EF4-FFF2-40B4-BE49-F238E27FC236}">
                <a16:creationId xmlns:a16="http://schemas.microsoft.com/office/drawing/2014/main" id="{4BC34579-57AC-848C-6F7A-0E95C797C6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451" b="89296" l="2703" r="97089">
                        <a14:foregroundMark x1="34096" y1="9014" x2="34096" y2="9014"/>
                        <a14:foregroundMark x1="11019" y1="82535" x2="11019" y2="82535"/>
                        <a14:foregroundMark x1="18503" y1="84507" x2="18503" y2="84507"/>
                        <a14:foregroundMark x1="9356" y1="84507" x2="9356" y2="84507"/>
                        <a14:foregroundMark x1="2703" y1="84507" x2="2703" y2="84507"/>
                        <a14:foregroundMark x1="2911" y1="89577" x2="56965" y2="88732"/>
                        <a14:foregroundMark x1="56965" y1="88732" x2="90852" y2="89296"/>
                        <a14:foregroundMark x1="90852" y1="89296" x2="97089" y2="87887"/>
                        <a14:foregroundMark x1="2911" y1="84507" x2="92516" y2="82535"/>
                        <a14:foregroundMark x1="92516" y1="82535" x2="94179" y2="82817"/>
                        <a14:foregroundMark x1="3534" y1="83662" x2="90437" y2="8873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9723" y="3587326"/>
            <a:ext cx="338158" cy="239822"/>
          </a:xfrm>
          <a:prstGeom prst="rect">
            <a:avLst/>
          </a:prstGeom>
          <a:noFill/>
        </p:spPr>
      </p:pic>
      <p:pic>
        <p:nvPicPr>
          <p:cNvPr id="81" name="Picture 36" descr="Youtube Logo - PNG y Vector">
            <a:extLst>
              <a:ext uri="{FF2B5EF4-FFF2-40B4-BE49-F238E27FC236}">
                <a16:creationId xmlns:a16="http://schemas.microsoft.com/office/drawing/2014/main" id="{B66B5D44-7543-0D2D-88AE-127D9067FC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3418" y="4648523"/>
            <a:ext cx="197261" cy="137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4" descr="Checkmark PNG, Checkmark Transparent Background - FreeIconsPNG">
            <a:extLst>
              <a:ext uri="{FF2B5EF4-FFF2-40B4-BE49-F238E27FC236}">
                <a16:creationId xmlns:a16="http://schemas.microsoft.com/office/drawing/2014/main" id="{3E3B8260-B138-FCDC-0581-F88021CAF8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0284" y="2882398"/>
            <a:ext cx="597677" cy="550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4" descr="Checkmark PNG, Checkmark Transparent Background - FreeIconsPNG">
            <a:extLst>
              <a:ext uri="{FF2B5EF4-FFF2-40B4-BE49-F238E27FC236}">
                <a16:creationId xmlns:a16="http://schemas.microsoft.com/office/drawing/2014/main" id="{BBB41C34-9A93-4934-084C-68B2C48C47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5877" y="3406031"/>
            <a:ext cx="597677" cy="550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4" name="Straight Connector 50">
            <a:extLst>
              <a:ext uri="{FF2B5EF4-FFF2-40B4-BE49-F238E27FC236}">
                <a16:creationId xmlns:a16="http://schemas.microsoft.com/office/drawing/2014/main" id="{B64FF503-A04E-6C39-6597-6593B0AE2740}"/>
              </a:ext>
            </a:extLst>
          </p:cNvPr>
          <p:cNvCxnSpPr>
            <a:cxnSpLocks/>
          </p:cNvCxnSpPr>
          <p:nvPr/>
        </p:nvCxnSpPr>
        <p:spPr>
          <a:xfrm flipV="1">
            <a:off x="0" y="2838359"/>
            <a:ext cx="11438278" cy="19821"/>
          </a:xfrm>
          <a:prstGeom prst="line">
            <a:avLst/>
          </a:prstGeom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5" name="Straight Connector 65">
            <a:extLst>
              <a:ext uri="{FF2B5EF4-FFF2-40B4-BE49-F238E27FC236}">
                <a16:creationId xmlns:a16="http://schemas.microsoft.com/office/drawing/2014/main" id="{BB894AB0-FC0F-FF4A-2C3E-B0D96F403C8D}"/>
              </a:ext>
            </a:extLst>
          </p:cNvPr>
          <p:cNvCxnSpPr>
            <a:cxnSpLocks/>
          </p:cNvCxnSpPr>
          <p:nvPr/>
        </p:nvCxnSpPr>
        <p:spPr>
          <a:xfrm flipV="1">
            <a:off x="57496" y="3403724"/>
            <a:ext cx="11438278" cy="19821"/>
          </a:xfrm>
          <a:prstGeom prst="line">
            <a:avLst/>
          </a:prstGeom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6" name="Straight Connector 72">
            <a:extLst>
              <a:ext uri="{FF2B5EF4-FFF2-40B4-BE49-F238E27FC236}">
                <a16:creationId xmlns:a16="http://schemas.microsoft.com/office/drawing/2014/main" id="{A307E8DA-2F9B-2181-EF93-7079BD1C336B}"/>
              </a:ext>
            </a:extLst>
          </p:cNvPr>
          <p:cNvCxnSpPr>
            <a:cxnSpLocks/>
          </p:cNvCxnSpPr>
          <p:nvPr/>
        </p:nvCxnSpPr>
        <p:spPr>
          <a:xfrm flipV="1">
            <a:off x="31690" y="3941282"/>
            <a:ext cx="11438278" cy="19821"/>
          </a:xfrm>
          <a:prstGeom prst="line">
            <a:avLst/>
          </a:prstGeom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7" name="Straight Connector 74">
            <a:extLst>
              <a:ext uri="{FF2B5EF4-FFF2-40B4-BE49-F238E27FC236}">
                <a16:creationId xmlns:a16="http://schemas.microsoft.com/office/drawing/2014/main" id="{53EEA21D-7838-8D2E-4D13-526385C143A5}"/>
              </a:ext>
            </a:extLst>
          </p:cNvPr>
          <p:cNvCxnSpPr>
            <a:cxnSpLocks/>
          </p:cNvCxnSpPr>
          <p:nvPr/>
        </p:nvCxnSpPr>
        <p:spPr>
          <a:xfrm flipV="1">
            <a:off x="3418" y="4440931"/>
            <a:ext cx="11438278" cy="19821"/>
          </a:xfrm>
          <a:prstGeom prst="line">
            <a:avLst/>
          </a:prstGeom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8" name="Straight Connector 78">
            <a:extLst>
              <a:ext uri="{FF2B5EF4-FFF2-40B4-BE49-F238E27FC236}">
                <a16:creationId xmlns:a16="http://schemas.microsoft.com/office/drawing/2014/main" id="{3970EBA7-BF87-92DF-042C-1C4AB2BA7E71}"/>
              </a:ext>
            </a:extLst>
          </p:cNvPr>
          <p:cNvCxnSpPr>
            <a:cxnSpLocks/>
          </p:cNvCxnSpPr>
          <p:nvPr/>
        </p:nvCxnSpPr>
        <p:spPr>
          <a:xfrm flipV="1">
            <a:off x="40224" y="4917442"/>
            <a:ext cx="11438278" cy="19821"/>
          </a:xfrm>
          <a:prstGeom prst="line">
            <a:avLst/>
          </a:prstGeom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9" name="Straight Connector 79">
            <a:extLst>
              <a:ext uri="{FF2B5EF4-FFF2-40B4-BE49-F238E27FC236}">
                <a16:creationId xmlns:a16="http://schemas.microsoft.com/office/drawing/2014/main" id="{D042D383-686E-1E49-7235-FF6E769D6940}"/>
              </a:ext>
            </a:extLst>
          </p:cNvPr>
          <p:cNvCxnSpPr>
            <a:cxnSpLocks/>
          </p:cNvCxnSpPr>
          <p:nvPr/>
        </p:nvCxnSpPr>
        <p:spPr>
          <a:xfrm flipV="1">
            <a:off x="-46799" y="5415629"/>
            <a:ext cx="11438278" cy="19821"/>
          </a:xfrm>
          <a:prstGeom prst="line">
            <a:avLst/>
          </a:prstGeom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90" name="Picture 2" descr="Meta Logo | significado del logotipo, png, vector">
            <a:extLst>
              <a:ext uri="{FF2B5EF4-FFF2-40B4-BE49-F238E27FC236}">
                <a16:creationId xmlns:a16="http://schemas.microsoft.com/office/drawing/2014/main" id="{4D88EC4B-36A7-D107-6253-2AE26DB1E6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10679" y="3041021"/>
            <a:ext cx="430599" cy="268817"/>
          </a:xfrm>
          <a:prstGeom prst="rect">
            <a:avLst/>
          </a:prstGeom>
          <a:noFill/>
        </p:spPr>
      </p:pic>
      <p:pic>
        <p:nvPicPr>
          <p:cNvPr id="91" name="Picture 2" descr="Outstream video advertising for publishers | Monetise every page view">
            <a:extLst>
              <a:ext uri="{FF2B5EF4-FFF2-40B4-BE49-F238E27FC236}">
                <a16:creationId xmlns:a16="http://schemas.microsoft.com/office/drawing/2014/main" id="{AE0504FB-D55F-274A-94D2-52808D8E2A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451" b="89296" l="2703" r="97089">
                        <a14:foregroundMark x1="34096" y1="9014" x2="34096" y2="9014"/>
                        <a14:foregroundMark x1="11019" y1="82535" x2="11019" y2="82535"/>
                        <a14:foregroundMark x1="18503" y1="84507" x2="18503" y2="84507"/>
                        <a14:foregroundMark x1="9356" y1="84507" x2="9356" y2="84507"/>
                        <a14:foregroundMark x1="2703" y1="84507" x2="2703" y2="84507"/>
                        <a14:foregroundMark x1="2911" y1="89577" x2="56965" y2="88732"/>
                        <a14:foregroundMark x1="56965" y1="88732" x2="90852" y2="89296"/>
                        <a14:foregroundMark x1="90852" y1="89296" x2="97089" y2="87887"/>
                        <a14:foregroundMark x1="2911" y1="84507" x2="92516" y2="82535"/>
                        <a14:foregroundMark x1="92516" y1="82535" x2="94179" y2="82817"/>
                        <a14:foregroundMark x1="3534" y1="83662" x2="90437" y2="8873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140" y="3070016"/>
            <a:ext cx="338158" cy="239822"/>
          </a:xfrm>
          <a:prstGeom prst="rect">
            <a:avLst/>
          </a:prstGeom>
          <a:noFill/>
        </p:spPr>
      </p:pic>
      <p:pic>
        <p:nvPicPr>
          <p:cNvPr id="92" name="Picture 2" descr="Meta Logo | significado del logotipo, png, vector">
            <a:extLst>
              <a:ext uri="{FF2B5EF4-FFF2-40B4-BE49-F238E27FC236}">
                <a16:creationId xmlns:a16="http://schemas.microsoft.com/office/drawing/2014/main" id="{20DD20DC-EDEB-8C55-BB03-50777DEDC8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9972" y="3088613"/>
            <a:ext cx="430599" cy="268817"/>
          </a:xfrm>
          <a:prstGeom prst="rect">
            <a:avLst/>
          </a:prstGeom>
          <a:noFill/>
        </p:spPr>
      </p:pic>
      <p:pic>
        <p:nvPicPr>
          <p:cNvPr id="93" name="Picture 2" descr="Meta Logo | significado del logotipo, png, vector">
            <a:extLst>
              <a:ext uri="{FF2B5EF4-FFF2-40B4-BE49-F238E27FC236}">
                <a16:creationId xmlns:a16="http://schemas.microsoft.com/office/drawing/2014/main" id="{9B80D852-DC6C-3851-93B8-A495BC300B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6654" y="5125034"/>
            <a:ext cx="430599" cy="268817"/>
          </a:xfrm>
          <a:prstGeom prst="rect">
            <a:avLst/>
          </a:prstGeom>
          <a:noFill/>
        </p:spPr>
      </p:pic>
      <p:pic>
        <p:nvPicPr>
          <p:cNvPr id="94" name="Picture 2" descr="Outstream video advertising for publishers | Monetise every page view">
            <a:extLst>
              <a:ext uri="{FF2B5EF4-FFF2-40B4-BE49-F238E27FC236}">
                <a16:creationId xmlns:a16="http://schemas.microsoft.com/office/drawing/2014/main" id="{02171FD2-0C18-86C8-20E5-B10FB0B451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451" b="89296" l="2703" r="97089">
                        <a14:foregroundMark x1="34096" y1="9014" x2="34096" y2="9014"/>
                        <a14:foregroundMark x1="11019" y1="82535" x2="11019" y2="82535"/>
                        <a14:foregroundMark x1="18503" y1="84507" x2="18503" y2="84507"/>
                        <a14:foregroundMark x1="9356" y1="84507" x2="9356" y2="84507"/>
                        <a14:foregroundMark x1="2703" y1="84507" x2="2703" y2="84507"/>
                        <a14:foregroundMark x1="2911" y1="89577" x2="56965" y2="88732"/>
                        <a14:foregroundMark x1="56965" y1="88732" x2="90852" y2="89296"/>
                        <a14:foregroundMark x1="90852" y1="89296" x2="97089" y2="87887"/>
                        <a14:foregroundMark x1="2911" y1="84507" x2="92516" y2="82535"/>
                        <a14:foregroundMark x1="92516" y1="82535" x2="94179" y2="82817"/>
                        <a14:foregroundMark x1="3534" y1="83662" x2="90437" y2="8873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140" y="3620174"/>
            <a:ext cx="338158" cy="239822"/>
          </a:xfrm>
          <a:prstGeom prst="rect">
            <a:avLst/>
          </a:prstGeom>
          <a:noFill/>
        </p:spPr>
      </p:pic>
      <p:pic>
        <p:nvPicPr>
          <p:cNvPr id="95" name="Picture 85" descr="Youtube Logo - PNG y Vector">
            <a:extLst>
              <a:ext uri="{FF2B5EF4-FFF2-40B4-BE49-F238E27FC236}">
                <a16:creationId xmlns:a16="http://schemas.microsoft.com/office/drawing/2014/main" id="{162CC6A3-3CCB-0358-258B-9006E34E0D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0784" y="4178720"/>
            <a:ext cx="197261" cy="137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86" descr="Youtube Logo - PNG y Vector">
            <a:extLst>
              <a:ext uri="{FF2B5EF4-FFF2-40B4-BE49-F238E27FC236}">
                <a16:creationId xmlns:a16="http://schemas.microsoft.com/office/drawing/2014/main" id="{6F79E39C-5742-5A03-EA7F-F7D5334398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1802" y="3110040"/>
            <a:ext cx="197261" cy="137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87" descr="Youtube Logo - PNG y Vector">
            <a:extLst>
              <a:ext uri="{FF2B5EF4-FFF2-40B4-BE49-F238E27FC236}">
                <a16:creationId xmlns:a16="http://schemas.microsoft.com/office/drawing/2014/main" id="{03532991-15B4-8D9F-1F30-58DB2C72D8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3592" y="2550988"/>
            <a:ext cx="197261" cy="137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8" name="Straight Connector 88">
            <a:extLst>
              <a:ext uri="{FF2B5EF4-FFF2-40B4-BE49-F238E27FC236}">
                <a16:creationId xmlns:a16="http://schemas.microsoft.com/office/drawing/2014/main" id="{417B7C05-B433-A2CB-0FFE-DD3867599508}"/>
              </a:ext>
            </a:extLst>
          </p:cNvPr>
          <p:cNvCxnSpPr>
            <a:cxnSpLocks/>
          </p:cNvCxnSpPr>
          <p:nvPr/>
        </p:nvCxnSpPr>
        <p:spPr>
          <a:xfrm flipV="1">
            <a:off x="0" y="2293421"/>
            <a:ext cx="11438278" cy="19821"/>
          </a:xfrm>
          <a:prstGeom prst="line">
            <a:avLst/>
          </a:prstGeom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99" name="TextBox 90">
            <a:extLst>
              <a:ext uri="{FF2B5EF4-FFF2-40B4-BE49-F238E27FC236}">
                <a16:creationId xmlns:a16="http://schemas.microsoft.com/office/drawing/2014/main" id="{E344E913-1583-04F1-19FD-21FD55836829}"/>
              </a:ext>
            </a:extLst>
          </p:cNvPr>
          <p:cNvSpPr txBox="1"/>
          <p:nvPr/>
        </p:nvSpPr>
        <p:spPr>
          <a:xfrm>
            <a:off x="3633213" y="5757558"/>
            <a:ext cx="39464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err="1"/>
              <a:t>Reach&amp;Frecuency</a:t>
            </a:r>
            <a:r>
              <a:rPr lang="es-ES" sz="1000"/>
              <a:t>, </a:t>
            </a:r>
            <a:r>
              <a:rPr lang="es-ES" sz="1000" err="1"/>
              <a:t>Impressions</a:t>
            </a:r>
            <a:endParaRPr lang="es-ES" sz="1000"/>
          </a:p>
        </p:txBody>
      </p:sp>
      <p:sp>
        <p:nvSpPr>
          <p:cNvPr id="100" name="TextBox 92">
            <a:extLst>
              <a:ext uri="{FF2B5EF4-FFF2-40B4-BE49-F238E27FC236}">
                <a16:creationId xmlns:a16="http://schemas.microsoft.com/office/drawing/2014/main" id="{71751DEF-AEAC-7A91-A8C6-247E06636A4F}"/>
              </a:ext>
            </a:extLst>
          </p:cNvPr>
          <p:cNvSpPr txBox="1"/>
          <p:nvPr/>
        </p:nvSpPr>
        <p:spPr>
          <a:xfrm>
            <a:off x="6653836" y="5759591"/>
            <a:ext cx="39464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err="1"/>
              <a:t>Views</a:t>
            </a:r>
            <a:r>
              <a:rPr lang="es-ES" sz="1000"/>
              <a:t>, </a:t>
            </a:r>
            <a:r>
              <a:rPr lang="es-ES" sz="1000" err="1"/>
              <a:t>Quartiles</a:t>
            </a:r>
            <a:r>
              <a:rPr lang="es-ES" sz="1000"/>
              <a:t>, VTR 100%</a:t>
            </a:r>
          </a:p>
        </p:txBody>
      </p:sp>
      <p:pic>
        <p:nvPicPr>
          <p:cNvPr id="101" name="Picture 2" descr="Meta Logo | significado del logotipo, png, vector">
            <a:extLst>
              <a:ext uri="{FF2B5EF4-FFF2-40B4-BE49-F238E27FC236}">
                <a16:creationId xmlns:a16="http://schemas.microsoft.com/office/drawing/2014/main" id="{6B675C92-1BBB-EE37-96A5-AC3DDDAF88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360" y="3043978"/>
            <a:ext cx="430599" cy="268817"/>
          </a:xfrm>
          <a:prstGeom prst="rect">
            <a:avLst/>
          </a:prstGeom>
          <a:noFill/>
        </p:spPr>
      </p:pic>
      <p:cxnSp>
        <p:nvCxnSpPr>
          <p:cNvPr id="102" name="Straight Connector 3">
            <a:extLst>
              <a:ext uri="{FF2B5EF4-FFF2-40B4-BE49-F238E27FC236}">
                <a16:creationId xmlns:a16="http://schemas.microsoft.com/office/drawing/2014/main" id="{93517E50-C488-2A0A-A954-C093ACFFDE58}"/>
              </a:ext>
            </a:extLst>
          </p:cNvPr>
          <p:cNvCxnSpPr>
            <a:cxnSpLocks/>
          </p:cNvCxnSpPr>
          <p:nvPr/>
        </p:nvCxnSpPr>
        <p:spPr>
          <a:xfrm flipV="1">
            <a:off x="0" y="1819865"/>
            <a:ext cx="11540157" cy="49491"/>
          </a:xfrm>
          <a:prstGeom prst="line">
            <a:avLst/>
          </a:prstGeom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3" name="TextBox 6">
            <a:extLst>
              <a:ext uri="{FF2B5EF4-FFF2-40B4-BE49-F238E27FC236}">
                <a16:creationId xmlns:a16="http://schemas.microsoft.com/office/drawing/2014/main" id="{9B477C40-E67B-7A58-AE1D-E5E598485DF5}"/>
              </a:ext>
            </a:extLst>
          </p:cNvPr>
          <p:cNvSpPr txBox="1"/>
          <p:nvPr/>
        </p:nvSpPr>
        <p:spPr>
          <a:xfrm>
            <a:off x="132270" y="1945933"/>
            <a:ext cx="25650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/>
              <a:t>Video </a:t>
            </a:r>
            <a:r>
              <a:rPr lang="es-ES" sz="1600" err="1"/>
              <a:t>reach</a:t>
            </a:r>
            <a:r>
              <a:rPr lang="es-ES" sz="1600"/>
              <a:t> </a:t>
            </a:r>
            <a:r>
              <a:rPr lang="es-ES" sz="1600" err="1"/>
              <a:t>campaign</a:t>
            </a:r>
            <a:endParaRPr lang="es-ES"/>
          </a:p>
        </p:txBody>
      </p:sp>
      <p:pic>
        <p:nvPicPr>
          <p:cNvPr id="104" name="Picture 2" descr="See the source image">
            <a:extLst>
              <a:ext uri="{FF2B5EF4-FFF2-40B4-BE49-F238E27FC236}">
                <a16:creationId xmlns:a16="http://schemas.microsoft.com/office/drawing/2014/main" id="{11919691-ED5B-74D4-FA05-78F49462A4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50" t="22593" r="13489" b="13408"/>
          <a:stretch/>
        </p:blipFill>
        <p:spPr bwMode="auto">
          <a:xfrm>
            <a:off x="7618332" y="6075488"/>
            <a:ext cx="277537" cy="256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6" descr="TikTok Logo - PNG y Vector">
            <a:extLst>
              <a:ext uri="{FF2B5EF4-FFF2-40B4-BE49-F238E27FC236}">
                <a16:creationId xmlns:a16="http://schemas.microsoft.com/office/drawing/2014/main" id="{09E933AB-02A9-E270-BA6D-6DFABCF13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8267" y="6052470"/>
            <a:ext cx="277537" cy="309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Imagen 7">
            <a:extLst>
              <a:ext uri="{FF2B5EF4-FFF2-40B4-BE49-F238E27FC236}">
                <a16:creationId xmlns:a16="http://schemas.microsoft.com/office/drawing/2014/main" id="{3EB198F0-9A24-1D1D-2792-9BC68BB3D2F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96590" y="6078359"/>
            <a:ext cx="406231" cy="260792"/>
          </a:xfrm>
          <a:prstGeom prst="rect">
            <a:avLst/>
          </a:prstGeom>
        </p:spPr>
      </p:pic>
      <p:pic>
        <p:nvPicPr>
          <p:cNvPr id="107" name="Picture 4" descr="Seedtag cierra una ronda de financiación Serie B de 40 millones de dólares  liderada por Oakley Capital">
            <a:extLst>
              <a:ext uri="{FF2B5EF4-FFF2-40B4-BE49-F238E27FC236}">
                <a16:creationId xmlns:a16="http://schemas.microsoft.com/office/drawing/2014/main" id="{84880CCD-AAB2-A8DB-6B48-BE479E2C5B9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50" b="24494"/>
          <a:stretch/>
        </p:blipFill>
        <p:spPr bwMode="auto">
          <a:xfrm>
            <a:off x="6966573" y="6106814"/>
            <a:ext cx="569361" cy="196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4" descr="Checkmark PNG, Checkmark Transparent Background - FreeIconsPNG">
            <a:extLst>
              <a:ext uri="{FF2B5EF4-FFF2-40B4-BE49-F238E27FC236}">
                <a16:creationId xmlns:a16="http://schemas.microsoft.com/office/drawing/2014/main" id="{DB9652E5-09CD-DC98-EB97-E7E79FF05E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3643" y="1806838"/>
            <a:ext cx="597677" cy="550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24" descr="Youtube Logo - PNG y Vector">
            <a:extLst>
              <a:ext uri="{FF2B5EF4-FFF2-40B4-BE49-F238E27FC236}">
                <a16:creationId xmlns:a16="http://schemas.microsoft.com/office/drawing/2014/main" id="{E5C70CC2-C817-831D-CBB7-98A8F02BB3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3592" y="2074089"/>
            <a:ext cx="197261" cy="137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2" descr="See the source image">
            <a:extLst>
              <a:ext uri="{FF2B5EF4-FFF2-40B4-BE49-F238E27FC236}">
                <a16:creationId xmlns:a16="http://schemas.microsoft.com/office/drawing/2014/main" id="{BCD16F9C-14C0-B412-BA9E-F9EB37A2B0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50" t="22593" r="13489" b="13408"/>
          <a:stretch/>
        </p:blipFill>
        <p:spPr bwMode="auto">
          <a:xfrm>
            <a:off x="10800806" y="6078482"/>
            <a:ext cx="277537" cy="256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6" descr="TikTok Logo - PNG y Vector">
            <a:extLst>
              <a:ext uri="{FF2B5EF4-FFF2-40B4-BE49-F238E27FC236}">
                <a16:creationId xmlns:a16="http://schemas.microsoft.com/office/drawing/2014/main" id="{8B3AB8E7-43C5-BBAE-5B90-4D7EC3E7AC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741" y="6055464"/>
            <a:ext cx="277537" cy="309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Imagen 7">
            <a:extLst>
              <a:ext uri="{FF2B5EF4-FFF2-40B4-BE49-F238E27FC236}">
                <a16:creationId xmlns:a16="http://schemas.microsoft.com/office/drawing/2014/main" id="{5A50AFBF-A25F-8017-AFFB-9C539281DB9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579064" y="6081353"/>
            <a:ext cx="406231" cy="260792"/>
          </a:xfrm>
          <a:prstGeom prst="rect">
            <a:avLst/>
          </a:prstGeom>
        </p:spPr>
      </p:pic>
      <p:pic>
        <p:nvPicPr>
          <p:cNvPr id="113" name="Picture 4" descr="Seedtag cierra una ronda de financiación Serie B de 40 millones de dólares  liderada por Oakley Capital">
            <a:extLst>
              <a:ext uri="{FF2B5EF4-FFF2-40B4-BE49-F238E27FC236}">
                <a16:creationId xmlns:a16="http://schemas.microsoft.com/office/drawing/2014/main" id="{3145166B-C2A7-B2BC-E927-3436E08E53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50" b="24494"/>
          <a:stretch/>
        </p:blipFill>
        <p:spPr bwMode="auto">
          <a:xfrm>
            <a:off x="10149047" y="6109808"/>
            <a:ext cx="569361" cy="196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Imagen 13">
            <a:extLst>
              <a:ext uri="{FF2B5EF4-FFF2-40B4-BE49-F238E27FC236}">
                <a16:creationId xmlns:a16="http://schemas.microsoft.com/office/drawing/2014/main" id="{555E79A9-BFCC-879B-25F5-2B3789CF892A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3041" t="16572" r="13261" b="29554"/>
          <a:stretch/>
        </p:blipFill>
        <p:spPr>
          <a:xfrm>
            <a:off x="11494234" y="6035541"/>
            <a:ext cx="623402" cy="309895"/>
          </a:xfrm>
          <a:prstGeom prst="rect">
            <a:avLst/>
          </a:prstGeom>
        </p:spPr>
      </p:pic>
      <p:sp>
        <p:nvSpPr>
          <p:cNvPr id="115" name="Rectángulo 114">
            <a:extLst>
              <a:ext uri="{FF2B5EF4-FFF2-40B4-BE49-F238E27FC236}">
                <a16:creationId xmlns:a16="http://schemas.microsoft.com/office/drawing/2014/main" id="{53A4C3AD-A6D4-99C3-1F45-2D43278262F6}"/>
              </a:ext>
            </a:extLst>
          </p:cNvPr>
          <p:cNvSpPr/>
          <p:nvPr/>
        </p:nvSpPr>
        <p:spPr>
          <a:xfrm>
            <a:off x="-844168" y="1084663"/>
            <a:ext cx="5877760" cy="1088701"/>
          </a:xfrm>
          <a:prstGeom prst="rect">
            <a:avLst/>
          </a:prstGeom>
          <a:solidFill>
            <a:srgbClr val="FBB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200" b="1">
                <a:solidFill>
                  <a:schemeClr val="tx1"/>
                </a:solidFill>
              </a:rPr>
              <a:t>Ejemplo</a:t>
            </a:r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7A3793A1-206C-F25B-5DAD-215DAF4A5C70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12" name="Round Same-side Corner of Rectangle 28">
              <a:extLst>
                <a:ext uri="{FF2B5EF4-FFF2-40B4-BE49-F238E27FC236}">
                  <a16:creationId xmlns:a16="http://schemas.microsoft.com/office/drawing/2014/main" id="{7D71AF2A-73F5-08DA-7E74-D747ECF7C1AB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13" name="Group 33">
              <a:extLst>
                <a:ext uri="{FF2B5EF4-FFF2-40B4-BE49-F238E27FC236}">
                  <a16:creationId xmlns:a16="http://schemas.microsoft.com/office/drawing/2014/main" id="{19B0573C-2BE9-ACAB-AF47-3A08A3410806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15" name="Oval 44">
                <a:extLst>
                  <a:ext uri="{FF2B5EF4-FFF2-40B4-BE49-F238E27FC236}">
                    <a16:creationId xmlns:a16="http://schemas.microsoft.com/office/drawing/2014/main" id="{F8115785-C255-1B6E-9CE0-49F622D9D092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16" name="TextBox 45">
                <a:extLst>
                  <a:ext uri="{FF2B5EF4-FFF2-40B4-BE49-F238E27FC236}">
                    <a16:creationId xmlns:a16="http://schemas.microsoft.com/office/drawing/2014/main" id="{4B4BEBAD-EFDB-658A-B6A5-5573EA7AA5B9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14" name="Google Shape;1194;p40">
              <a:extLst>
                <a:ext uri="{FF2B5EF4-FFF2-40B4-BE49-F238E27FC236}">
                  <a16:creationId xmlns:a16="http://schemas.microsoft.com/office/drawing/2014/main" id="{0B124FA8-4175-8FE5-1A0A-317F6274559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461208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CaixaDeTexto 5">
            <a:extLst>
              <a:ext uri="{FF2B5EF4-FFF2-40B4-BE49-F238E27FC236}">
                <a16:creationId xmlns:a16="http://schemas.microsoft.com/office/drawing/2014/main" id="{64480215-D01A-4EF6-9045-7F63B00EF7A6}"/>
              </a:ext>
            </a:extLst>
          </p:cNvPr>
          <p:cNvSpPr txBox="1"/>
          <p:nvPr/>
        </p:nvSpPr>
        <p:spPr>
          <a:xfrm>
            <a:off x="531032" y="1525631"/>
            <a:ext cx="1383493" cy="253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Objective</a:t>
            </a: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8FC53605-DA6E-47BD-B2EE-167D6BD57732}"/>
              </a:ext>
            </a:extLst>
          </p:cNvPr>
          <p:cNvSpPr/>
          <p:nvPr/>
        </p:nvSpPr>
        <p:spPr>
          <a:xfrm>
            <a:off x="645237" y="1788152"/>
            <a:ext cx="427406" cy="56837"/>
          </a:xfrm>
          <a:custGeom>
            <a:avLst/>
            <a:gdLst>
              <a:gd name="connsiteX0" fmla="*/ 399038 w 427462"/>
              <a:gd name="connsiteY0" fmla="*/ 56844 h 56844"/>
              <a:gd name="connsiteX1" fmla="*/ 28422 w 427462"/>
              <a:gd name="connsiteY1" fmla="*/ 56844 h 56844"/>
              <a:gd name="connsiteX2" fmla="*/ 0 w 427462"/>
              <a:gd name="connsiteY2" fmla="*/ 28422 h 56844"/>
              <a:gd name="connsiteX3" fmla="*/ 28422 w 427462"/>
              <a:gd name="connsiteY3" fmla="*/ 0 h 56844"/>
              <a:gd name="connsiteX4" fmla="*/ 399038 w 427462"/>
              <a:gd name="connsiteY4" fmla="*/ 0 h 56844"/>
              <a:gd name="connsiteX5" fmla="*/ 427460 w 427462"/>
              <a:gd name="connsiteY5" fmla="*/ 28422 h 56844"/>
              <a:gd name="connsiteX6" fmla="*/ 399038 w 427462"/>
              <a:gd name="connsiteY6" fmla="*/ 56844 h 56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7462" h="56844">
                <a:moveTo>
                  <a:pt x="399038" y="56844"/>
                </a:moveTo>
                <a:lnTo>
                  <a:pt x="28422" y="56844"/>
                </a:lnTo>
                <a:cubicBezTo>
                  <a:pt x="12611" y="56844"/>
                  <a:pt x="0" y="44045"/>
                  <a:pt x="0" y="28422"/>
                </a:cubicBezTo>
                <a:cubicBezTo>
                  <a:pt x="0" y="12611"/>
                  <a:pt x="12799" y="0"/>
                  <a:pt x="28422" y="0"/>
                </a:cubicBezTo>
                <a:lnTo>
                  <a:pt x="399038" y="0"/>
                </a:lnTo>
                <a:cubicBezTo>
                  <a:pt x="414849" y="0"/>
                  <a:pt x="427460" y="12799"/>
                  <a:pt x="427460" y="28422"/>
                </a:cubicBezTo>
                <a:cubicBezTo>
                  <a:pt x="427648" y="44045"/>
                  <a:pt x="414849" y="56844"/>
                  <a:pt x="399038" y="56844"/>
                </a:cubicBezTo>
                <a:close/>
              </a:path>
            </a:pathLst>
          </a:custGeom>
          <a:solidFill>
            <a:schemeClr val="accent2"/>
          </a:solidFill>
          <a:ln w="188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B3548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77" name="CaixaDeTexto 5">
            <a:extLst>
              <a:ext uri="{FF2B5EF4-FFF2-40B4-BE49-F238E27FC236}">
                <a16:creationId xmlns:a16="http://schemas.microsoft.com/office/drawing/2014/main" id="{4EDCC203-75C6-4D35-B6FF-A27C1F0F1EC1}"/>
              </a:ext>
            </a:extLst>
          </p:cNvPr>
          <p:cNvSpPr txBox="1"/>
          <p:nvPr/>
        </p:nvSpPr>
        <p:spPr>
          <a:xfrm>
            <a:off x="2727477" y="1525631"/>
            <a:ext cx="1554060" cy="253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Search intent</a:t>
            </a: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1B4036CE-1501-4CEC-A10F-1FAAC0EF658B}"/>
              </a:ext>
            </a:extLst>
          </p:cNvPr>
          <p:cNvSpPr/>
          <p:nvPr/>
        </p:nvSpPr>
        <p:spPr>
          <a:xfrm>
            <a:off x="2841682" y="1788152"/>
            <a:ext cx="427406" cy="56837"/>
          </a:xfrm>
          <a:custGeom>
            <a:avLst/>
            <a:gdLst>
              <a:gd name="connsiteX0" fmla="*/ 399038 w 427462"/>
              <a:gd name="connsiteY0" fmla="*/ 56844 h 56844"/>
              <a:gd name="connsiteX1" fmla="*/ 28422 w 427462"/>
              <a:gd name="connsiteY1" fmla="*/ 56844 h 56844"/>
              <a:gd name="connsiteX2" fmla="*/ 0 w 427462"/>
              <a:gd name="connsiteY2" fmla="*/ 28422 h 56844"/>
              <a:gd name="connsiteX3" fmla="*/ 28422 w 427462"/>
              <a:gd name="connsiteY3" fmla="*/ 0 h 56844"/>
              <a:gd name="connsiteX4" fmla="*/ 399038 w 427462"/>
              <a:gd name="connsiteY4" fmla="*/ 0 h 56844"/>
              <a:gd name="connsiteX5" fmla="*/ 427460 w 427462"/>
              <a:gd name="connsiteY5" fmla="*/ 28422 h 56844"/>
              <a:gd name="connsiteX6" fmla="*/ 399038 w 427462"/>
              <a:gd name="connsiteY6" fmla="*/ 56844 h 56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7462" h="56844">
                <a:moveTo>
                  <a:pt x="399038" y="56844"/>
                </a:moveTo>
                <a:lnTo>
                  <a:pt x="28422" y="56844"/>
                </a:lnTo>
                <a:cubicBezTo>
                  <a:pt x="12611" y="56844"/>
                  <a:pt x="0" y="44045"/>
                  <a:pt x="0" y="28422"/>
                </a:cubicBezTo>
                <a:cubicBezTo>
                  <a:pt x="0" y="12611"/>
                  <a:pt x="12799" y="0"/>
                  <a:pt x="28422" y="0"/>
                </a:cubicBezTo>
                <a:lnTo>
                  <a:pt x="399038" y="0"/>
                </a:lnTo>
                <a:cubicBezTo>
                  <a:pt x="414849" y="0"/>
                  <a:pt x="427460" y="12799"/>
                  <a:pt x="427460" y="28422"/>
                </a:cubicBezTo>
                <a:cubicBezTo>
                  <a:pt x="427648" y="44045"/>
                  <a:pt x="414849" y="56844"/>
                  <a:pt x="399038" y="56844"/>
                </a:cubicBezTo>
                <a:close/>
              </a:path>
            </a:pathLst>
          </a:custGeom>
          <a:solidFill>
            <a:schemeClr val="accent2"/>
          </a:solidFill>
          <a:ln w="188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B3548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79" name="CaixaDeTexto 5">
            <a:extLst>
              <a:ext uri="{FF2B5EF4-FFF2-40B4-BE49-F238E27FC236}">
                <a16:creationId xmlns:a16="http://schemas.microsoft.com/office/drawing/2014/main" id="{A155990E-A260-40CD-AF3E-3F8F8C923E2B}"/>
              </a:ext>
            </a:extLst>
          </p:cNvPr>
          <p:cNvSpPr txBox="1"/>
          <p:nvPr/>
        </p:nvSpPr>
        <p:spPr>
          <a:xfrm>
            <a:off x="4319315" y="1525631"/>
            <a:ext cx="1554060" cy="253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Approach</a:t>
            </a: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7945EE35-D5F1-470E-AF6E-62AF5B6447AE}"/>
              </a:ext>
            </a:extLst>
          </p:cNvPr>
          <p:cNvSpPr/>
          <p:nvPr/>
        </p:nvSpPr>
        <p:spPr>
          <a:xfrm>
            <a:off x="4433520" y="1788152"/>
            <a:ext cx="427406" cy="56837"/>
          </a:xfrm>
          <a:custGeom>
            <a:avLst/>
            <a:gdLst>
              <a:gd name="connsiteX0" fmla="*/ 399038 w 427462"/>
              <a:gd name="connsiteY0" fmla="*/ 56844 h 56844"/>
              <a:gd name="connsiteX1" fmla="*/ 28422 w 427462"/>
              <a:gd name="connsiteY1" fmla="*/ 56844 h 56844"/>
              <a:gd name="connsiteX2" fmla="*/ 0 w 427462"/>
              <a:gd name="connsiteY2" fmla="*/ 28422 h 56844"/>
              <a:gd name="connsiteX3" fmla="*/ 28422 w 427462"/>
              <a:gd name="connsiteY3" fmla="*/ 0 h 56844"/>
              <a:gd name="connsiteX4" fmla="*/ 399038 w 427462"/>
              <a:gd name="connsiteY4" fmla="*/ 0 h 56844"/>
              <a:gd name="connsiteX5" fmla="*/ 427460 w 427462"/>
              <a:gd name="connsiteY5" fmla="*/ 28422 h 56844"/>
              <a:gd name="connsiteX6" fmla="*/ 399038 w 427462"/>
              <a:gd name="connsiteY6" fmla="*/ 56844 h 56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7462" h="56844">
                <a:moveTo>
                  <a:pt x="399038" y="56844"/>
                </a:moveTo>
                <a:lnTo>
                  <a:pt x="28422" y="56844"/>
                </a:lnTo>
                <a:cubicBezTo>
                  <a:pt x="12611" y="56844"/>
                  <a:pt x="0" y="44045"/>
                  <a:pt x="0" y="28422"/>
                </a:cubicBezTo>
                <a:cubicBezTo>
                  <a:pt x="0" y="12611"/>
                  <a:pt x="12799" y="0"/>
                  <a:pt x="28422" y="0"/>
                </a:cubicBezTo>
                <a:lnTo>
                  <a:pt x="399038" y="0"/>
                </a:lnTo>
                <a:cubicBezTo>
                  <a:pt x="414849" y="0"/>
                  <a:pt x="427460" y="12799"/>
                  <a:pt x="427460" y="28422"/>
                </a:cubicBezTo>
                <a:cubicBezTo>
                  <a:pt x="427648" y="44045"/>
                  <a:pt x="414849" y="56844"/>
                  <a:pt x="399038" y="56844"/>
                </a:cubicBezTo>
                <a:close/>
              </a:path>
            </a:pathLst>
          </a:custGeom>
          <a:solidFill>
            <a:schemeClr val="accent2"/>
          </a:solidFill>
          <a:ln w="188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B3548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81" name="CaixaDeTexto 5">
            <a:extLst>
              <a:ext uri="{FF2B5EF4-FFF2-40B4-BE49-F238E27FC236}">
                <a16:creationId xmlns:a16="http://schemas.microsoft.com/office/drawing/2014/main" id="{CEFBBE46-26EB-45EE-9F8A-5FDFDAD70351}"/>
              </a:ext>
            </a:extLst>
          </p:cNvPr>
          <p:cNvSpPr txBox="1"/>
          <p:nvPr/>
        </p:nvSpPr>
        <p:spPr>
          <a:xfrm>
            <a:off x="7922879" y="1525631"/>
            <a:ext cx="1243787" cy="253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Keywords</a:t>
            </a:r>
          </a:p>
        </p:txBody>
      </p:sp>
      <p:sp>
        <p:nvSpPr>
          <p:cNvPr id="82" name="Freeform: Shape 81">
            <a:extLst>
              <a:ext uri="{FF2B5EF4-FFF2-40B4-BE49-F238E27FC236}">
                <a16:creationId xmlns:a16="http://schemas.microsoft.com/office/drawing/2014/main" id="{0330FE38-A914-4C1F-95D3-20A0DD1BFECD}"/>
              </a:ext>
            </a:extLst>
          </p:cNvPr>
          <p:cNvSpPr/>
          <p:nvPr/>
        </p:nvSpPr>
        <p:spPr>
          <a:xfrm>
            <a:off x="8037084" y="1788152"/>
            <a:ext cx="427406" cy="56837"/>
          </a:xfrm>
          <a:custGeom>
            <a:avLst/>
            <a:gdLst>
              <a:gd name="connsiteX0" fmla="*/ 399038 w 427462"/>
              <a:gd name="connsiteY0" fmla="*/ 56844 h 56844"/>
              <a:gd name="connsiteX1" fmla="*/ 28422 w 427462"/>
              <a:gd name="connsiteY1" fmla="*/ 56844 h 56844"/>
              <a:gd name="connsiteX2" fmla="*/ 0 w 427462"/>
              <a:gd name="connsiteY2" fmla="*/ 28422 h 56844"/>
              <a:gd name="connsiteX3" fmla="*/ 28422 w 427462"/>
              <a:gd name="connsiteY3" fmla="*/ 0 h 56844"/>
              <a:gd name="connsiteX4" fmla="*/ 399038 w 427462"/>
              <a:gd name="connsiteY4" fmla="*/ 0 h 56844"/>
              <a:gd name="connsiteX5" fmla="*/ 427460 w 427462"/>
              <a:gd name="connsiteY5" fmla="*/ 28422 h 56844"/>
              <a:gd name="connsiteX6" fmla="*/ 399038 w 427462"/>
              <a:gd name="connsiteY6" fmla="*/ 56844 h 56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7462" h="56844">
                <a:moveTo>
                  <a:pt x="399038" y="56844"/>
                </a:moveTo>
                <a:lnTo>
                  <a:pt x="28422" y="56844"/>
                </a:lnTo>
                <a:cubicBezTo>
                  <a:pt x="12611" y="56844"/>
                  <a:pt x="0" y="44045"/>
                  <a:pt x="0" y="28422"/>
                </a:cubicBezTo>
                <a:cubicBezTo>
                  <a:pt x="0" y="12611"/>
                  <a:pt x="12799" y="0"/>
                  <a:pt x="28422" y="0"/>
                </a:cubicBezTo>
                <a:lnTo>
                  <a:pt x="399038" y="0"/>
                </a:lnTo>
                <a:cubicBezTo>
                  <a:pt x="414849" y="0"/>
                  <a:pt x="427460" y="12799"/>
                  <a:pt x="427460" y="28422"/>
                </a:cubicBezTo>
                <a:cubicBezTo>
                  <a:pt x="427648" y="44045"/>
                  <a:pt x="414849" y="56844"/>
                  <a:pt x="399038" y="56844"/>
                </a:cubicBezTo>
                <a:close/>
              </a:path>
            </a:pathLst>
          </a:custGeom>
          <a:solidFill>
            <a:schemeClr val="accent2"/>
          </a:solidFill>
          <a:ln w="188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B3548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83" name="CaixaDeTexto 5">
            <a:extLst>
              <a:ext uri="{FF2B5EF4-FFF2-40B4-BE49-F238E27FC236}">
                <a16:creationId xmlns:a16="http://schemas.microsoft.com/office/drawing/2014/main" id="{FA20258F-83BD-42DD-B255-4FA5C6CAD42C}"/>
              </a:ext>
            </a:extLst>
          </p:cNvPr>
          <p:cNvSpPr txBox="1"/>
          <p:nvPr/>
        </p:nvSpPr>
        <p:spPr>
          <a:xfrm>
            <a:off x="9518835" y="1525631"/>
            <a:ext cx="1243787" cy="2531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Coverage</a:t>
            </a:r>
          </a:p>
        </p:txBody>
      </p:sp>
      <p:sp>
        <p:nvSpPr>
          <p:cNvPr id="84" name="Freeform: Shape 83">
            <a:extLst>
              <a:ext uri="{FF2B5EF4-FFF2-40B4-BE49-F238E27FC236}">
                <a16:creationId xmlns:a16="http://schemas.microsoft.com/office/drawing/2014/main" id="{918B4C69-CB81-4017-86D4-ACA446065D26}"/>
              </a:ext>
            </a:extLst>
          </p:cNvPr>
          <p:cNvSpPr/>
          <p:nvPr/>
        </p:nvSpPr>
        <p:spPr>
          <a:xfrm>
            <a:off x="9633041" y="1788152"/>
            <a:ext cx="427406" cy="56837"/>
          </a:xfrm>
          <a:custGeom>
            <a:avLst/>
            <a:gdLst>
              <a:gd name="connsiteX0" fmla="*/ 399038 w 427462"/>
              <a:gd name="connsiteY0" fmla="*/ 56844 h 56844"/>
              <a:gd name="connsiteX1" fmla="*/ 28422 w 427462"/>
              <a:gd name="connsiteY1" fmla="*/ 56844 h 56844"/>
              <a:gd name="connsiteX2" fmla="*/ 0 w 427462"/>
              <a:gd name="connsiteY2" fmla="*/ 28422 h 56844"/>
              <a:gd name="connsiteX3" fmla="*/ 28422 w 427462"/>
              <a:gd name="connsiteY3" fmla="*/ 0 h 56844"/>
              <a:gd name="connsiteX4" fmla="*/ 399038 w 427462"/>
              <a:gd name="connsiteY4" fmla="*/ 0 h 56844"/>
              <a:gd name="connsiteX5" fmla="*/ 427460 w 427462"/>
              <a:gd name="connsiteY5" fmla="*/ 28422 h 56844"/>
              <a:gd name="connsiteX6" fmla="*/ 399038 w 427462"/>
              <a:gd name="connsiteY6" fmla="*/ 56844 h 56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7462" h="56844">
                <a:moveTo>
                  <a:pt x="399038" y="56844"/>
                </a:moveTo>
                <a:lnTo>
                  <a:pt x="28422" y="56844"/>
                </a:lnTo>
                <a:cubicBezTo>
                  <a:pt x="12611" y="56844"/>
                  <a:pt x="0" y="44045"/>
                  <a:pt x="0" y="28422"/>
                </a:cubicBezTo>
                <a:cubicBezTo>
                  <a:pt x="0" y="12611"/>
                  <a:pt x="12799" y="0"/>
                  <a:pt x="28422" y="0"/>
                </a:cubicBezTo>
                <a:lnTo>
                  <a:pt x="399038" y="0"/>
                </a:lnTo>
                <a:cubicBezTo>
                  <a:pt x="414849" y="0"/>
                  <a:pt x="427460" y="12799"/>
                  <a:pt x="427460" y="28422"/>
                </a:cubicBezTo>
                <a:cubicBezTo>
                  <a:pt x="427648" y="44045"/>
                  <a:pt x="414849" y="56844"/>
                  <a:pt x="399038" y="56844"/>
                </a:cubicBezTo>
                <a:close/>
              </a:path>
            </a:pathLst>
          </a:custGeom>
          <a:solidFill>
            <a:schemeClr val="accent2"/>
          </a:solidFill>
          <a:ln w="188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B3548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85" name="CaixaDeTexto 5">
            <a:extLst>
              <a:ext uri="{FF2B5EF4-FFF2-40B4-BE49-F238E27FC236}">
                <a16:creationId xmlns:a16="http://schemas.microsoft.com/office/drawing/2014/main" id="{C32DF497-1234-4799-994A-035CE26EA775}"/>
              </a:ext>
            </a:extLst>
          </p:cNvPr>
          <p:cNvSpPr txBox="1"/>
          <p:nvPr/>
        </p:nvSpPr>
        <p:spPr>
          <a:xfrm>
            <a:off x="2727477" y="2336867"/>
            <a:ext cx="1330173" cy="48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Informational</a:t>
            </a:r>
          </a:p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Transactional</a:t>
            </a:r>
          </a:p>
        </p:txBody>
      </p:sp>
      <p:sp>
        <p:nvSpPr>
          <p:cNvPr id="86" name="CaixaDeTexto 5">
            <a:extLst>
              <a:ext uri="{FF2B5EF4-FFF2-40B4-BE49-F238E27FC236}">
                <a16:creationId xmlns:a16="http://schemas.microsoft.com/office/drawing/2014/main" id="{C2DE1812-135D-4446-9340-0515FACCF751}"/>
              </a:ext>
            </a:extLst>
          </p:cNvPr>
          <p:cNvSpPr txBox="1"/>
          <p:nvPr/>
        </p:nvSpPr>
        <p:spPr>
          <a:xfrm>
            <a:off x="2727477" y="3619889"/>
            <a:ext cx="1554060" cy="48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Informational</a:t>
            </a:r>
          </a:p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Transactional</a:t>
            </a:r>
          </a:p>
        </p:txBody>
      </p:sp>
      <p:sp>
        <p:nvSpPr>
          <p:cNvPr id="87" name="CaixaDeTexto 5">
            <a:extLst>
              <a:ext uri="{FF2B5EF4-FFF2-40B4-BE49-F238E27FC236}">
                <a16:creationId xmlns:a16="http://schemas.microsoft.com/office/drawing/2014/main" id="{7F391584-4BB2-4CC6-875B-0811F50338D1}"/>
              </a:ext>
            </a:extLst>
          </p:cNvPr>
          <p:cNvSpPr txBox="1"/>
          <p:nvPr/>
        </p:nvSpPr>
        <p:spPr>
          <a:xfrm>
            <a:off x="2727477" y="5065181"/>
            <a:ext cx="1554060" cy="6440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Informational</a:t>
            </a:r>
          </a:p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Non-Transactional</a:t>
            </a:r>
          </a:p>
        </p:txBody>
      </p:sp>
      <p:sp>
        <p:nvSpPr>
          <p:cNvPr id="88" name="CaixaDeTexto 5">
            <a:extLst>
              <a:ext uri="{FF2B5EF4-FFF2-40B4-BE49-F238E27FC236}">
                <a16:creationId xmlns:a16="http://schemas.microsoft.com/office/drawing/2014/main" id="{6AE82D53-FE55-4FF9-A517-E3F3319C547B}"/>
              </a:ext>
            </a:extLst>
          </p:cNvPr>
          <p:cNvSpPr txBox="1"/>
          <p:nvPr/>
        </p:nvSpPr>
        <p:spPr>
          <a:xfrm>
            <a:off x="4413634" y="2258384"/>
            <a:ext cx="2412257" cy="800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Be there whenever </a:t>
            </a:r>
            <a:b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someone googles our brands</a:t>
            </a:r>
          </a:p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Drive consideration &amp; sales </a:t>
            </a:r>
          </a:p>
        </p:txBody>
      </p:sp>
      <p:sp>
        <p:nvSpPr>
          <p:cNvPr id="89" name="CaixaDeTexto 5">
            <a:extLst>
              <a:ext uri="{FF2B5EF4-FFF2-40B4-BE49-F238E27FC236}">
                <a16:creationId xmlns:a16="http://schemas.microsoft.com/office/drawing/2014/main" id="{312AD2D3-1824-447C-A67A-2554447CCB89}"/>
              </a:ext>
            </a:extLst>
          </p:cNvPr>
          <p:cNvSpPr txBox="1"/>
          <p:nvPr/>
        </p:nvSpPr>
        <p:spPr>
          <a:xfrm>
            <a:off x="4448175" y="3462923"/>
            <a:ext cx="3067050" cy="7971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/>
                <a:cs typeface="Arial"/>
              </a:rPr>
              <a:t>Be </a:t>
            </a:r>
            <a:r>
              <a:rPr lang="en-GB" sz="1200">
                <a:solidFill>
                  <a:srgbClr val="1B3548"/>
                </a:solidFill>
                <a:ea typeface="Verdana"/>
                <a:cs typeface="Arial"/>
              </a:rPr>
              <a:t>there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/>
                <a:cs typeface="Arial"/>
              </a:rPr>
              <a:t> whenever someone googles something related to our product / treatment / pathology / symptoms</a:t>
            </a:r>
          </a:p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Drive consideration &amp; sales </a:t>
            </a:r>
          </a:p>
        </p:txBody>
      </p:sp>
      <p:sp>
        <p:nvSpPr>
          <p:cNvPr id="90" name="CaixaDeTexto 5">
            <a:extLst>
              <a:ext uri="{FF2B5EF4-FFF2-40B4-BE49-F238E27FC236}">
                <a16:creationId xmlns:a16="http://schemas.microsoft.com/office/drawing/2014/main" id="{A6794399-CF1A-4F3A-8ABA-6D0C534AF750}"/>
              </a:ext>
            </a:extLst>
          </p:cNvPr>
          <p:cNvSpPr txBox="1"/>
          <p:nvPr/>
        </p:nvSpPr>
        <p:spPr>
          <a:xfrm>
            <a:off x="4463628" y="5065181"/>
            <a:ext cx="3223048" cy="48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Drive Brand/Product awareness </a:t>
            </a:r>
          </a:p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Let the consumers discover our brands</a:t>
            </a:r>
          </a:p>
        </p:txBody>
      </p:sp>
      <p:sp>
        <p:nvSpPr>
          <p:cNvPr id="92" name="CaixaDeTexto 5">
            <a:extLst>
              <a:ext uri="{FF2B5EF4-FFF2-40B4-BE49-F238E27FC236}">
                <a16:creationId xmlns:a16="http://schemas.microsoft.com/office/drawing/2014/main" id="{22DF7320-54A9-42CD-9AE1-24973D997239}"/>
              </a:ext>
            </a:extLst>
          </p:cNvPr>
          <p:cNvSpPr txBox="1"/>
          <p:nvPr/>
        </p:nvSpPr>
        <p:spPr>
          <a:xfrm>
            <a:off x="7923605" y="3407664"/>
            <a:ext cx="1486348" cy="9510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509453">
              <a:lnSpc>
                <a:spcPct val="85000"/>
              </a:lnSpc>
              <a:spcBef>
                <a:spcPts val="600"/>
              </a:spcBef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Product </a:t>
            </a:r>
            <a:endParaRPr lang="en-US"/>
          </a:p>
          <a:p>
            <a:pPr defTabSz="509453">
              <a:lnSpc>
                <a:spcPct val="85000"/>
              </a:lnSpc>
              <a:spcBef>
                <a:spcPts val="600"/>
              </a:spcBef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Treatment</a:t>
            </a:r>
            <a:endParaRPr lang="en-US"/>
          </a:p>
          <a:p>
            <a:pPr defTabSz="509453">
              <a:lnSpc>
                <a:spcPct val="85000"/>
              </a:lnSpc>
              <a:spcBef>
                <a:spcPts val="600"/>
              </a:spcBef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Pathology</a:t>
            </a:r>
            <a:endParaRPr lang="en-US"/>
          </a:p>
          <a:p>
            <a:pPr marL="0" lvl="0" indent="0" algn="l" defTabSz="509453">
              <a:lnSpc>
                <a:spcPct val="85000"/>
              </a:lnSpc>
              <a:spcBef>
                <a:spcPts val="600"/>
              </a:spcBef>
              <a:buNone/>
              <a:tabLst/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Symptoms</a:t>
            </a:r>
            <a:endParaRPr lang="en-US"/>
          </a:p>
        </p:txBody>
      </p:sp>
      <p:sp>
        <p:nvSpPr>
          <p:cNvPr id="93" name="CaixaDeTexto 5">
            <a:extLst>
              <a:ext uri="{FF2B5EF4-FFF2-40B4-BE49-F238E27FC236}">
                <a16:creationId xmlns:a16="http://schemas.microsoft.com/office/drawing/2014/main" id="{36996608-3F40-453B-AA10-32834E323930}"/>
              </a:ext>
            </a:extLst>
          </p:cNvPr>
          <p:cNvSpPr txBox="1"/>
          <p:nvPr/>
        </p:nvSpPr>
        <p:spPr>
          <a:xfrm>
            <a:off x="7922879" y="4948226"/>
            <a:ext cx="1554060" cy="71711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509453">
              <a:lnSpc>
                <a:spcPct val="85000"/>
              </a:lnSpc>
              <a:spcBef>
                <a:spcPts val="600"/>
              </a:spcBef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Pure Generic</a:t>
            </a:r>
            <a:endParaRPr lang="en-US"/>
          </a:p>
          <a:p>
            <a:pPr defTabSz="509453">
              <a:lnSpc>
                <a:spcPct val="85000"/>
              </a:lnSpc>
              <a:spcBef>
                <a:spcPts val="600"/>
              </a:spcBef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Affinity</a:t>
            </a:r>
            <a:endParaRPr lang="en-US">
              <a:ea typeface="Verdana"/>
              <a:cs typeface="Arial"/>
            </a:endParaRPr>
          </a:p>
          <a:p>
            <a:pPr defTabSz="509453">
              <a:lnSpc>
                <a:spcPct val="85000"/>
              </a:lnSpc>
              <a:spcBef>
                <a:spcPts val="600"/>
              </a:spcBef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Competitors</a:t>
            </a:r>
            <a:endParaRPr lang="en-US">
              <a:ea typeface="Verdana"/>
              <a:cs typeface="Arial"/>
            </a:endParaRPr>
          </a:p>
        </p:txBody>
      </p:sp>
      <p:sp>
        <p:nvSpPr>
          <p:cNvPr id="94" name="CaixaDeTexto 5">
            <a:extLst>
              <a:ext uri="{FF2B5EF4-FFF2-40B4-BE49-F238E27FC236}">
                <a16:creationId xmlns:a16="http://schemas.microsoft.com/office/drawing/2014/main" id="{E11BF1CE-59D8-4677-A51D-8A450012E389}"/>
              </a:ext>
            </a:extLst>
          </p:cNvPr>
          <p:cNvSpPr txBox="1"/>
          <p:nvPr/>
        </p:nvSpPr>
        <p:spPr>
          <a:xfrm>
            <a:off x="9518836" y="2219912"/>
            <a:ext cx="2177864" cy="717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Maximum IS possible</a:t>
            </a:r>
          </a:p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No Lost IS due to budget</a:t>
            </a:r>
          </a:p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IS range= 90/100%</a:t>
            </a:r>
          </a:p>
        </p:txBody>
      </p:sp>
      <p:sp>
        <p:nvSpPr>
          <p:cNvPr id="95" name="CaixaDeTexto 5">
            <a:extLst>
              <a:ext uri="{FF2B5EF4-FFF2-40B4-BE49-F238E27FC236}">
                <a16:creationId xmlns:a16="http://schemas.microsoft.com/office/drawing/2014/main" id="{5F7D7ED1-54E2-4199-AEC9-A357F60BD0E3}"/>
              </a:ext>
            </a:extLst>
          </p:cNvPr>
          <p:cNvSpPr txBox="1"/>
          <p:nvPr/>
        </p:nvSpPr>
        <p:spPr>
          <a:xfrm>
            <a:off x="9518835" y="3502934"/>
            <a:ext cx="2205986" cy="717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Maximum IS possible</a:t>
            </a:r>
          </a:p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No Lost IS due to budget</a:t>
            </a:r>
          </a:p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IS range= 80/90%</a:t>
            </a:r>
          </a:p>
        </p:txBody>
      </p:sp>
      <p:sp>
        <p:nvSpPr>
          <p:cNvPr id="96" name="CaixaDeTexto 5">
            <a:extLst>
              <a:ext uri="{FF2B5EF4-FFF2-40B4-BE49-F238E27FC236}">
                <a16:creationId xmlns:a16="http://schemas.microsoft.com/office/drawing/2014/main" id="{E620FBB9-BF34-4F97-A269-CC1A7EB25CE0}"/>
              </a:ext>
            </a:extLst>
          </p:cNvPr>
          <p:cNvSpPr txBox="1"/>
          <p:nvPr/>
        </p:nvSpPr>
        <p:spPr>
          <a:xfrm>
            <a:off x="9518835" y="5065181"/>
            <a:ext cx="1668957" cy="48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Ah hoc approach</a:t>
            </a:r>
          </a:p>
          <a:p>
            <a:pPr marL="0" marR="0" lvl="0" indent="0" algn="l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IS range= 10/50%</a:t>
            </a:r>
          </a:p>
        </p:txBody>
      </p:sp>
      <p:sp>
        <p:nvSpPr>
          <p:cNvPr id="97" name="Forma livre: Forma 488">
            <a:extLst>
              <a:ext uri="{FF2B5EF4-FFF2-40B4-BE49-F238E27FC236}">
                <a16:creationId xmlns:a16="http://schemas.microsoft.com/office/drawing/2014/main" id="{D9AEDD81-7CE7-4AFF-81F6-2E9B8E0AE3DC}"/>
              </a:ext>
            </a:extLst>
          </p:cNvPr>
          <p:cNvSpPr/>
          <p:nvPr/>
        </p:nvSpPr>
        <p:spPr>
          <a:xfrm rot="10800000" flipV="1">
            <a:off x="2907202" y="3195272"/>
            <a:ext cx="8583823" cy="34350"/>
          </a:xfrm>
          <a:custGeom>
            <a:avLst/>
            <a:gdLst>
              <a:gd name="connsiteX0" fmla="*/ 97474 w 12195374"/>
              <a:gd name="connsiteY0" fmla="*/ 70062 h 200232"/>
              <a:gd name="connsiteX1" fmla="*/ 685019 w 12195374"/>
              <a:gd name="connsiteY1" fmla="*/ 86410 h 200232"/>
              <a:gd name="connsiteX2" fmla="*/ 1000037 w 12195374"/>
              <a:gd name="connsiteY2" fmla="*/ 89803 h 200232"/>
              <a:gd name="connsiteX3" fmla="*/ 1344359 w 12195374"/>
              <a:gd name="connsiteY3" fmla="*/ 92271 h 200232"/>
              <a:gd name="connsiteX4" fmla="*/ 1756697 w 12195374"/>
              <a:gd name="connsiteY4" fmla="*/ 93505 h 200232"/>
              <a:gd name="connsiteX5" fmla="*/ 2024597 w 12195374"/>
              <a:gd name="connsiteY5" fmla="*/ 89186 h 200232"/>
              <a:gd name="connsiteX6" fmla="*/ 2466547 w 12195374"/>
              <a:gd name="connsiteY6" fmla="*/ 86873 h 200232"/>
              <a:gd name="connsiteX7" fmla="*/ 2862537 w 12195374"/>
              <a:gd name="connsiteY7" fmla="*/ 82246 h 200232"/>
              <a:gd name="connsiteX8" fmla="*/ 3440674 w 12195374"/>
              <a:gd name="connsiteY8" fmla="*/ 70601 h 200232"/>
              <a:gd name="connsiteX9" fmla="*/ 3506993 w 12195374"/>
              <a:gd name="connsiteY9" fmla="*/ 70524 h 200232"/>
              <a:gd name="connsiteX10" fmla="*/ 3400265 w 12195374"/>
              <a:gd name="connsiteY10" fmla="*/ 76925 h 200232"/>
              <a:gd name="connsiteX11" fmla="*/ 3096891 w 12195374"/>
              <a:gd name="connsiteY11" fmla="*/ 83788 h 200232"/>
              <a:gd name="connsiteX12" fmla="*/ 2662344 w 12195374"/>
              <a:gd name="connsiteY12" fmla="*/ 93890 h 200232"/>
              <a:gd name="connsiteX13" fmla="*/ 2479271 w 12195374"/>
              <a:gd name="connsiteY13" fmla="*/ 97746 h 200232"/>
              <a:gd name="connsiteX14" fmla="*/ 1985885 w 12195374"/>
              <a:gd name="connsiteY14" fmla="*/ 103684 h 200232"/>
              <a:gd name="connsiteX15" fmla="*/ 1825793 w 12195374"/>
              <a:gd name="connsiteY15" fmla="*/ 107000 h 200232"/>
              <a:gd name="connsiteX16" fmla="*/ 1159590 w 12195374"/>
              <a:gd name="connsiteY16" fmla="*/ 103838 h 200232"/>
              <a:gd name="connsiteX17" fmla="*/ 654558 w 12195374"/>
              <a:gd name="connsiteY17" fmla="*/ 104532 h 200232"/>
              <a:gd name="connsiteX18" fmla="*/ 374243 w 12195374"/>
              <a:gd name="connsiteY18" fmla="*/ 103915 h 200232"/>
              <a:gd name="connsiteX19" fmla="*/ 99402 w 12195374"/>
              <a:gd name="connsiteY19" fmla="*/ 104764 h 200232"/>
              <a:gd name="connsiteX20" fmla="*/ 68170 w 12195374"/>
              <a:gd name="connsiteY20" fmla="*/ 107386 h 200232"/>
              <a:gd name="connsiteX21" fmla="*/ 272527 w 12195374"/>
              <a:gd name="connsiteY21" fmla="*/ 114634 h 200232"/>
              <a:gd name="connsiteX22" fmla="*/ 478349 w 12195374"/>
              <a:gd name="connsiteY22" fmla="*/ 119030 h 200232"/>
              <a:gd name="connsiteX23" fmla="*/ 678696 w 12195374"/>
              <a:gd name="connsiteY23" fmla="*/ 123349 h 200232"/>
              <a:gd name="connsiteX24" fmla="*/ 881664 w 12195374"/>
              <a:gd name="connsiteY24" fmla="*/ 128130 h 200232"/>
              <a:gd name="connsiteX25" fmla="*/ 1085096 w 12195374"/>
              <a:gd name="connsiteY25" fmla="*/ 133913 h 200232"/>
              <a:gd name="connsiteX26" fmla="*/ 1281201 w 12195374"/>
              <a:gd name="connsiteY26" fmla="*/ 137075 h 200232"/>
              <a:gd name="connsiteX27" fmla="*/ 1058799 w 12195374"/>
              <a:gd name="connsiteY27" fmla="*/ 140237 h 200232"/>
              <a:gd name="connsiteX28" fmla="*/ 829611 w 12195374"/>
              <a:gd name="connsiteY28" fmla="*/ 140314 h 200232"/>
              <a:gd name="connsiteX29" fmla="*/ 718487 w 12195374"/>
              <a:gd name="connsiteY29" fmla="*/ 140700 h 200232"/>
              <a:gd name="connsiteX30" fmla="*/ 560786 w 12195374"/>
              <a:gd name="connsiteY30" fmla="*/ 146406 h 200232"/>
              <a:gd name="connsiteX31" fmla="*/ 507036 w 12195374"/>
              <a:gd name="connsiteY31" fmla="*/ 147177 h 200232"/>
              <a:gd name="connsiteX32" fmla="*/ 506111 w 12195374"/>
              <a:gd name="connsiteY32" fmla="*/ 150570 h 200232"/>
              <a:gd name="connsiteX33" fmla="*/ 547059 w 12195374"/>
              <a:gd name="connsiteY33" fmla="*/ 152498 h 200232"/>
              <a:gd name="connsiteX34" fmla="*/ 705918 w 12195374"/>
              <a:gd name="connsiteY34" fmla="*/ 152961 h 200232"/>
              <a:gd name="connsiteX35" fmla="*/ 1111624 w 12195374"/>
              <a:gd name="connsiteY35" fmla="*/ 155352 h 200232"/>
              <a:gd name="connsiteX36" fmla="*/ 1541852 w 12195374"/>
              <a:gd name="connsiteY36" fmla="*/ 159285 h 200232"/>
              <a:gd name="connsiteX37" fmla="*/ 2018119 w 12195374"/>
              <a:gd name="connsiteY37" fmla="*/ 157125 h 200232"/>
              <a:gd name="connsiteX38" fmla="*/ 2540347 w 12195374"/>
              <a:gd name="connsiteY38" fmla="*/ 153501 h 200232"/>
              <a:gd name="connsiteX39" fmla="*/ 2947672 w 12195374"/>
              <a:gd name="connsiteY39" fmla="*/ 149568 h 200232"/>
              <a:gd name="connsiteX40" fmla="*/ 2945590 w 12195374"/>
              <a:gd name="connsiteY40" fmla="*/ 150108 h 200232"/>
              <a:gd name="connsiteX41" fmla="*/ 3092882 w 12195374"/>
              <a:gd name="connsiteY41" fmla="*/ 147332 h 200232"/>
              <a:gd name="connsiteX42" fmla="*/ 3202000 w 12195374"/>
              <a:gd name="connsiteY42" fmla="*/ 149876 h 200232"/>
              <a:gd name="connsiteX43" fmla="*/ 3202540 w 12195374"/>
              <a:gd name="connsiteY43" fmla="*/ 147563 h 200232"/>
              <a:gd name="connsiteX44" fmla="*/ 3135989 w 12195374"/>
              <a:gd name="connsiteY44" fmla="*/ 146252 h 200232"/>
              <a:gd name="connsiteX45" fmla="*/ 3162517 w 12195374"/>
              <a:gd name="connsiteY45" fmla="*/ 143399 h 200232"/>
              <a:gd name="connsiteX46" fmla="*/ 3494655 w 12195374"/>
              <a:gd name="connsiteY46" fmla="*/ 136690 h 200232"/>
              <a:gd name="connsiteX47" fmla="*/ 3671635 w 12195374"/>
              <a:gd name="connsiteY47" fmla="*/ 135687 h 200232"/>
              <a:gd name="connsiteX48" fmla="*/ 4089988 w 12195374"/>
              <a:gd name="connsiteY48" fmla="*/ 130212 h 200232"/>
              <a:gd name="connsiteX49" fmla="*/ 4617923 w 12195374"/>
              <a:gd name="connsiteY49" fmla="*/ 132063 h 200232"/>
              <a:gd name="connsiteX50" fmla="*/ 4881273 w 12195374"/>
              <a:gd name="connsiteY50" fmla="*/ 131677 h 200232"/>
              <a:gd name="connsiteX51" fmla="*/ 5408976 w 12195374"/>
              <a:gd name="connsiteY51" fmla="*/ 130752 h 200232"/>
              <a:gd name="connsiteX52" fmla="*/ 6230027 w 12195374"/>
              <a:gd name="connsiteY52" fmla="*/ 131446 h 200232"/>
              <a:gd name="connsiteX53" fmla="*/ 6579131 w 12195374"/>
              <a:gd name="connsiteY53" fmla="*/ 133374 h 200232"/>
              <a:gd name="connsiteX54" fmla="*/ 7026787 w 12195374"/>
              <a:gd name="connsiteY54" fmla="*/ 131986 h 200232"/>
              <a:gd name="connsiteX55" fmla="*/ 7541303 w 12195374"/>
              <a:gd name="connsiteY55" fmla="*/ 123194 h 200232"/>
              <a:gd name="connsiteX56" fmla="*/ 8045255 w 12195374"/>
              <a:gd name="connsiteY56" fmla="*/ 114095 h 200232"/>
              <a:gd name="connsiteX57" fmla="*/ 8406388 w 12195374"/>
              <a:gd name="connsiteY57" fmla="*/ 111164 h 200232"/>
              <a:gd name="connsiteX58" fmla="*/ 8743075 w 12195374"/>
              <a:gd name="connsiteY58" fmla="*/ 113786 h 200232"/>
              <a:gd name="connsiteX59" fmla="*/ 8742921 w 12195374"/>
              <a:gd name="connsiteY59" fmla="*/ 117796 h 200232"/>
              <a:gd name="connsiteX60" fmla="*/ 8207121 w 12195374"/>
              <a:gd name="connsiteY60" fmla="*/ 117796 h 200232"/>
              <a:gd name="connsiteX61" fmla="*/ 8224009 w 12195374"/>
              <a:gd name="connsiteY61" fmla="*/ 120572 h 200232"/>
              <a:gd name="connsiteX62" fmla="*/ 8723333 w 12195374"/>
              <a:gd name="connsiteY62" fmla="*/ 119878 h 200232"/>
              <a:gd name="connsiteX63" fmla="*/ 8790502 w 12195374"/>
              <a:gd name="connsiteY63" fmla="*/ 122269 h 200232"/>
              <a:gd name="connsiteX64" fmla="*/ 8837928 w 12195374"/>
              <a:gd name="connsiteY64" fmla="*/ 114789 h 200232"/>
              <a:gd name="connsiteX65" fmla="*/ 8974808 w 12195374"/>
              <a:gd name="connsiteY65" fmla="*/ 117025 h 200232"/>
              <a:gd name="connsiteX66" fmla="*/ 9289363 w 12195374"/>
              <a:gd name="connsiteY66" fmla="*/ 120495 h 200232"/>
              <a:gd name="connsiteX67" fmla="*/ 9658902 w 12195374"/>
              <a:gd name="connsiteY67" fmla="*/ 130520 h 200232"/>
              <a:gd name="connsiteX68" fmla="*/ 9886393 w 12195374"/>
              <a:gd name="connsiteY68" fmla="*/ 133451 h 200232"/>
              <a:gd name="connsiteX69" fmla="*/ 9981400 w 12195374"/>
              <a:gd name="connsiteY69" fmla="*/ 134530 h 200232"/>
              <a:gd name="connsiteX70" fmla="*/ 9740799 w 12195374"/>
              <a:gd name="connsiteY70" fmla="*/ 134685 h 200232"/>
              <a:gd name="connsiteX71" fmla="*/ 9580861 w 12195374"/>
              <a:gd name="connsiteY71" fmla="*/ 133836 h 200232"/>
              <a:gd name="connsiteX72" fmla="*/ 9581477 w 12195374"/>
              <a:gd name="connsiteY72" fmla="*/ 133374 h 200232"/>
              <a:gd name="connsiteX73" fmla="*/ 9581477 w 12195374"/>
              <a:gd name="connsiteY73" fmla="*/ 133374 h 200232"/>
              <a:gd name="connsiteX74" fmla="*/ 9581477 w 12195374"/>
              <a:gd name="connsiteY74" fmla="*/ 133374 h 200232"/>
              <a:gd name="connsiteX75" fmla="*/ 9576157 w 12195374"/>
              <a:gd name="connsiteY75" fmla="*/ 133374 h 200232"/>
              <a:gd name="connsiteX76" fmla="*/ 9578315 w 12195374"/>
              <a:gd name="connsiteY76" fmla="*/ 133605 h 200232"/>
              <a:gd name="connsiteX77" fmla="*/ 9396940 w 12195374"/>
              <a:gd name="connsiteY77" fmla="*/ 133528 h 200232"/>
              <a:gd name="connsiteX78" fmla="*/ 9397788 w 12195374"/>
              <a:gd name="connsiteY78" fmla="*/ 133374 h 200232"/>
              <a:gd name="connsiteX79" fmla="*/ 9395012 w 12195374"/>
              <a:gd name="connsiteY79" fmla="*/ 133374 h 200232"/>
              <a:gd name="connsiteX80" fmla="*/ 9395552 w 12195374"/>
              <a:gd name="connsiteY80" fmla="*/ 133836 h 200232"/>
              <a:gd name="connsiteX81" fmla="*/ 9068889 w 12195374"/>
              <a:gd name="connsiteY81" fmla="*/ 130058 h 200232"/>
              <a:gd name="connsiteX82" fmla="*/ 8748011 w 12195374"/>
              <a:gd name="connsiteY82" fmla="*/ 126587 h 200232"/>
              <a:gd name="connsiteX83" fmla="*/ 8490983 w 12195374"/>
              <a:gd name="connsiteY83" fmla="*/ 124660 h 200232"/>
              <a:gd name="connsiteX84" fmla="*/ 8038854 w 12195374"/>
              <a:gd name="connsiteY84" fmla="*/ 127050 h 200232"/>
              <a:gd name="connsiteX85" fmla="*/ 8004461 w 12195374"/>
              <a:gd name="connsiteY85" fmla="*/ 126819 h 200232"/>
              <a:gd name="connsiteX86" fmla="*/ 7781365 w 12195374"/>
              <a:gd name="connsiteY86" fmla="*/ 131060 h 200232"/>
              <a:gd name="connsiteX87" fmla="*/ 7782753 w 12195374"/>
              <a:gd name="connsiteY87" fmla="*/ 130752 h 200232"/>
              <a:gd name="connsiteX88" fmla="*/ 7781519 w 12195374"/>
              <a:gd name="connsiteY88" fmla="*/ 130983 h 200232"/>
              <a:gd name="connsiteX89" fmla="*/ 7859869 w 12195374"/>
              <a:gd name="connsiteY89" fmla="*/ 124197 h 200232"/>
              <a:gd name="connsiteX90" fmla="*/ 7859869 w 12195374"/>
              <a:gd name="connsiteY90" fmla="*/ 123349 h 200232"/>
              <a:gd name="connsiteX91" fmla="*/ 7766790 w 12195374"/>
              <a:gd name="connsiteY91" fmla="*/ 126202 h 200232"/>
              <a:gd name="connsiteX92" fmla="*/ 7767870 w 12195374"/>
              <a:gd name="connsiteY92" fmla="*/ 128592 h 200232"/>
              <a:gd name="connsiteX93" fmla="*/ 7783062 w 12195374"/>
              <a:gd name="connsiteY93" fmla="*/ 130675 h 200232"/>
              <a:gd name="connsiteX94" fmla="*/ 7739260 w 12195374"/>
              <a:gd name="connsiteY94" fmla="*/ 132911 h 200232"/>
              <a:gd name="connsiteX95" fmla="*/ 7596596 w 12195374"/>
              <a:gd name="connsiteY95" fmla="*/ 134068 h 200232"/>
              <a:gd name="connsiteX96" fmla="*/ 7278647 w 12195374"/>
              <a:gd name="connsiteY96" fmla="*/ 139774 h 200232"/>
              <a:gd name="connsiteX97" fmla="*/ 7102592 w 12195374"/>
              <a:gd name="connsiteY97" fmla="*/ 141471 h 200232"/>
              <a:gd name="connsiteX98" fmla="*/ 7102438 w 12195374"/>
              <a:gd name="connsiteY98" fmla="*/ 141471 h 200232"/>
              <a:gd name="connsiteX99" fmla="*/ 7061567 w 12195374"/>
              <a:gd name="connsiteY99" fmla="*/ 137384 h 200232"/>
              <a:gd name="connsiteX100" fmla="*/ 6935559 w 12195374"/>
              <a:gd name="connsiteY100" fmla="*/ 138463 h 200232"/>
              <a:gd name="connsiteX101" fmla="*/ 6822739 w 12195374"/>
              <a:gd name="connsiteY101" fmla="*/ 143784 h 200232"/>
              <a:gd name="connsiteX102" fmla="*/ 6795286 w 12195374"/>
              <a:gd name="connsiteY102" fmla="*/ 145789 h 200232"/>
              <a:gd name="connsiteX103" fmla="*/ 6514508 w 12195374"/>
              <a:gd name="connsiteY103" fmla="*/ 144093 h 200232"/>
              <a:gd name="connsiteX104" fmla="*/ 6394207 w 12195374"/>
              <a:gd name="connsiteY104" fmla="*/ 143861 h 200232"/>
              <a:gd name="connsiteX105" fmla="*/ 6065539 w 12195374"/>
              <a:gd name="connsiteY105" fmla="*/ 142859 h 200232"/>
              <a:gd name="connsiteX106" fmla="*/ 6065617 w 12195374"/>
              <a:gd name="connsiteY106" fmla="*/ 139620 h 200232"/>
              <a:gd name="connsiteX107" fmla="*/ 6670590 w 12195374"/>
              <a:gd name="connsiteY107" fmla="*/ 139620 h 200232"/>
              <a:gd name="connsiteX108" fmla="*/ 6458984 w 12195374"/>
              <a:gd name="connsiteY108" fmla="*/ 138078 h 200232"/>
              <a:gd name="connsiteX109" fmla="*/ 5839899 w 12195374"/>
              <a:gd name="connsiteY109" fmla="*/ 139620 h 200232"/>
              <a:gd name="connsiteX110" fmla="*/ 5704252 w 12195374"/>
              <a:gd name="connsiteY110" fmla="*/ 139157 h 200232"/>
              <a:gd name="connsiteX111" fmla="*/ 5617112 w 12195374"/>
              <a:gd name="connsiteY111" fmla="*/ 141625 h 200232"/>
              <a:gd name="connsiteX112" fmla="*/ 5433499 w 12195374"/>
              <a:gd name="connsiteY112" fmla="*/ 143244 h 200232"/>
              <a:gd name="connsiteX113" fmla="*/ 5003039 w 12195374"/>
              <a:gd name="connsiteY113" fmla="*/ 145095 h 200232"/>
              <a:gd name="connsiteX114" fmla="*/ 4848885 w 12195374"/>
              <a:gd name="connsiteY114" fmla="*/ 144633 h 200232"/>
              <a:gd name="connsiteX115" fmla="*/ 4717248 w 12195374"/>
              <a:gd name="connsiteY115" fmla="*/ 145635 h 200232"/>
              <a:gd name="connsiteX116" fmla="*/ 4516593 w 12195374"/>
              <a:gd name="connsiteY116" fmla="*/ 143630 h 200232"/>
              <a:gd name="connsiteX117" fmla="*/ 4022820 w 12195374"/>
              <a:gd name="connsiteY117" fmla="*/ 144247 h 200232"/>
              <a:gd name="connsiteX118" fmla="*/ 3948866 w 12195374"/>
              <a:gd name="connsiteY118" fmla="*/ 138463 h 200232"/>
              <a:gd name="connsiteX119" fmla="*/ 3842138 w 12195374"/>
              <a:gd name="connsiteY119" fmla="*/ 142319 h 200232"/>
              <a:gd name="connsiteX120" fmla="*/ 3750910 w 12195374"/>
              <a:gd name="connsiteY120" fmla="*/ 140623 h 200232"/>
              <a:gd name="connsiteX121" fmla="*/ 3390163 w 12195374"/>
              <a:gd name="connsiteY121" fmla="*/ 143553 h 200232"/>
              <a:gd name="connsiteX122" fmla="*/ 3271404 w 12195374"/>
              <a:gd name="connsiteY122" fmla="*/ 143630 h 200232"/>
              <a:gd name="connsiteX123" fmla="*/ 3271790 w 12195374"/>
              <a:gd name="connsiteY123" fmla="*/ 147023 h 200232"/>
              <a:gd name="connsiteX124" fmla="*/ 3681506 w 12195374"/>
              <a:gd name="connsiteY124" fmla="*/ 142936 h 200232"/>
              <a:gd name="connsiteX125" fmla="*/ 3586191 w 12195374"/>
              <a:gd name="connsiteY125" fmla="*/ 147409 h 200232"/>
              <a:gd name="connsiteX126" fmla="*/ 2824904 w 12195374"/>
              <a:gd name="connsiteY126" fmla="*/ 163526 h 200232"/>
              <a:gd name="connsiteX127" fmla="*/ 2549832 w 12195374"/>
              <a:gd name="connsiteY127" fmla="*/ 167382 h 200232"/>
              <a:gd name="connsiteX128" fmla="*/ 2119989 w 12195374"/>
              <a:gd name="connsiteY128" fmla="*/ 170389 h 200232"/>
              <a:gd name="connsiteX129" fmla="*/ 1672872 w 12195374"/>
              <a:gd name="connsiteY129" fmla="*/ 170466 h 200232"/>
              <a:gd name="connsiteX130" fmla="*/ 1572236 w 12195374"/>
              <a:gd name="connsiteY130" fmla="*/ 170312 h 200232"/>
              <a:gd name="connsiteX131" fmla="*/ 2416114 w 12195374"/>
              <a:gd name="connsiteY131" fmla="*/ 172086 h 200232"/>
              <a:gd name="connsiteX132" fmla="*/ 2367068 w 12195374"/>
              <a:gd name="connsiteY132" fmla="*/ 174014 h 200232"/>
              <a:gd name="connsiteX133" fmla="*/ 2448117 w 12195374"/>
              <a:gd name="connsiteY133" fmla="*/ 174939 h 200232"/>
              <a:gd name="connsiteX134" fmla="*/ 2782182 w 12195374"/>
              <a:gd name="connsiteY134" fmla="*/ 170466 h 200232"/>
              <a:gd name="connsiteX135" fmla="*/ 3457870 w 12195374"/>
              <a:gd name="connsiteY135" fmla="*/ 159207 h 200232"/>
              <a:gd name="connsiteX136" fmla="*/ 3646650 w 12195374"/>
              <a:gd name="connsiteY136" fmla="*/ 155969 h 200232"/>
              <a:gd name="connsiteX137" fmla="*/ 3834118 w 12195374"/>
              <a:gd name="connsiteY137" fmla="*/ 150648 h 200232"/>
              <a:gd name="connsiteX138" fmla="*/ 3970690 w 12195374"/>
              <a:gd name="connsiteY138" fmla="*/ 153269 h 200232"/>
              <a:gd name="connsiteX139" fmla="*/ 4158930 w 12195374"/>
              <a:gd name="connsiteY139" fmla="*/ 150570 h 200232"/>
              <a:gd name="connsiteX140" fmla="*/ 4409941 w 12195374"/>
              <a:gd name="connsiteY140" fmla="*/ 149645 h 200232"/>
              <a:gd name="connsiteX141" fmla="*/ 4781254 w 12195374"/>
              <a:gd name="connsiteY141" fmla="*/ 154889 h 200232"/>
              <a:gd name="connsiteX142" fmla="*/ 5304253 w 12195374"/>
              <a:gd name="connsiteY142" fmla="*/ 158128 h 200232"/>
              <a:gd name="connsiteX143" fmla="*/ 5257521 w 12195374"/>
              <a:gd name="connsiteY143" fmla="*/ 155969 h 200232"/>
              <a:gd name="connsiteX144" fmla="*/ 5259140 w 12195374"/>
              <a:gd name="connsiteY144" fmla="*/ 154041 h 200232"/>
              <a:gd name="connsiteX145" fmla="*/ 5482082 w 12195374"/>
              <a:gd name="connsiteY145" fmla="*/ 154041 h 200232"/>
              <a:gd name="connsiteX146" fmla="*/ 5480848 w 12195374"/>
              <a:gd name="connsiteY146" fmla="*/ 154272 h 200232"/>
              <a:gd name="connsiteX147" fmla="*/ 5486092 w 12195374"/>
              <a:gd name="connsiteY147" fmla="*/ 154349 h 200232"/>
              <a:gd name="connsiteX148" fmla="*/ 5482776 w 12195374"/>
              <a:gd name="connsiteY148" fmla="*/ 154041 h 200232"/>
              <a:gd name="connsiteX149" fmla="*/ 5516630 w 12195374"/>
              <a:gd name="connsiteY149" fmla="*/ 150339 h 200232"/>
              <a:gd name="connsiteX150" fmla="*/ 5662456 w 12195374"/>
              <a:gd name="connsiteY150" fmla="*/ 148951 h 200232"/>
              <a:gd name="connsiteX151" fmla="*/ 5856710 w 12195374"/>
              <a:gd name="connsiteY151" fmla="*/ 147486 h 200232"/>
              <a:gd name="connsiteX152" fmla="*/ 6229102 w 12195374"/>
              <a:gd name="connsiteY152" fmla="*/ 150262 h 200232"/>
              <a:gd name="connsiteX153" fmla="*/ 6571882 w 12195374"/>
              <a:gd name="connsiteY153" fmla="*/ 153655 h 200232"/>
              <a:gd name="connsiteX154" fmla="*/ 6995016 w 12195374"/>
              <a:gd name="connsiteY154" fmla="*/ 150570 h 200232"/>
              <a:gd name="connsiteX155" fmla="*/ 7252582 w 12195374"/>
              <a:gd name="connsiteY155" fmla="*/ 149028 h 200232"/>
              <a:gd name="connsiteX156" fmla="*/ 7503671 w 12195374"/>
              <a:gd name="connsiteY156" fmla="*/ 143707 h 200232"/>
              <a:gd name="connsiteX157" fmla="*/ 7954953 w 12195374"/>
              <a:gd name="connsiteY157" fmla="*/ 137152 h 200232"/>
              <a:gd name="connsiteX158" fmla="*/ 8088517 w 12195374"/>
              <a:gd name="connsiteY158" fmla="*/ 136998 h 200232"/>
              <a:gd name="connsiteX159" fmla="*/ 8059753 w 12195374"/>
              <a:gd name="connsiteY159" fmla="*/ 143707 h 200232"/>
              <a:gd name="connsiteX160" fmla="*/ 8236271 w 12195374"/>
              <a:gd name="connsiteY160" fmla="*/ 143630 h 200232"/>
              <a:gd name="connsiteX161" fmla="*/ 8355260 w 12195374"/>
              <a:gd name="connsiteY161" fmla="*/ 142396 h 200232"/>
              <a:gd name="connsiteX162" fmla="*/ 8462914 w 12195374"/>
              <a:gd name="connsiteY162" fmla="*/ 140700 h 200232"/>
              <a:gd name="connsiteX163" fmla="*/ 8502628 w 12195374"/>
              <a:gd name="connsiteY163" fmla="*/ 141471 h 200232"/>
              <a:gd name="connsiteX164" fmla="*/ 8805307 w 12195374"/>
              <a:gd name="connsiteY164" fmla="*/ 140160 h 200232"/>
              <a:gd name="connsiteX165" fmla="*/ 8878799 w 12195374"/>
              <a:gd name="connsiteY165" fmla="*/ 142242 h 200232"/>
              <a:gd name="connsiteX166" fmla="*/ 9169602 w 12195374"/>
              <a:gd name="connsiteY166" fmla="*/ 144016 h 200232"/>
              <a:gd name="connsiteX167" fmla="*/ 9227054 w 12195374"/>
              <a:gd name="connsiteY167" fmla="*/ 148026 h 200232"/>
              <a:gd name="connsiteX168" fmla="*/ 9221193 w 12195374"/>
              <a:gd name="connsiteY168" fmla="*/ 148026 h 200232"/>
              <a:gd name="connsiteX169" fmla="*/ 9229136 w 12195374"/>
              <a:gd name="connsiteY169" fmla="*/ 148180 h 200232"/>
              <a:gd name="connsiteX170" fmla="*/ 9229830 w 12195374"/>
              <a:gd name="connsiteY170" fmla="*/ 148257 h 200232"/>
              <a:gd name="connsiteX171" fmla="*/ 9229598 w 12195374"/>
              <a:gd name="connsiteY171" fmla="*/ 148180 h 200232"/>
              <a:gd name="connsiteX172" fmla="*/ 9229598 w 12195374"/>
              <a:gd name="connsiteY172" fmla="*/ 148180 h 200232"/>
              <a:gd name="connsiteX173" fmla="*/ 9228827 w 12195374"/>
              <a:gd name="connsiteY173" fmla="*/ 148026 h 200232"/>
              <a:gd name="connsiteX174" fmla="*/ 9274480 w 12195374"/>
              <a:gd name="connsiteY174" fmla="*/ 147640 h 200232"/>
              <a:gd name="connsiteX175" fmla="*/ 9421848 w 12195374"/>
              <a:gd name="connsiteY175" fmla="*/ 152113 h 200232"/>
              <a:gd name="connsiteX176" fmla="*/ 9713037 w 12195374"/>
              <a:gd name="connsiteY176" fmla="*/ 158590 h 200232"/>
              <a:gd name="connsiteX177" fmla="*/ 9917779 w 12195374"/>
              <a:gd name="connsiteY177" fmla="*/ 165685 h 200232"/>
              <a:gd name="connsiteX178" fmla="*/ 10139025 w 12195374"/>
              <a:gd name="connsiteY178" fmla="*/ 168461 h 200232"/>
              <a:gd name="connsiteX179" fmla="*/ 10275751 w 12195374"/>
              <a:gd name="connsiteY179" fmla="*/ 170081 h 200232"/>
              <a:gd name="connsiteX180" fmla="*/ 10411629 w 12195374"/>
              <a:gd name="connsiteY180" fmla="*/ 173088 h 200232"/>
              <a:gd name="connsiteX181" fmla="*/ 10599251 w 12195374"/>
              <a:gd name="connsiteY181" fmla="*/ 178872 h 200232"/>
              <a:gd name="connsiteX182" fmla="*/ 10844016 w 12195374"/>
              <a:gd name="connsiteY182" fmla="*/ 181725 h 200232"/>
              <a:gd name="connsiteX183" fmla="*/ 11243476 w 12195374"/>
              <a:gd name="connsiteY183" fmla="*/ 185658 h 200232"/>
              <a:gd name="connsiteX184" fmla="*/ 11563893 w 12195374"/>
              <a:gd name="connsiteY184" fmla="*/ 186429 h 200232"/>
              <a:gd name="connsiteX185" fmla="*/ 11676789 w 12195374"/>
              <a:gd name="connsiteY185" fmla="*/ 190594 h 200232"/>
              <a:gd name="connsiteX186" fmla="*/ 11919781 w 12195374"/>
              <a:gd name="connsiteY186" fmla="*/ 200233 h 200232"/>
              <a:gd name="connsiteX187" fmla="*/ 11776038 w 12195374"/>
              <a:gd name="connsiteY187" fmla="*/ 186661 h 200232"/>
              <a:gd name="connsiteX188" fmla="*/ 11830481 w 12195374"/>
              <a:gd name="connsiteY188" fmla="*/ 178409 h 200232"/>
              <a:gd name="connsiteX189" fmla="*/ 11705014 w 12195374"/>
              <a:gd name="connsiteY189" fmla="*/ 165300 h 200232"/>
              <a:gd name="connsiteX190" fmla="*/ 11838656 w 12195374"/>
              <a:gd name="connsiteY190" fmla="*/ 154503 h 200232"/>
              <a:gd name="connsiteX191" fmla="*/ 11855005 w 12195374"/>
              <a:gd name="connsiteY191" fmla="*/ 153809 h 200232"/>
              <a:gd name="connsiteX192" fmla="*/ 11994275 w 12195374"/>
              <a:gd name="connsiteY192" fmla="*/ 152498 h 200232"/>
              <a:gd name="connsiteX193" fmla="*/ 12118740 w 12195374"/>
              <a:gd name="connsiteY193" fmla="*/ 160827 h 200232"/>
              <a:gd name="connsiteX194" fmla="*/ 12160074 w 12195374"/>
              <a:gd name="connsiteY194" fmla="*/ 160904 h 200232"/>
              <a:gd name="connsiteX195" fmla="*/ 11813978 w 12195374"/>
              <a:gd name="connsiteY195" fmla="*/ 128361 h 200232"/>
              <a:gd name="connsiteX196" fmla="*/ 11880761 w 12195374"/>
              <a:gd name="connsiteY196" fmla="*/ 116639 h 200232"/>
              <a:gd name="connsiteX197" fmla="*/ 12057356 w 12195374"/>
              <a:gd name="connsiteY197" fmla="*/ 117950 h 200232"/>
              <a:gd name="connsiteX198" fmla="*/ 12102083 w 12195374"/>
              <a:gd name="connsiteY198" fmla="*/ 119647 h 200232"/>
              <a:gd name="connsiteX199" fmla="*/ 12190612 w 12195374"/>
              <a:gd name="connsiteY199" fmla="*/ 116794 h 200232"/>
              <a:gd name="connsiteX200" fmla="*/ 12163004 w 12195374"/>
              <a:gd name="connsiteY200" fmla="*/ 111781 h 200232"/>
              <a:gd name="connsiteX201" fmla="*/ 12074630 w 12195374"/>
              <a:gd name="connsiteY201" fmla="*/ 104918 h 200232"/>
              <a:gd name="connsiteX202" fmla="*/ 11836728 w 12195374"/>
              <a:gd name="connsiteY202" fmla="*/ 89495 h 200232"/>
              <a:gd name="connsiteX203" fmla="*/ 11721208 w 12195374"/>
              <a:gd name="connsiteY203" fmla="*/ 84636 h 200232"/>
              <a:gd name="connsiteX204" fmla="*/ 11721440 w 12195374"/>
              <a:gd name="connsiteY204" fmla="*/ 80164 h 200232"/>
              <a:gd name="connsiteX205" fmla="*/ 11798632 w 12195374"/>
              <a:gd name="connsiteY205" fmla="*/ 77773 h 200232"/>
              <a:gd name="connsiteX206" fmla="*/ 12110412 w 12195374"/>
              <a:gd name="connsiteY206" fmla="*/ 76077 h 200232"/>
              <a:gd name="connsiteX207" fmla="*/ 12155293 w 12195374"/>
              <a:gd name="connsiteY207" fmla="*/ 78004 h 200232"/>
              <a:gd name="connsiteX208" fmla="*/ 12191229 w 12195374"/>
              <a:gd name="connsiteY208" fmla="*/ 80472 h 200232"/>
              <a:gd name="connsiteX209" fmla="*/ 12167554 w 12195374"/>
              <a:gd name="connsiteY209" fmla="*/ 65897 h 200232"/>
              <a:gd name="connsiteX210" fmla="*/ 12027126 w 12195374"/>
              <a:gd name="connsiteY210" fmla="*/ 58340 h 200232"/>
              <a:gd name="connsiteX211" fmla="*/ 11771488 w 12195374"/>
              <a:gd name="connsiteY211" fmla="*/ 48932 h 200232"/>
              <a:gd name="connsiteX212" fmla="*/ 11652576 w 12195374"/>
              <a:gd name="connsiteY212" fmla="*/ 43457 h 200232"/>
              <a:gd name="connsiteX213" fmla="*/ 11429711 w 12195374"/>
              <a:gd name="connsiteY213" fmla="*/ 42917 h 200232"/>
              <a:gd name="connsiteX214" fmla="*/ 11247949 w 12195374"/>
              <a:gd name="connsiteY214" fmla="*/ 40295 h 200232"/>
              <a:gd name="connsiteX215" fmla="*/ 11154562 w 12195374"/>
              <a:gd name="connsiteY215" fmla="*/ 36902 h 200232"/>
              <a:gd name="connsiteX216" fmla="*/ 11127186 w 12195374"/>
              <a:gd name="connsiteY216" fmla="*/ 38213 h 200232"/>
              <a:gd name="connsiteX217" fmla="*/ 11087933 w 12195374"/>
              <a:gd name="connsiteY217" fmla="*/ 39678 h 200232"/>
              <a:gd name="connsiteX218" fmla="*/ 11011897 w 12195374"/>
              <a:gd name="connsiteY218" fmla="*/ 43919 h 200232"/>
              <a:gd name="connsiteX219" fmla="*/ 10905555 w 12195374"/>
              <a:gd name="connsiteY219" fmla="*/ 47004 h 200232"/>
              <a:gd name="connsiteX220" fmla="*/ 10905555 w 12195374"/>
              <a:gd name="connsiteY220" fmla="*/ 38830 h 200232"/>
              <a:gd name="connsiteX221" fmla="*/ 10791655 w 12195374"/>
              <a:gd name="connsiteY221" fmla="*/ 39678 h 200232"/>
              <a:gd name="connsiteX222" fmla="*/ 10769600 w 12195374"/>
              <a:gd name="connsiteY222" fmla="*/ 40372 h 200232"/>
              <a:gd name="connsiteX223" fmla="*/ 10716853 w 12195374"/>
              <a:gd name="connsiteY223" fmla="*/ 38598 h 200232"/>
              <a:gd name="connsiteX224" fmla="*/ 10497536 w 12195374"/>
              <a:gd name="connsiteY224" fmla="*/ 36285 h 200232"/>
              <a:gd name="connsiteX225" fmla="*/ 10405074 w 12195374"/>
              <a:gd name="connsiteY225" fmla="*/ 33894 h 200232"/>
              <a:gd name="connsiteX226" fmla="*/ 10353406 w 12195374"/>
              <a:gd name="connsiteY226" fmla="*/ 31889 h 200232"/>
              <a:gd name="connsiteX227" fmla="*/ 10195705 w 12195374"/>
              <a:gd name="connsiteY227" fmla="*/ 26491 h 200232"/>
              <a:gd name="connsiteX228" fmla="*/ 10146119 w 12195374"/>
              <a:gd name="connsiteY228" fmla="*/ 34203 h 200232"/>
              <a:gd name="connsiteX229" fmla="*/ 10015331 w 12195374"/>
              <a:gd name="connsiteY229" fmla="*/ 26337 h 200232"/>
              <a:gd name="connsiteX230" fmla="*/ 9999137 w 12195374"/>
              <a:gd name="connsiteY230" fmla="*/ 25103 h 200232"/>
              <a:gd name="connsiteX231" fmla="*/ 9887319 w 12195374"/>
              <a:gd name="connsiteY231" fmla="*/ 24409 h 200232"/>
              <a:gd name="connsiteX232" fmla="*/ 9762777 w 12195374"/>
              <a:gd name="connsiteY232" fmla="*/ 13613 h 200232"/>
              <a:gd name="connsiteX233" fmla="*/ 9701778 w 12195374"/>
              <a:gd name="connsiteY233" fmla="*/ 17931 h 200232"/>
              <a:gd name="connsiteX234" fmla="*/ 9461948 w 12195374"/>
              <a:gd name="connsiteY234" fmla="*/ 13767 h 200232"/>
              <a:gd name="connsiteX235" fmla="*/ 9362084 w 12195374"/>
              <a:gd name="connsiteY235" fmla="*/ 13536 h 200232"/>
              <a:gd name="connsiteX236" fmla="*/ 9335016 w 12195374"/>
              <a:gd name="connsiteY236" fmla="*/ 12533 h 200232"/>
              <a:gd name="connsiteX237" fmla="*/ 9274634 w 12195374"/>
              <a:gd name="connsiteY237" fmla="*/ 10760 h 200232"/>
              <a:gd name="connsiteX238" fmla="*/ 9229136 w 12195374"/>
              <a:gd name="connsiteY238" fmla="*/ 10451 h 200232"/>
              <a:gd name="connsiteX239" fmla="*/ 9112228 w 12195374"/>
              <a:gd name="connsiteY239" fmla="*/ 4359 h 200232"/>
              <a:gd name="connsiteX240" fmla="*/ 9034804 w 12195374"/>
              <a:gd name="connsiteY240" fmla="*/ 7135 h 200232"/>
              <a:gd name="connsiteX241" fmla="*/ 8985065 w 12195374"/>
              <a:gd name="connsiteY241" fmla="*/ 9217 h 200232"/>
              <a:gd name="connsiteX242" fmla="*/ 8924606 w 12195374"/>
              <a:gd name="connsiteY242" fmla="*/ 6672 h 200232"/>
              <a:gd name="connsiteX243" fmla="*/ 8816104 w 12195374"/>
              <a:gd name="connsiteY243" fmla="*/ 7058 h 200232"/>
              <a:gd name="connsiteX244" fmla="*/ 8605501 w 12195374"/>
              <a:gd name="connsiteY244" fmla="*/ 2431 h 200232"/>
              <a:gd name="connsiteX245" fmla="*/ 8402918 w 12195374"/>
              <a:gd name="connsiteY245" fmla="*/ 5670 h 200232"/>
              <a:gd name="connsiteX246" fmla="*/ 8374539 w 12195374"/>
              <a:gd name="connsiteY246" fmla="*/ 6210 h 200232"/>
              <a:gd name="connsiteX247" fmla="*/ 8082965 w 12195374"/>
              <a:gd name="connsiteY247" fmla="*/ 11762 h 200232"/>
              <a:gd name="connsiteX248" fmla="*/ 7854317 w 12195374"/>
              <a:gd name="connsiteY248" fmla="*/ 17469 h 200232"/>
              <a:gd name="connsiteX249" fmla="*/ 7620039 w 12195374"/>
              <a:gd name="connsiteY249" fmla="*/ 20707 h 200232"/>
              <a:gd name="connsiteX250" fmla="*/ 7362626 w 12195374"/>
              <a:gd name="connsiteY250" fmla="*/ 25180 h 200232"/>
              <a:gd name="connsiteX251" fmla="*/ 7294533 w 12195374"/>
              <a:gd name="connsiteY251" fmla="*/ 25720 h 200232"/>
              <a:gd name="connsiteX252" fmla="*/ 7134672 w 12195374"/>
              <a:gd name="connsiteY252" fmla="*/ 29113 h 200232"/>
              <a:gd name="connsiteX253" fmla="*/ 6841787 w 12195374"/>
              <a:gd name="connsiteY253" fmla="*/ 30424 h 200232"/>
              <a:gd name="connsiteX254" fmla="*/ 6687864 w 12195374"/>
              <a:gd name="connsiteY254" fmla="*/ 32660 h 200232"/>
              <a:gd name="connsiteX255" fmla="*/ 6091373 w 12195374"/>
              <a:gd name="connsiteY255" fmla="*/ 29267 h 200232"/>
              <a:gd name="connsiteX256" fmla="*/ 5224669 w 12195374"/>
              <a:gd name="connsiteY256" fmla="*/ 29190 h 200232"/>
              <a:gd name="connsiteX257" fmla="*/ 4559161 w 12195374"/>
              <a:gd name="connsiteY257" fmla="*/ 24795 h 200232"/>
              <a:gd name="connsiteX258" fmla="*/ 4117364 w 12195374"/>
              <a:gd name="connsiteY258" fmla="*/ 24563 h 200232"/>
              <a:gd name="connsiteX259" fmla="*/ 3640866 w 12195374"/>
              <a:gd name="connsiteY259" fmla="*/ 29422 h 200232"/>
              <a:gd name="connsiteX260" fmla="*/ 3371655 w 12195374"/>
              <a:gd name="connsiteY260" fmla="*/ 34511 h 200232"/>
              <a:gd name="connsiteX261" fmla="*/ 2759125 w 12195374"/>
              <a:gd name="connsiteY261" fmla="*/ 45153 h 200232"/>
              <a:gd name="connsiteX262" fmla="*/ 2403621 w 12195374"/>
              <a:gd name="connsiteY262" fmla="*/ 48161 h 200232"/>
              <a:gd name="connsiteX263" fmla="*/ 1939076 w 12195374"/>
              <a:gd name="connsiteY263" fmla="*/ 51631 h 200232"/>
              <a:gd name="connsiteX264" fmla="*/ 1577326 w 12195374"/>
              <a:gd name="connsiteY264" fmla="*/ 50474 h 200232"/>
              <a:gd name="connsiteX265" fmla="*/ 1043222 w 12195374"/>
              <a:gd name="connsiteY265" fmla="*/ 50551 h 200232"/>
              <a:gd name="connsiteX266" fmla="*/ 830922 w 12195374"/>
              <a:gd name="connsiteY266" fmla="*/ 52556 h 200232"/>
              <a:gd name="connsiteX267" fmla="*/ 597416 w 12195374"/>
              <a:gd name="connsiteY267" fmla="*/ 57492 h 200232"/>
              <a:gd name="connsiteX268" fmla="*/ 437246 w 12195374"/>
              <a:gd name="connsiteY268" fmla="*/ 56026 h 200232"/>
              <a:gd name="connsiteX269" fmla="*/ 115828 w 12195374"/>
              <a:gd name="connsiteY269" fmla="*/ 52942 h 200232"/>
              <a:gd name="connsiteX270" fmla="*/ 0 w 12195374"/>
              <a:gd name="connsiteY270" fmla="*/ 60962 h 200232"/>
              <a:gd name="connsiteX271" fmla="*/ 97474 w 12195374"/>
              <a:gd name="connsiteY271" fmla="*/ 70062 h 200232"/>
              <a:gd name="connsiteX272" fmla="*/ 3736875 w 12195374"/>
              <a:gd name="connsiteY272" fmla="*/ 145095 h 200232"/>
              <a:gd name="connsiteX273" fmla="*/ 3738572 w 12195374"/>
              <a:gd name="connsiteY273" fmla="*/ 143861 h 200232"/>
              <a:gd name="connsiteX274" fmla="*/ 3776204 w 12195374"/>
              <a:gd name="connsiteY274" fmla="*/ 143861 h 200232"/>
              <a:gd name="connsiteX275" fmla="*/ 3776744 w 12195374"/>
              <a:gd name="connsiteY275" fmla="*/ 145095 h 200232"/>
              <a:gd name="connsiteX276" fmla="*/ 3736875 w 12195374"/>
              <a:gd name="connsiteY276" fmla="*/ 145095 h 200232"/>
              <a:gd name="connsiteX277" fmla="*/ 6944351 w 12195374"/>
              <a:gd name="connsiteY277" fmla="*/ 143784 h 200232"/>
              <a:gd name="connsiteX278" fmla="*/ 6944119 w 12195374"/>
              <a:gd name="connsiteY278" fmla="*/ 141779 h 200232"/>
              <a:gd name="connsiteX279" fmla="*/ 7094418 w 12195374"/>
              <a:gd name="connsiteY279" fmla="*/ 141856 h 200232"/>
              <a:gd name="connsiteX280" fmla="*/ 6944351 w 12195374"/>
              <a:gd name="connsiteY280" fmla="*/ 143784 h 200232"/>
              <a:gd name="connsiteX281" fmla="*/ 9640085 w 12195374"/>
              <a:gd name="connsiteY281" fmla="*/ 139312 h 200232"/>
              <a:gd name="connsiteX282" fmla="*/ 9614638 w 12195374"/>
              <a:gd name="connsiteY282" fmla="*/ 139003 h 200232"/>
              <a:gd name="connsiteX283" fmla="*/ 9614715 w 12195374"/>
              <a:gd name="connsiteY283" fmla="*/ 138155 h 200232"/>
              <a:gd name="connsiteX284" fmla="*/ 9640240 w 12195374"/>
              <a:gd name="connsiteY284" fmla="*/ 138155 h 200232"/>
              <a:gd name="connsiteX285" fmla="*/ 9640085 w 12195374"/>
              <a:gd name="connsiteY285" fmla="*/ 139312 h 200232"/>
              <a:gd name="connsiteX286" fmla="*/ 11631060 w 12195374"/>
              <a:gd name="connsiteY286" fmla="*/ 144093 h 200232"/>
              <a:gd name="connsiteX287" fmla="*/ 11700156 w 12195374"/>
              <a:gd name="connsiteY287" fmla="*/ 144093 h 200232"/>
              <a:gd name="connsiteX288" fmla="*/ 11699539 w 12195374"/>
              <a:gd name="connsiteY288" fmla="*/ 147794 h 200232"/>
              <a:gd name="connsiteX289" fmla="*/ 11630751 w 12195374"/>
              <a:gd name="connsiteY289" fmla="*/ 146406 h 200232"/>
              <a:gd name="connsiteX290" fmla="*/ 11631060 w 12195374"/>
              <a:gd name="connsiteY290" fmla="*/ 144093 h 200232"/>
              <a:gd name="connsiteX291" fmla="*/ 10957609 w 12195374"/>
              <a:gd name="connsiteY291" fmla="*/ 159207 h 200232"/>
              <a:gd name="connsiteX292" fmla="*/ 10929923 w 12195374"/>
              <a:gd name="connsiteY292" fmla="*/ 159207 h 200232"/>
              <a:gd name="connsiteX293" fmla="*/ 10929693 w 12195374"/>
              <a:gd name="connsiteY293" fmla="*/ 157665 h 200232"/>
              <a:gd name="connsiteX294" fmla="*/ 10958302 w 12195374"/>
              <a:gd name="connsiteY294" fmla="*/ 157280 h 200232"/>
              <a:gd name="connsiteX295" fmla="*/ 10957609 w 12195374"/>
              <a:gd name="connsiteY295" fmla="*/ 159207 h 200232"/>
              <a:gd name="connsiteX296" fmla="*/ 11402489 w 12195374"/>
              <a:gd name="connsiteY296" fmla="*/ 155660 h 200232"/>
              <a:gd name="connsiteX297" fmla="*/ 11302932 w 12195374"/>
              <a:gd name="connsiteY297" fmla="*/ 159439 h 200232"/>
              <a:gd name="connsiteX298" fmla="*/ 11402489 w 12195374"/>
              <a:gd name="connsiteY298" fmla="*/ 155660 h 200232"/>
              <a:gd name="connsiteX299" fmla="*/ 11190421 w 12195374"/>
              <a:gd name="connsiteY299" fmla="*/ 80472 h 200232"/>
              <a:gd name="connsiteX300" fmla="*/ 11054311 w 12195374"/>
              <a:gd name="connsiteY300" fmla="*/ 88030 h 200232"/>
              <a:gd name="connsiteX301" fmla="*/ 11044672 w 12195374"/>
              <a:gd name="connsiteY301" fmla="*/ 82940 h 200232"/>
              <a:gd name="connsiteX302" fmla="*/ 11066573 w 12195374"/>
              <a:gd name="connsiteY302" fmla="*/ 79007 h 200232"/>
              <a:gd name="connsiteX303" fmla="*/ 11190421 w 12195374"/>
              <a:gd name="connsiteY303" fmla="*/ 80472 h 200232"/>
              <a:gd name="connsiteX304" fmla="*/ 11042050 w 12195374"/>
              <a:gd name="connsiteY304" fmla="*/ 82940 h 200232"/>
              <a:gd name="connsiteX305" fmla="*/ 10963392 w 12195374"/>
              <a:gd name="connsiteY305" fmla="*/ 88107 h 200232"/>
              <a:gd name="connsiteX306" fmla="*/ 11042050 w 12195374"/>
              <a:gd name="connsiteY306" fmla="*/ 82940 h 200232"/>
              <a:gd name="connsiteX307" fmla="*/ 10766593 w 12195374"/>
              <a:gd name="connsiteY307" fmla="*/ 76231 h 200232"/>
              <a:gd name="connsiteX308" fmla="*/ 10877176 w 12195374"/>
              <a:gd name="connsiteY308" fmla="*/ 79470 h 200232"/>
              <a:gd name="connsiteX309" fmla="*/ 10848644 w 12195374"/>
              <a:gd name="connsiteY309" fmla="*/ 81552 h 200232"/>
              <a:gd name="connsiteX310" fmla="*/ 10815175 w 12195374"/>
              <a:gd name="connsiteY310" fmla="*/ 81706 h 200232"/>
              <a:gd name="connsiteX311" fmla="*/ 10704437 w 12195374"/>
              <a:gd name="connsiteY311" fmla="*/ 83325 h 200232"/>
              <a:gd name="connsiteX312" fmla="*/ 10682073 w 12195374"/>
              <a:gd name="connsiteY312" fmla="*/ 76154 h 200232"/>
              <a:gd name="connsiteX313" fmla="*/ 10766593 w 12195374"/>
              <a:gd name="connsiteY313" fmla="*/ 76231 h 200232"/>
              <a:gd name="connsiteX314" fmla="*/ 11291751 w 12195374"/>
              <a:gd name="connsiteY314" fmla="*/ 152344 h 200232"/>
              <a:gd name="connsiteX315" fmla="*/ 10678064 w 12195374"/>
              <a:gd name="connsiteY315" fmla="*/ 149182 h 200232"/>
              <a:gd name="connsiteX316" fmla="*/ 11291751 w 12195374"/>
              <a:gd name="connsiteY316" fmla="*/ 152344 h 200232"/>
              <a:gd name="connsiteX317" fmla="*/ 10625008 w 12195374"/>
              <a:gd name="connsiteY317" fmla="*/ 147640 h 200232"/>
              <a:gd name="connsiteX318" fmla="*/ 10625008 w 12195374"/>
              <a:gd name="connsiteY318" fmla="*/ 149105 h 200232"/>
              <a:gd name="connsiteX319" fmla="*/ 10524218 w 12195374"/>
              <a:gd name="connsiteY319" fmla="*/ 149105 h 200232"/>
              <a:gd name="connsiteX320" fmla="*/ 10524218 w 12195374"/>
              <a:gd name="connsiteY320" fmla="*/ 147640 h 200232"/>
              <a:gd name="connsiteX321" fmla="*/ 10625008 w 12195374"/>
              <a:gd name="connsiteY321" fmla="*/ 147640 h 200232"/>
              <a:gd name="connsiteX322" fmla="*/ 10465841 w 12195374"/>
              <a:gd name="connsiteY322" fmla="*/ 144633 h 200232"/>
              <a:gd name="connsiteX323" fmla="*/ 10466458 w 12195374"/>
              <a:gd name="connsiteY323" fmla="*/ 146483 h 200232"/>
              <a:gd name="connsiteX324" fmla="*/ 10324565 w 12195374"/>
              <a:gd name="connsiteY324" fmla="*/ 146483 h 200232"/>
              <a:gd name="connsiteX325" fmla="*/ 10324488 w 12195374"/>
              <a:gd name="connsiteY325" fmla="*/ 144633 h 200232"/>
              <a:gd name="connsiteX326" fmla="*/ 10465841 w 12195374"/>
              <a:gd name="connsiteY326" fmla="*/ 144633 h 200232"/>
              <a:gd name="connsiteX327" fmla="*/ 7348746 w 12195374"/>
              <a:gd name="connsiteY327" fmla="*/ 61733 h 200232"/>
              <a:gd name="connsiteX328" fmla="*/ 7348977 w 12195374"/>
              <a:gd name="connsiteY328" fmla="*/ 63430 h 200232"/>
              <a:gd name="connsiteX329" fmla="*/ 7237699 w 12195374"/>
              <a:gd name="connsiteY329" fmla="*/ 63430 h 200232"/>
              <a:gd name="connsiteX330" fmla="*/ 7236311 w 12195374"/>
              <a:gd name="connsiteY330" fmla="*/ 61733 h 200232"/>
              <a:gd name="connsiteX331" fmla="*/ 7348746 w 12195374"/>
              <a:gd name="connsiteY331" fmla="*/ 61733 h 200232"/>
              <a:gd name="connsiteX332" fmla="*/ 6553991 w 12195374"/>
              <a:gd name="connsiteY332" fmla="*/ 68519 h 200232"/>
              <a:gd name="connsiteX333" fmla="*/ 6656015 w 12195374"/>
              <a:gd name="connsiteY333" fmla="*/ 68519 h 200232"/>
              <a:gd name="connsiteX334" fmla="*/ 6656092 w 12195374"/>
              <a:gd name="connsiteY334" fmla="*/ 69753 h 200232"/>
              <a:gd name="connsiteX335" fmla="*/ 6552448 w 12195374"/>
              <a:gd name="connsiteY335" fmla="*/ 69753 h 200232"/>
              <a:gd name="connsiteX336" fmla="*/ 6553991 w 12195374"/>
              <a:gd name="connsiteY336" fmla="*/ 68519 h 200232"/>
              <a:gd name="connsiteX337" fmla="*/ 6162628 w 12195374"/>
              <a:gd name="connsiteY337" fmla="*/ 68751 h 200232"/>
              <a:gd name="connsiteX338" fmla="*/ 6162782 w 12195374"/>
              <a:gd name="connsiteY338" fmla="*/ 69753 h 200232"/>
              <a:gd name="connsiteX339" fmla="*/ 6136254 w 12195374"/>
              <a:gd name="connsiteY339" fmla="*/ 70370 h 200232"/>
              <a:gd name="connsiteX340" fmla="*/ 6135946 w 12195374"/>
              <a:gd name="connsiteY340" fmla="*/ 68751 h 200232"/>
              <a:gd name="connsiteX341" fmla="*/ 6162628 w 12195374"/>
              <a:gd name="connsiteY341" fmla="*/ 68751 h 200232"/>
              <a:gd name="connsiteX342" fmla="*/ 5317054 w 12195374"/>
              <a:gd name="connsiteY342" fmla="*/ 68288 h 200232"/>
              <a:gd name="connsiteX343" fmla="*/ 5318134 w 12195374"/>
              <a:gd name="connsiteY343" fmla="*/ 71141 h 200232"/>
              <a:gd name="connsiteX344" fmla="*/ 5209092 w 12195374"/>
              <a:gd name="connsiteY344" fmla="*/ 74611 h 200232"/>
              <a:gd name="connsiteX345" fmla="*/ 5207241 w 12195374"/>
              <a:gd name="connsiteY345" fmla="*/ 71218 h 200232"/>
              <a:gd name="connsiteX346" fmla="*/ 5317054 w 12195374"/>
              <a:gd name="connsiteY346" fmla="*/ 68288 h 200232"/>
              <a:gd name="connsiteX347" fmla="*/ 4265195 w 12195374"/>
              <a:gd name="connsiteY347" fmla="*/ 69213 h 200232"/>
              <a:gd name="connsiteX348" fmla="*/ 4262496 w 12195374"/>
              <a:gd name="connsiteY348" fmla="*/ 69445 h 200232"/>
              <a:gd name="connsiteX349" fmla="*/ 3882007 w 12195374"/>
              <a:gd name="connsiteY349" fmla="*/ 73378 h 200232"/>
              <a:gd name="connsiteX350" fmla="*/ 3881776 w 12195374"/>
              <a:gd name="connsiteY350" fmla="*/ 69213 h 200232"/>
              <a:gd name="connsiteX351" fmla="*/ 4265195 w 12195374"/>
              <a:gd name="connsiteY351" fmla="*/ 69213 h 200232"/>
              <a:gd name="connsiteX352" fmla="*/ 3757156 w 12195374"/>
              <a:gd name="connsiteY352" fmla="*/ 71912 h 200232"/>
              <a:gd name="connsiteX353" fmla="*/ 3798336 w 12195374"/>
              <a:gd name="connsiteY353" fmla="*/ 71912 h 200232"/>
              <a:gd name="connsiteX354" fmla="*/ 3798259 w 12195374"/>
              <a:gd name="connsiteY354" fmla="*/ 73069 h 200232"/>
              <a:gd name="connsiteX355" fmla="*/ 3757080 w 12195374"/>
              <a:gd name="connsiteY355" fmla="*/ 73069 h 200232"/>
              <a:gd name="connsiteX356" fmla="*/ 3757156 w 12195374"/>
              <a:gd name="connsiteY356" fmla="*/ 71912 h 200232"/>
              <a:gd name="connsiteX357" fmla="*/ 1670944 w 12195374"/>
              <a:gd name="connsiteY357" fmla="*/ 65666 h 200232"/>
              <a:gd name="connsiteX358" fmla="*/ 1670173 w 12195374"/>
              <a:gd name="connsiteY358" fmla="*/ 69213 h 200232"/>
              <a:gd name="connsiteX359" fmla="*/ 1488257 w 12195374"/>
              <a:gd name="connsiteY359" fmla="*/ 65666 h 200232"/>
              <a:gd name="connsiteX360" fmla="*/ 1670944 w 12195374"/>
              <a:gd name="connsiteY360" fmla="*/ 65666 h 200232"/>
              <a:gd name="connsiteX361" fmla="*/ 1294234 w 12195374"/>
              <a:gd name="connsiteY361" fmla="*/ 65203 h 200232"/>
              <a:gd name="connsiteX362" fmla="*/ 1443838 w 12195374"/>
              <a:gd name="connsiteY362" fmla="*/ 65203 h 200232"/>
              <a:gd name="connsiteX363" fmla="*/ 1443761 w 12195374"/>
              <a:gd name="connsiteY363" fmla="*/ 66900 h 200232"/>
              <a:gd name="connsiteX364" fmla="*/ 1292460 w 12195374"/>
              <a:gd name="connsiteY364" fmla="*/ 66900 h 200232"/>
              <a:gd name="connsiteX365" fmla="*/ 1294234 w 12195374"/>
              <a:gd name="connsiteY365" fmla="*/ 65203 h 200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</a:cxnLst>
            <a:rect l="l" t="t" r="r" b="b"/>
            <a:pathLst>
              <a:path w="12195374" h="200232">
                <a:moveTo>
                  <a:pt x="97474" y="70062"/>
                </a:moveTo>
                <a:cubicBezTo>
                  <a:pt x="293194" y="75845"/>
                  <a:pt x="488914" y="81783"/>
                  <a:pt x="685019" y="86410"/>
                </a:cubicBezTo>
                <a:cubicBezTo>
                  <a:pt x="789665" y="88878"/>
                  <a:pt x="895005" y="88955"/>
                  <a:pt x="1000037" y="89803"/>
                </a:cubicBezTo>
                <a:cubicBezTo>
                  <a:pt x="1114785" y="90806"/>
                  <a:pt x="1229534" y="91885"/>
                  <a:pt x="1344359" y="92271"/>
                </a:cubicBezTo>
                <a:cubicBezTo>
                  <a:pt x="1481779" y="92734"/>
                  <a:pt x="1618891" y="97669"/>
                  <a:pt x="1756697" y="93505"/>
                </a:cubicBezTo>
                <a:cubicBezTo>
                  <a:pt x="1845534" y="90806"/>
                  <a:pt x="1934294" y="88492"/>
                  <a:pt x="2024597" y="89186"/>
                </a:cubicBezTo>
                <a:cubicBezTo>
                  <a:pt x="2171734" y="90266"/>
                  <a:pt x="2319256" y="88107"/>
                  <a:pt x="2466547" y="86873"/>
                </a:cubicBezTo>
                <a:cubicBezTo>
                  <a:pt x="2598570" y="85716"/>
                  <a:pt x="2730669" y="84559"/>
                  <a:pt x="2862537" y="82246"/>
                </a:cubicBezTo>
                <a:cubicBezTo>
                  <a:pt x="3055326" y="78853"/>
                  <a:pt x="3247961" y="74457"/>
                  <a:pt x="3440674" y="70601"/>
                </a:cubicBezTo>
                <a:cubicBezTo>
                  <a:pt x="3462651" y="70139"/>
                  <a:pt x="3484861" y="70524"/>
                  <a:pt x="3506993" y="70524"/>
                </a:cubicBezTo>
                <a:cubicBezTo>
                  <a:pt x="3471674" y="74766"/>
                  <a:pt x="3436047" y="76077"/>
                  <a:pt x="3400265" y="76925"/>
                </a:cubicBezTo>
                <a:cubicBezTo>
                  <a:pt x="3299166" y="79315"/>
                  <a:pt x="3197990" y="81475"/>
                  <a:pt x="3096891" y="83788"/>
                </a:cubicBezTo>
                <a:cubicBezTo>
                  <a:pt x="2952068" y="87104"/>
                  <a:pt x="2807245" y="90574"/>
                  <a:pt x="2662344" y="93890"/>
                </a:cubicBezTo>
                <a:cubicBezTo>
                  <a:pt x="2601346" y="95278"/>
                  <a:pt x="2540347" y="96898"/>
                  <a:pt x="2479271" y="97746"/>
                </a:cubicBezTo>
                <a:cubicBezTo>
                  <a:pt x="2314861" y="99905"/>
                  <a:pt x="2150296" y="101525"/>
                  <a:pt x="1985885" y="103684"/>
                </a:cubicBezTo>
                <a:cubicBezTo>
                  <a:pt x="1932444" y="104378"/>
                  <a:pt x="1879080" y="107154"/>
                  <a:pt x="1825793" y="107000"/>
                </a:cubicBezTo>
                <a:cubicBezTo>
                  <a:pt x="1603699" y="106306"/>
                  <a:pt x="1381683" y="104455"/>
                  <a:pt x="1159590" y="103838"/>
                </a:cubicBezTo>
                <a:cubicBezTo>
                  <a:pt x="991246" y="103376"/>
                  <a:pt x="822902" y="104378"/>
                  <a:pt x="654558" y="104532"/>
                </a:cubicBezTo>
                <a:cubicBezTo>
                  <a:pt x="561094" y="104609"/>
                  <a:pt x="467167" y="105920"/>
                  <a:pt x="374243" y="103915"/>
                </a:cubicBezTo>
                <a:cubicBezTo>
                  <a:pt x="282089" y="101910"/>
                  <a:pt x="191016" y="105689"/>
                  <a:pt x="99402" y="104764"/>
                </a:cubicBezTo>
                <a:cubicBezTo>
                  <a:pt x="89069" y="104687"/>
                  <a:pt x="78581" y="106460"/>
                  <a:pt x="68170" y="107386"/>
                </a:cubicBezTo>
                <a:cubicBezTo>
                  <a:pt x="136649" y="111550"/>
                  <a:pt x="204588" y="113169"/>
                  <a:pt x="272527" y="114634"/>
                </a:cubicBezTo>
                <a:cubicBezTo>
                  <a:pt x="341083" y="116177"/>
                  <a:pt x="409716" y="117565"/>
                  <a:pt x="478349" y="119030"/>
                </a:cubicBezTo>
                <a:cubicBezTo>
                  <a:pt x="545131" y="120418"/>
                  <a:pt x="612145" y="121266"/>
                  <a:pt x="678696" y="123349"/>
                </a:cubicBezTo>
                <a:cubicBezTo>
                  <a:pt x="746095" y="125431"/>
                  <a:pt x="813725" y="123426"/>
                  <a:pt x="881664" y="128130"/>
                </a:cubicBezTo>
                <a:cubicBezTo>
                  <a:pt x="947213" y="132680"/>
                  <a:pt x="1017388" y="131446"/>
                  <a:pt x="1085096" y="133913"/>
                </a:cubicBezTo>
                <a:cubicBezTo>
                  <a:pt x="1150181" y="136304"/>
                  <a:pt x="1216655" y="132680"/>
                  <a:pt x="1281201" y="137075"/>
                </a:cubicBezTo>
                <a:cubicBezTo>
                  <a:pt x="1206862" y="139080"/>
                  <a:pt x="1132908" y="139928"/>
                  <a:pt x="1058799" y="140237"/>
                </a:cubicBezTo>
                <a:cubicBezTo>
                  <a:pt x="982378" y="140545"/>
                  <a:pt x="905956" y="140314"/>
                  <a:pt x="829611" y="140314"/>
                </a:cubicBezTo>
                <a:cubicBezTo>
                  <a:pt x="792519" y="140314"/>
                  <a:pt x="755272" y="139774"/>
                  <a:pt x="718487" y="140700"/>
                </a:cubicBezTo>
                <a:cubicBezTo>
                  <a:pt x="665740" y="142011"/>
                  <a:pt x="613379" y="144555"/>
                  <a:pt x="560786" y="146406"/>
                </a:cubicBezTo>
                <a:cubicBezTo>
                  <a:pt x="543049" y="147023"/>
                  <a:pt x="525004" y="146946"/>
                  <a:pt x="507036" y="147177"/>
                </a:cubicBezTo>
                <a:cubicBezTo>
                  <a:pt x="506728" y="148334"/>
                  <a:pt x="506419" y="149414"/>
                  <a:pt x="506111" y="150570"/>
                </a:cubicBezTo>
                <a:cubicBezTo>
                  <a:pt x="519760" y="151264"/>
                  <a:pt x="533410" y="152421"/>
                  <a:pt x="547059" y="152498"/>
                </a:cubicBezTo>
                <a:cubicBezTo>
                  <a:pt x="600038" y="152807"/>
                  <a:pt x="653016" y="152344"/>
                  <a:pt x="705918" y="152961"/>
                </a:cubicBezTo>
                <a:cubicBezTo>
                  <a:pt x="841024" y="154503"/>
                  <a:pt x="975900" y="151342"/>
                  <a:pt x="1111624" y="155352"/>
                </a:cubicBezTo>
                <a:cubicBezTo>
                  <a:pt x="1253979" y="159593"/>
                  <a:pt x="1398340" y="159130"/>
                  <a:pt x="1541852" y="159285"/>
                </a:cubicBezTo>
                <a:cubicBezTo>
                  <a:pt x="1700557" y="159439"/>
                  <a:pt x="1858952" y="160827"/>
                  <a:pt x="2018119" y="157125"/>
                </a:cubicBezTo>
                <a:cubicBezTo>
                  <a:pt x="2191398" y="153115"/>
                  <a:pt x="2366220" y="154735"/>
                  <a:pt x="2540347" y="153501"/>
                </a:cubicBezTo>
                <a:cubicBezTo>
                  <a:pt x="2676148" y="152498"/>
                  <a:pt x="2811949" y="150956"/>
                  <a:pt x="2947672" y="149568"/>
                </a:cubicBezTo>
                <a:lnTo>
                  <a:pt x="2945590" y="150108"/>
                </a:lnTo>
                <a:cubicBezTo>
                  <a:pt x="2993788" y="145095"/>
                  <a:pt x="3043219" y="146021"/>
                  <a:pt x="3092882" y="147332"/>
                </a:cubicBezTo>
                <a:cubicBezTo>
                  <a:pt x="3129203" y="148334"/>
                  <a:pt x="3165679" y="149028"/>
                  <a:pt x="3202000" y="149876"/>
                </a:cubicBezTo>
                <a:cubicBezTo>
                  <a:pt x="3202154" y="149105"/>
                  <a:pt x="3202386" y="148334"/>
                  <a:pt x="3202540" y="147563"/>
                </a:cubicBezTo>
                <a:cubicBezTo>
                  <a:pt x="3180331" y="147100"/>
                  <a:pt x="3158199" y="146715"/>
                  <a:pt x="3135989" y="146252"/>
                </a:cubicBezTo>
                <a:cubicBezTo>
                  <a:pt x="3144703" y="144093"/>
                  <a:pt x="3153572" y="143553"/>
                  <a:pt x="3162517" y="143399"/>
                </a:cubicBezTo>
                <a:cubicBezTo>
                  <a:pt x="3273178" y="141085"/>
                  <a:pt x="3383839" y="138540"/>
                  <a:pt x="3494655" y="136690"/>
                </a:cubicBezTo>
                <a:cubicBezTo>
                  <a:pt x="3553494" y="135687"/>
                  <a:pt x="3612719" y="136458"/>
                  <a:pt x="3671635" y="135687"/>
                </a:cubicBezTo>
                <a:cubicBezTo>
                  <a:pt x="3811138" y="133991"/>
                  <a:pt x="3950486" y="130675"/>
                  <a:pt x="4089988" y="130212"/>
                </a:cubicBezTo>
                <a:cubicBezTo>
                  <a:pt x="4265889" y="129672"/>
                  <a:pt x="4441945" y="131600"/>
                  <a:pt x="4617923" y="132063"/>
                </a:cubicBezTo>
                <a:cubicBezTo>
                  <a:pt x="4705757" y="132294"/>
                  <a:pt x="4793978" y="129903"/>
                  <a:pt x="4881273" y="131677"/>
                </a:cubicBezTo>
                <a:cubicBezTo>
                  <a:pt x="5057483" y="135302"/>
                  <a:pt x="5233075" y="130983"/>
                  <a:pt x="5408976" y="130752"/>
                </a:cubicBezTo>
                <a:cubicBezTo>
                  <a:pt x="5682660" y="130366"/>
                  <a:pt x="5956344" y="130906"/>
                  <a:pt x="6230027" y="131446"/>
                </a:cubicBezTo>
                <a:cubicBezTo>
                  <a:pt x="6346395" y="131677"/>
                  <a:pt x="6462763" y="133296"/>
                  <a:pt x="6579131" y="133374"/>
                </a:cubicBezTo>
                <a:cubicBezTo>
                  <a:pt x="6728349" y="133451"/>
                  <a:pt x="6877723" y="133682"/>
                  <a:pt x="7026787" y="131986"/>
                </a:cubicBezTo>
                <a:cubicBezTo>
                  <a:pt x="7198447" y="130058"/>
                  <a:pt x="7369798" y="126279"/>
                  <a:pt x="7541303" y="123194"/>
                </a:cubicBezTo>
                <a:cubicBezTo>
                  <a:pt x="7709262" y="120187"/>
                  <a:pt x="7877142" y="116562"/>
                  <a:pt x="8045255" y="114095"/>
                </a:cubicBezTo>
                <a:cubicBezTo>
                  <a:pt x="8165478" y="112321"/>
                  <a:pt x="8286010" y="111164"/>
                  <a:pt x="8406388" y="111164"/>
                </a:cubicBezTo>
                <a:cubicBezTo>
                  <a:pt x="8518591" y="111087"/>
                  <a:pt x="8630872" y="112861"/>
                  <a:pt x="8743075" y="113786"/>
                </a:cubicBezTo>
                <a:cubicBezTo>
                  <a:pt x="8742998" y="115097"/>
                  <a:pt x="8742921" y="116485"/>
                  <a:pt x="8742921" y="117796"/>
                </a:cubicBezTo>
                <a:cubicBezTo>
                  <a:pt x="8564321" y="117796"/>
                  <a:pt x="8385721" y="117796"/>
                  <a:pt x="8207121" y="117796"/>
                </a:cubicBezTo>
                <a:cubicBezTo>
                  <a:pt x="8212828" y="120033"/>
                  <a:pt x="8218457" y="120572"/>
                  <a:pt x="8224009" y="120572"/>
                </a:cubicBezTo>
                <a:cubicBezTo>
                  <a:pt x="8390425" y="120341"/>
                  <a:pt x="8556918" y="119955"/>
                  <a:pt x="8723333" y="119878"/>
                </a:cubicBezTo>
                <a:cubicBezTo>
                  <a:pt x="8745697" y="119878"/>
                  <a:pt x="8768138" y="121421"/>
                  <a:pt x="8790502" y="122269"/>
                </a:cubicBezTo>
                <a:cubicBezTo>
                  <a:pt x="8796054" y="114557"/>
                  <a:pt x="8814947" y="114249"/>
                  <a:pt x="8837928" y="114789"/>
                </a:cubicBezTo>
                <a:cubicBezTo>
                  <a:pt x="8883503" y="115868"/>
                  <a:pt x="8929156" y="116485"/>
                  <a:pt x="8974808" y="117025"/>
                </a:cubicBezTo>
                <a:cubicBezTo>
                  <a:pt x="9079686" y="118182"/>
                  <a:pt x="9184717" y="118336"/>
                  <a:pt x="9289363" y="120495"/>
                </a:cubicBezTo>
                <a:cubicBezTo>
                  <a:pt x="9412748" y="123040"/>
                  <a:pt x="9535594" y="127590"/>
                  <a:pt x="9658902" y="130520"/>
                </a:cubicBezTo>
                <a:cubicBezTo>
                  <a:pt x="9734475" y="132294"/>
                  <a:pt x="9810588" y="132525"/>
                  <a:pt x="9886393" y="133451"/>
                </a:cubicBezTo>
                <a:cubicBezTo>
                  <a:pt x="9918088" y="133836"/>
                  <a:pt x="9949705" y="134222"/>
                  <a:pt x="9981400" y="134530"/>
                </a:cubicBezTo>
                <a:cubicBezTo>
                  <a:pt x="9900814" y="136458"/>
                  <a:pt x="9820845" y="135379"/>
                  <a:pt x="9740799" y="134685"/>
                </a:cubicBezTo>
                <a:cubicBezTo>
                  <a:pt x="9687512" y="134145"/>
                  <a:pt x="9634148" y="134145"/>
                  <a:pt x="9580861" y="133836"/>
                </a:cubicBezTo>
                <a:lnTo>
                  <a:pt x="9581477" y="133374"/>
                </a:lnTo>
                <a:lnTo>
                  <a:pt x="9581477" y="133374"/>
                </a:lnTo>
                <a:lnTo>
                  <a:pt x="9581477" y="133374"/>
                </a:lnTo>
                <a:cubicBezTo>
                  <a:pt x="9579704" y="133374"/>
                  <a:pt x="9577930" y="133374"/>
                  <a:pt x="9576157" y="133374"/>
                </a:cubicBezTo>
                <a:cubicBezTo>
                  <a:pt x="9576851" y="133451"/>
                  <a:pt x="9577545" y="133528"/>
                  <a:pt x="9578315" y="133605"/>
                </a:cubicBezTo>
                <a:cubicBezTo>
                  <a:pt x="9517857" y="137538"/>
                  <a:pt x="9457399" y="139620"/>
                  <a:pt x="9396940" y="133528"/>
                </a:cubicBezTo>
                <a:cubicBezTo>
                  <a:pt x="9397248" y="133451"/>
                  <a:pt x="9397479" y="133374"/>
                  <a:pt x="9397788" y="133374"/>
                </a:cubicBezTo>
                <a:cubicBezTo>
                  <a:pt x="9396863" y="133374"/>
                  <a:pt x="9395937" y="133374"/>
                  <a:pt x="9395012" y="133374"/>
                </a:cubicBezTo>
                <a:lnTo>
                  <a:pt x="9395552" y="133836"/>
                </a:lnTo>
                <a:cubicBezTo>
                  <a:pt x="9286664" y="132602"/>
                  <a:pt x="9177777" y="131291"/>
                  <a:pt x="9068889" y="130058"/>
                </a:cubicBezTo>
                <a:cubicBezTo>
                  <a:pt x="8961930" y="128901"/>
                  <a:pt x="8854970" y="127667"/>
                  <a:pt x="8748011" y="126587"/>
                </a:cubicBezTo>
                <a:cubicBezTo>
                  <a:pt x="8662335" y="125739"/>
                  <a:pt x="8576428" y="123657"/>
                  <a:pt x="8490983" y="124660"/>
                </a:cubicBezTo>
                <a:cubicBezTo>
                  <a:pt x="8340300" y="126356"/>
                  <a:pt x="8189847" y="129903"/>
                  <a:pt x="8038854" y="127050"/>
                </a:cubicBezTo>
                <a:cubicBezTo>
                  <a:pt x="8027441" y="126819"/>
                  <a:pt x="8015874" y="126587"/>
                  <a:pt x="8004461" y="126819"/>
                </a:cubicBezTo>
                <a:cubicBezTo>
                  <a:pt x="7930121" y="128130"/>
                  <a:pt x="7855782" y="129595"/>
                  <a:pt x="7781365" y="131060"/>
                </a:cubicBezTo>
                <a:lnTo>
                  <a:pt x="7782753" y="130752"/>
                </a:lnTo>
                <a:cubicBezTo>
                  <a:pt x="7782290" y="130829"/>
                  <a:pt x="7781442" y="131060"/>
                  <a:pt x="7781519" y="130983"/>
                </a:cubicBezTo>
                <a:cubicBezTo>
                  <a:pt x="7807738" y="128747"/>
                  <a:pt x="7833803" y="126510"/>
                  <a:pt x="7859869" y="124197"/>
                </a:cubicBezTo>
                <a:cubicBezTo>
                  <a:pt x="7859869" y="123888"/>
                  <a:pt x="7859869" y="123580"/>
                  <a:pt x="7859869" y="123349"/>
                </a:cubicBezTo>
                <a:cubicBezTo>
                  <a:pt x="7828868" y="124274"/>
                  <a:pt x="7797791" y="125276"/>
                  <a:pt x="7766790" y="126202"/>
                </a:cubicBezTo>
                <a:cubicBezTo>
                  <a:pt x="7767176" y="126973"/>
                  <a:pt x="7767484" y="127821"/>
                  <a:pt x="7767870" y="128592"/>
                </a:cubicBezTo>
                <a:cubicBezTo>
                  <a:pt x="7772960" y="129286"/>
                  <a:pt x="7778049" y="129981"/>
                  <a:pt x="7783062" y="130675"/>
                </a:cubicBezTo>
                <a:cubicBezTo>
                  <a:pt x="7768487" y="131446"/>
                  <a:pt x="7753912" y="132680"/>
                  <a:pt x="7739260" y="132911"/>
                </a:cubicBezTo>
                <a:cubicBezTo>
                  <a:pt x="7691756" y="133528"/>
                  <a:pt x="7644099" y="133296"/>
                  <a:pt x="7596596" y="134068"/>
                </a:cubicBezTo>
                <a:cubicBezTo>
                  <a:pt x="7490562" y="135764"/>
                  <a:pt x="7384681" y="138078"/>
                  <a:pt x="7278647" y="139774"/>
                </a:cubicBezTo>
                <a:cubicBezTo>
                  <a:pt x="7220039" y="140700"/>
                  <a:pt x="7161277" y="140931"/>
                  <a:pt x="7102592" y="141471"/>
                </a:cubicBezTo>
                <a:cubicBezTo>
                  <a:pt x="7102515" y="141471"/>
                  <a:pt x="7102438" y="141471"/>
                  <a:pt x="7102438" y="141471"/>
                </a:cubicBezTo>
                <a:cubicBezTo>
                  <a:pt x="7088943" y="140006"/>
                  <a:pt x="7075370" y="137461"/>
                  <a:pt x="7061567" y="137384"/>
                </a:cubicBezTo>
                <a:cubicBezTo>
                  <a:pt x="7019539" y="137075"/>
                  <a:pt x="6976431" y="136304"/>
                  <a:pt x="6935559" y="138463"/>
                </a:cubicBezTo>
                <a:cubicBezTo>
                  <a:pt x="6898081" y="140468"/>
                  <a:pt x="6858213" y="138232"/>
                  <a:pt x="6822739" y="143784"/>
                </a:cubicBezTo>
                <a:cubicBezTo>
                  <a:pt x="6814642" y="145018"/>
                  <a:pt x="6804463" y="145866"/>
                  <a:pt x="6795286" y="145789"/>
                </a:cubicBezTo>
                <a:cubicBezTo>
                  <a:pt x="6701667" y="145327"/>
                  <a:pt x="6608126" y="144633"/>
                  <a:pt x="6514508" y="144093"/>
                </a:cubicBezTo>
                <a:cubicBezTo>
                  <a:pt x="6474407" y="143861"/>
                  <a:pt x="6434307" y="143938"/>
                  <a:pt x="6394207" y="143861"/>
                </a:cubicBezTo>
                <a:cubicBezTo>
                  <a:pt x="6284626" y="143553"/>
                  <a:pt x="6175121" y="143167"/>
                  <a:pt x="6065539" y="142859"/>
                </a:cubicBezTo>
                <a:cubicBezTo>
                  <a:pt x="6065539" y="141779"/>
                  <a:pt x="6065617" y="140700"/>
                  <a:pt x="6065617" y="139620"/>
                </a:cubicBezTo>
                <a:cubicBezTo>
                  <a:pt x="6267274" y="139620"/>
                  <a:pt x="6468932" y="139620"/>
                  <a:pt x="6670590" y="139620"/>
                </a:cubicBezTo>
                <a:cubicBezTo>
                  <a:pt x="6600029" y="138001"/>
                  <a:pt x="6529468" y="137846"/>
                  <a:pt x="6458984" y="138078"/>
                </a:cubicBezTo>
                <a:cubicBezTo>
                  <a:pt x="6252622" y="138540"/>
                  <a:pt x="6046260" y="139157"/>
                  <a:pt x="5839899" y="139620"/>
                </a:cubicBezTo>
                <a:cubicBezTo>
                  <a:pt x="5794709" y="139697"/>
                  <a:pt x="5749442" y="138849"/>
                  <a:pt x="5704252" y="139157"/>
                </a:cubicBezTo>
                <a:cubicBezTo>
                  <a:pt x="5675180" y="139312"/>
                  <a:pt x="5646261" y="141239"/>
                  <a:pt x="5617112" y="141625"/>
                </a:cubicBezTo>
                <a:cubicBezTo>
                  <a:pt x="5555958" y="142473"/>
                  <a:pt x="5494729" y="142936"/>
                  <a:pt x="5433499" y="143244"/>
                </a:cubicBezTo>
                <a:cubicBezTo>
                  <a:pt x="5290063" y="144016"/>
                  <a:pt x="5146551" y="144633"/>
                  <a:pt x="5003039" y="145095"/>
                </a:cubicBezTo>
                <a:cubicBezTo>
                  <a:pt x="4951680" y="145249"/>
                  <a:pt x="4900243" y="144555"/>
                  <a:pt x="4848885" y="144633"/>
                </a:cubicBezTo>
                <a:cubicBezTo>
                  <a:pt x="4805006" y="144710"/>
                  <a:pt x="4761127" y="145866"/>
                  <a:pt x="4717248" y="145635"/>
                </a:cubicBezTo>
                <a:cubicBezTo>
                  <a:pt x="4650312" y="145327"/>
                  <a:pt x="4583452" y="143707"/>
                  <a:pt x="4516593" y="143630"/>
                </a:cubicBezTo>
                <a:cubicBezTo>
                  <a:pt x="4352027" y="143553"/>
                  <a:pt x="4187385" y="144016"/>
                  <a:pt x="4022820" y="144247"/>
                </a:cubicBezTo>
                <a:cubicBezTo>
                  <a:pt x="3996292" y="144324"/>
                  <a:pt x="3968839" y="145327"/>
                  <a:pt x="3948866" y="138463"/>
                </a:cubicBezTo>
                <a:cubicBezTo>
                  <a:pt x="3913316" y="139851"/>
                  <a:pt x="3877843" y="141856"/>
                  <a:pt x="3842138" y="142319"/>
                </a:cubicBezTo>
                <a:cubicBezTo>
                  <a:pt x="3811909" y="142705"/>
                  <a:pt x="3781294" y="140468"/>
                  <a:pt x="3750910" y="140623"/>
                </a:cubicBezTo>
                <a:cubicBezTo>
                  <a:pt x="3630610" y="141317"/>
                  <a:pt x="3510386" y="142628"/>
                  <a:pt x="3390163" y="143553"/>
                </a:cubicBezTo>
                <a:cubicBezTo>
                  <a:pt x="3350602" y="143861"/>
                  <a:pt x="3310965" y="143630"/>
                  <a:pt x="3271404" y="143630"/>
                </a:cubicBezTo>
                <a:cubicBezTo>
                  <a:pt x="3271559" y="144787"/>
                  <a:pt x="3271636" y="145943"/>
                  <a:pt x="3271790" y="147023"/>
                </a:cubicBezTo>
                <a:cubicBezTo>
                  <a:pt x="3408362" y="145635"/>
                  <a:pt x="3544934" y="144247"/>
                  <a:pt x="3681506" y="142936"/>
                </a:cubicBezTo>
                <a:cubicBezTo>
                  <a:pt x="3649888" y="146175"/>
                  <a:pt x="3618040" y="146715"/>
                  <a:pt x="3586191" y="147409"/>
                </a:cubicBezTo>
                <a:cubicBezTo>
                  <a:pt x="3332403" y="152807"/>
                  <a:pt x="3078692" y="158359"/>
                  <a:pt x="2824904" y="163526"/>
                </a:cubicBezTo>
                <a:cubicBezTo>
                  <a:pt x="2733291" y="165377"/>
                  <a:pt x="2641137" y="168616"/>
                  <a:pt x="2549832" y="167382"/>
                </a:cubicBezTo>
                <a:cubicBezTo>
                  <a:pt x="2405934" y="165377"/>
                  <a:pt x="2263116" y="168384"/>
                  <a:pt x="2119989" y="170389"/>
                </a:cubicBezTo>
                <a:cubicBezTo>
                  <a:pt x="1970847" y="172548"/>
                  <a:pt x="1822014" y="175325"/>
                  <a:pt x="1672872" y="170466"/>
                </a:cubicBezTo>
                <a:cubicBezTo>
                  <a:pt x="1639712" y="169387"/>
                  <a:pt x="1605781" y="170312"/>
                  <a:pt x="1572236" y="170312"/>
                </a:cubicBezTo>
                <a:cubicBezTo>
                  <a:pt x="1853400" y="183190"/>
                  <a:pt x="2134487" y="176019"/>
                  <a:pt x="2416114" y="172086"/>
                </a:cubicBezTo>
                <a:cubicBezTo>
                  <a:pt x="2399765" y="172703"/>
                  <a:pt x="2383417" y="173397"/>
                  <a:pt x="2367068" y="174014"/>
                </a:cubicBezTo>
                <a:cubicBezTo>
                  <a:pt x="2394753" y="175093"/>
                  <a:pt x="2422283" y="176327"/>
                  <a:pt x="2448117" y="174939"/>
                </a:cubicBezTo>
                <a:cubicBezTo>
                  <a:pt x="2558701" y="168924"/>
                  <a:pt x="2670364" y="173859"/>
                  <a:pt x="2782182" y="170466"/>
                </a:cubicBezTo>
                <a:cubicBezTo>
                  <a:pt x="3006280" y="163680"/>
                  <a:pt x="3232538" y="162678"/>
                  <a:pt x="3457870" y="159207"/>
                </a:cubicBezTo>
                <a:cubicBezTo>
                  <a:pt x="3520797" y="158282"/>
                  <a:pt x="3583877" y="157434"/>
                  <a:pt x="3646650" y="155969"/>
                </a:cubicBezTo>
                <a:cubicBezTo>
                  <a:pt x="3709268" y="154503"/>
                  <a:pt x="3771500" y="151342"/>
                  <a:pt x="3834118" y="150648"/>
                </a:cubicBezTo>
                <a:cubicBezTo>
                  <a:pt x="3879462" y="150108"/>
                  <a:pt x="3925192" y="153347"/>
                  <a:pt x="3970690" y="153269"/>
                </a:cubicBezTo>
                <a:cubicBezTo>
                  <a:pt x="4033462" y="153115"/>
                  <a:pt x="4096157" y="151033"/>
                  <a:pt x="4158930" y="150570"/>
                </a:cubicBezTo>
                <a:cubicBezTo>
                  <a:pt x="4242600" y="149876"/>
                  <a:pt x="4326271" y="149491"/>
                  <a:pt x="4409941" y="149645"/>
                </a:cubicBezTo>
                <a:cubicBezTo>
                  <a:pt x="4533866" y="149876"/>
                  <a:pt x="4657252" y="153655"/>
                  <a:pt x="4781254" y="154889"/>
                </a:cubicBezTo>
                <a:cubicBezTo>
                  <a:pt x="4955613" y="156508"/>
                  <a:pt x="5130357" y="152344"/>
                  <a:pt x="5304253" y="158128"/>
                </a:cubicBezTo>
                <a:cubicBezTo>
                  <a:pt x="5288675" y="157434"/>
                  <a:pt x="5273098" y="156663"/>
                  <a:pt x="5257521" y="155969"/>
                </a:cubicBezTo>
                <a:cubicBezTo>
                  <a:pt x="5258061" y="155352"/>
                  <a:pt x="5258600" y="154658"/>
                  <a:pt x="5259140" y="154041"/>
                </a:cubicBezTo>
                <a:cubicBezTo>
                  <a:pt x="5333480" y="154041"/>
                  <a:pt x="5407742" y="154041"/>
                  <a:pt x="5482082" y="154041"/>
                </a:cubicBezTo>
                <a:cubicBezTo>
                  <a:pt x="5481696" y="154118"/>
                  <a:pt x="5480848" y="154272"/>
                  <a:pt x="5480848" y="154272"/>
                </a:cubicBezTo>
                <a:cubicBezTo>
                  <a:pt x="5482622" y="154272"/>
                  <a:pt x="5484318" y="154349"/>
                  <a:pt x="5486092" y="154349"/>
                </a:cubicBezTo>
                <a:cubicBezTo>
                  <a:pt x="5485012" y="154272"/>
                  <a:pt x="5483855" y="154118"/>
                  <a:pt x="5482776" y="154041"/>
                </a:cubicBezTo>
                <a:cubicBezTo>
                  <a:pt x="5494035" y="152653"/>
                  <a:pt x="5505371" y="150262"/>
                  <a:pt x="5516630" y="150339"/>
                </a:cubicBezTo>
                <a:cubicBezTo>
                  <a:pt x="5565367" y="150570"/>
                  <a:pt x="5613101" y="151033"/>
                  <a:pt x="5662456" y="148951"/>
                </a:cubicBezTo>
                <a:cubicBezTo>
                  <a:pt x="5726076" y="146252"/>
                  <a:pt x="5791856" y="147254"/>
                  <a:pt x="5856710" y="147486"/>
                </a:cubicBezTo>
                <a:cubicBezTo>
                  <a:pt x="5980866" y="148026"/>
                  <a:pt x="6105023" y="149182"/>
                  <a:pt x="6229102" y="150262"/>
                </a:cubicBezTo>
                <a:cubicBezTo>
                  <a:pt x="6343388" y="151264"/>
                  <a:pt x="6457596" y="153655"/>
                  <a:pt x="6571882" y="153655"/>
                </a:cubicBezTo>
                <a:cubicBezTo>
                  <a:pt x="6712926" y="153578"/>
                  <a:pt x="6853971" y="151573"/>
                  <a:pt x="6995016" y="150570"/>
                </a:cubicBezTo>
                <a:cubicBezTo>
                  <a:pt x="7080846" y="149954"/>
                  <a:pt x="7166829" y="150185"/>
                  <a:pt x="7252582" y="149028"/>
                </a:cubicBezTo>
                <a:cubicBezTo>
                  <a:pt x="7336407" y="147871"/>
                  <a:pt x="7419923" y="144093"/>
                  <a:pt x="7503671" y="143707"/>
                </a:cubicBezTo>
                <a:cubicBezTo>
                  <a:pt x="7654509" y="143090"/>
                  <a:pt x="7804654" y="140237"/>
                  <a:pt x="7954953" y="137152"/>
                </a:cubicBezTo>
                <a:cubicBezTo>
                  <a:pt x="7996133" y="136304"/>
                  <a:pt x="8037775" y="136998"/>
                  <a:pt x="8088517" y="136998"/>
                </a:cubicBezTo>
                <a:cubicBezTo>
                  <a:pt x="8075331" y="140083"/>
                  <a:pt x="8072091" y="140854"/>
                  <a:pt x="8059753" y="143707"/>
                </a:cubicBezTo>
                <a:cubicBezTo>
                  <a:pt x="8125841" y="143707"/>
                  <a:pt x="8181056" y="143861"/>
                  <a:pt x="8236271" y="143630"/>
                </a:cubicBezTo>
                <a:cubicBezTo>
                  <a:pt x="8275909" y="143476"/>
                  <a:pt x="8315623" y="142859"/>
                  <a:pt x="8355260" y="142396"/>
                </a:cubicBezTo>
                <a:cubicBezTo>
                  <a:pt x="8391119" y="141933"/>
                  <a:pt x="8426978" y="141085"/>
                  <a:pt x="8462914" y="140700"/>
                </a:cubicBezTo>
                <a:cubicBezTo>
                  <a:pt x="8476101" y="140545"/>
                  <a:pt x="8489596" y="141779"/>
                  <a:pt x="8502628" y="141471"/>
                </a:cubicBezTo>
                <a:cubicBezTo>
                  <a:pt x="8603419" y="138772"/>
                  <a:pt x="8704286" y="137615"/>
                  <a:pt x="8805307" y="140160"/>
                </a:cubicBezTo>
                <a:cubicBezTo>
                  <a:pt x="8829908" y="140777"/>
                  <a:pt x="8855510" y="143476"/>
                  <a:pt x="8878799" y="142242"/>
                </a:cubicBezTo>
                <a:cubicBezTo>
                  <a:pt x="8976428" y="137075"/>
                  <a:pt x="9072514" y="145249"/>
                  <a:pt x="9169602" y="144016"/>
                </a:cubicBezTo>
                <a:cubicBezTo>
                  <a:pt x="9188496" y="143784"/>
                  <a:pt x="9207929" y="146483"/>
                  <a:pt x="9227054" y="148026"/>
                </a:cubicBezTo>
                <a:cubicBezTo>
                  <a:pt x="9225126" y="148026"/>
                  <a:pt x="9223121" y="148026"/>
                  <a:pt x="9221193" y="148026"/>
                </a:cubicBezTo>
                <a:cubicBezTo>
                  <a:pt x="9223815" y="148103"/>
                  <a:pt x="9226436" y="148103"/>
                  <a:pt x="9229136" y="148180"/>
                </a:cubicBezTo>
                <a:cubicBezTo>
                  <a:pt x="9229367" y="148180"/>
                  <a:pt x="9229598" y="148257"/>
                  <a:pt x="9229830" y="148257"/>
                </a:cubicBezTo>
                <a:lnTo>
                  <a:pt x="9229598" y="148180"/>
                </a:lnTo>
                <a:lnTo>
                  <a:pt x="9229598" y="148180"/>
                </a:lnTo>
                <a:cubicBezTo>
                  <a:pt x="9229830" y="148257"/>
                  <a:pt x="9228827" y="148026"/>
                  <a:pt x="9228827" y="148026"/>
                </a:cubicBezTo>
                <a:cubicBezTo>
                  <a:pt x="9244019" y="147871"/>
                  <a:pt x="9259442" y="147254"/>
                  <a:pt x="9274480" y="147640"/>
                </a:cubicBezTo>
                <a:cubicBezTo>
                  <a:pt x="9323680" y="148951"/>
                  <a:pt x="9372648" y="150956"/>
                  <a:pt x="9421848" y="152113"/>
                </a:cubicBezTo>
                <a:cubicBezTo>
                  <a:pt x="9518860" y="154426"/>
                  <a:pt x="9616102" y="155969"/>
                  <a:pt x="9713037" y="158590"/>
                </a:cubicBezTo>
                <a:cubicBezTo>
                  <a:pt x="9781439" y="160441"/>
                  <a:pt x="9849300" y="164143"/>
                  <a:pt x="9917779" y="165685"/>
                </a:cubicBezTo>
                <a:cubicBezTo>
                  <a:pt x="9991348" y="167382"/>
                  <a:pt x="10065302" y="167613"/>
                  <a:pt x="10139025" y="168461"/>
                </a:cubicBezTo>
                <a:cubicBezTo>
                  <a:pt x="10184599" y="169001"/>
                  <a:pt x="10230252" y="169310"/>
                  <a:pt x="10275751" y="170081"/>
                </a:cubicBezTo>
                <a:cubicBezTo>
                  <a:pt x="10321095" y="170852"/>
                  <a:pt x="10366439" y="171777"/>
                  <a:pt x="10411629" y="173088"/>
                </a:cubicBezTo>
                <a:cubicBezTo>
                  <a:pt x="10474247" y="174862"/>
                  <a:pt x="10536556" y="177792"/>
                  <a:pt x="10599251" y="178872"/>
                </a:cubicBezTo>
                <a:cubicBezTo>
                  <a:pt x="10680686" y="180260"/>
                  <a:pt x="10761889" y="179258"/>
                  <a:pt x="10844016" y="181725"/>
                </a:cubicBezTo>
                <a:cubicBezTo>
                  <a:pt x="10976193" y="185735"/>
                  <a:pt x="11110220" y="184887"/>
                  <a:pt x="11243476" y="185658"/>
                </a:cubicBezTo>
                <a:cubicBezTo>
                  <a:pt x="11350281" y="186198"/>
                  <a:pt x="11457164" y="185735"/>
                  <a:pt x="11563893" y="186429"/>
                </a:cubicBezTo>
                <a:cubicBezTo>
                  <a:pt x="11601601" y="186661"/>
                  <a:pt x="11639158" y="189128"/>
                  <a:pt x="11676789" y="190594"/>
                </a:cubicBezTo>
                <a:cubicBezTo>
                  <a:pt x="11754059" y="193601"/>
                  <a:pt x="11831252" y="196686"/>
                  <a:pt x="11919781" y="200233"/>
                </a:cubicBezTo>
                <a:cubicBezTo>
                  <a:pt x="11873743" y="186661"/>
                  <a:pt x="11815906" y="198151"/>
                  <a:pt x="11776038" y="186661"/>
                </a:cubicBezTo>
                <a:cubicBezTo>
                  <a:pt x="11794700" y="183807"/>
                  <a:pt x="11812359" y="181108"/>
                  <a:pt x="11830481" y="178409"/>
                </a:cubicBezTo>
                <a:cubicBezTo>
                  <a:pt x="11789918" y="174168"/>
                  <a:pt x="11749664" y="169926"/>
                  <a:pt x="11705014" y="165300"/>
                </a:cubicBezTo>
                <a:cubicBezTo>
                  <a:pt x="11753905" y="161444"/>
                  <a:pt x="11805110" y="167459"/>
                  <a:pt x="11838656" y="154503"/>
                </a:cubicBezTo>
                <a:cubicBezTo>
                  <a:pt x="11840969" y="153578"/>
                  <a:pt x="11849452" y="153732"/>
                  <a:pt x="11855005" y="153809"/>
                </a:cubicBezTo>
                <a:cubicBezTo>
                  <a:pt x="11901505" y="153964"/>
                  <a:pt x="11947851" y="154658"/>
                  <a:pt x="11994275" y="152498"/>
                </a:cubicBezTo>
                <a:cubicBezTo>
                  <a:pt x="12038848" y="150416"/>
                  <a:pt x="12076172" y="159285"/>
                  <a:pt x="12118740" y="160827"/>
                </a:cubicBezTo>
                <a:cubicBezTo>
                  <a:pt x="12128071" y="161135"/>
                  <a:pt x="12137710" y="160904"/>
                  <a:pt x="12160074" y="160904"/>
                </a:cubicBezTo>
                <a:cubicBezTo>
                  <a:pt x="12052266" y="135070"/>
                  <a:pt x="11920938" y="142088"/>
                  <a:pt x="11813978" y="128361"/>
                </a:cubicBezTo>
                <a:cubicBezTo>
                  <a:pt x="11825932" y="117873"/>
                  <a:pt x="11846213" y="114712"/>
                  <a:pt x="11880761" y="116639"/>
                </a:cubicBezTo>
                <a:cubicBezTo>
                  <a:pt x="11939060" y="119878"/>
                  <a:pt x="11997822" y="121729"/>
                  <a:pt x="12057356" y="117950"/>
                </a:cubicBezTo>
                <a:cubicBezTo>
                  <a:pt x="12071159" y="117102"/>
                  <a:pt x="12087046" y="119184"/>
                  <a:pt x="12102083" y="119647"/>
                </a:cubicBezTo>
                <a:cubicBezTo>
                  <a:pt x="12129305" y="120341"/>
                  <a:pt x="12157144" y="121960"/>
                  <a:pt x="12190612" y="116794"/>
                </a:cubicBezTo>
                <a:cubicBezTo>
                  <a:pt x="12176963" y="114249"/>
                  <a:pt x="12170562" y="112398"/>
                  <a:pt x="12163004" y="111781"/>
                </a:cubicBezTo>
                <a:cubicBezTo>
                  <a:pt x="12133700" y="109313"/>
                  <a:pt x="12103317" y="107848"/>
                  <a:pt x="12074630" y="104918"/>
                </a:cubicBezTo>
                <a:cubicBezTo>
                  <a:pt x="11997437" y="96975"/>
                  <a:pt x="11919935" y="90189"/>
                  <a:pt x="11836728" y="89495"/>
                </a:cubicBezTo>
                <a:cubicBezTo>
                  <a:pt x="11798093" y="89186"/>
                  <a:pt x="11759689" y="86333"/>
                  <a:pt x="11721208" y="84636"/>
                </a:cubicBezTo>
                <a:cubicBezTo>
                  <a:pt x="11721285" y="83171"/>
                  <a:pt x="11721362" y="81629"/>
                  <a:pt x="11721440" y="80164"/>
                </a:cubicBezTo>
                <a:cubicBezTo>
                  <a:pt x="11747196" y="79393"/>
                  <a:pt x="11772876" y="78467"/>
                  <a:pt x="11798632" y="77773"/>
                </a:cubicBezTo>
                <a:cubicBezTo>
                  <a:pt x="11902353" y="74766"/>
                  <a:pt x="12006691" y="82863"/>
                  <a:pt x="12110412" y="76077"/>
                </a:cubicBezTo>
                <a:cubicBezTo>
                  <a:pt x="12124138" y="75151"/>
                  <a:pt x="12140333" y="77156"/>
                  <a:pt x="12155293" y="78004"/>
                </a:cubicBezTo>
                <a:cubicBezTo>
                  <a:pt x="12167554" y="78699"/>
                  <a:pt x="12179584" y="79624"/>
                  <a:pt x="12191229" y="80472"/>
                </a:cubicBezTo>
                <a:cubicBezTo>
                  <a:pt x="12201485" y="72298"/>
                  <a:pt x="12192386" y="67440"/>
                  <a:pt x="12167554" y="65897"/>
                </a:cubicBezTo>
                <a:cubicBezTo>
                  <a:pt x="12121054" y="62967"/>
                  <a:pt x="12074244" y="60268"/>
                  <a:pt x="12027126" y="58340"/>
                </a:cubicBezTo>
                <a:cubicBezTo>
                  <a:pt x="11942068" y="54870"/>
                  <a:pt x="11856624" y="52171"/>
                  <a:pt x="11771488" y="48932"/>
                </a:cubicBezTo>
                <a:cubicBezTo>
                  <a:pt x="11731697" y="47390"/>
                  <a:pt x="11692444" y="43919"/>
                  <a:pt x="11652576" y="43457"/>
                </a:cubicBezTo>
                <a:cubicBezTo>
                  <a:pt x="11578390" y="42531"/>
                  <a:pt x="11503974" y="43380"/>
                  <a:pt x="11429711" y="42917"/>
                </a:cubicBezTo>
                <a:cubicBezTo>
                  <a:pt x="11369098" y="42531"/>
                  <a:pt x="11308408" y="41529"/>
                  <a:pt x="11247949" y="40295"/>
                </a:cubicBezTo>
                <a:cubicBezTo>
                  <a:pt x="11216872" y="39678"/>
                  <a:pt x="11183943" y="43457"/>
                  <a:pt x="11154562" y="36902"/>
                </a:cubicBezTo>
                <a:cubicBezTo>
                  <a:pt x="11149703" y="35822"/>
                  <a:pt x="11136594" y="37827"/>
                  <a:pt x="11127186" y="38213"/>
                </a:cubicBezTo>
                <a:cubicBezTo>
                  <a:pt x="11114076" y="38830"/>
                  <a:pt x="11099964" y="40449"/>
                  <a:pt x="11087933" y="39678"/>
                </a:cubicBezTo>
                <a:cubicBezTo>
                  <a:pt x="11059401" y="37750"/>
                  <a:pt x="11037269" y="40680"/>
                  <a:pt x="11011897" y="43919"/>
                </a:cubicBezTo>
                <a:cubicBezTo>
                  <a:pt x="10979278" y="48161"/>
                  <a:pt x="10944036" y="54870"/>
                  <a:pt x="10905555" y="47004"/>
                </a:cubicBezTo>
                <a:cubicBezTo>
                  <a:pt x="10905555" y="44151"/>
                  <a:pt x="10905555" y="41529"/>
                  <a:pt x="10905555" y="38830"/>
                </a:cubicBezTo>
                <a:cubicBezTo>
                  <a:pt x="10867846" y="40835"/>
                  <a:pt x="10830830" y="48084"/>
                  <a:pt x="10791655" y="39678"/>
                </a:cubicBezTo>
                <a:cubicBezTo>
                  <a:pt x="10787259" y="38753"/>
                  <a:pt x="10776540" y="39601"/>
                  <a:pt x="10769600" y="40372"/>
                </a:cubicBezTo>
                <a:cubicBezTo>
                  <a:pt x="10750706" y="42300"/>
                  <a:pt x="10731582" y="46541"/>
                  <a:pt x="10716853" y="38598"/>
                </a:cubicBezTo>
                <a:cubicBezTo>
                  <a:pt x="10643670" y="37596"/>
                  <a:pt x="10570102" y="34897"/>
                  <a:pt x="10497536" y="36285"/>
                </a:cubicBezTo>
                <a:cubicBezTo>
                  <a:pt x="10464530" y="36902"/>
                  <a:pt x="10435920" y="34126"/>
                  <a:pt x="10405074" y="33894"/>
                </a:cubicBezTo>
                <a:cubicBezTo>
                  <a:pt x="10387800" y="33740"/>
                  <a:pt x="10370372" y="31581"/>
                  <a:pt x="10353406" y="31889"/>
                </a:cubicBezTo>
                <a:cubicBezTo>
                  <a:pt x="10299425" y="32969"/>
                  <a:pt x="10247295" y="32583"/>
                  <a:pt x="10195705" y="26491"/>
                </a:cubicBezTo>
                <a:cubicBezTo>
                  <a:pt x="10178740" y="24486"/>
                  <a:pt x="10149821" y="24255"/>
                  <a:pt x="10146119" y="34203"/>
                </a:cubicBezTo>
                <a:cubicBezTo>
                  <a:pt x="10104168" y="29113"/>
                  <a:pt x="10063760" y="22173"/>
                  <a:pt x="10015331" y="26337"/>
                </a:cubicBezTo>
                <a:cubicBezTo>
                  <a:pt x="10010781" y="26722"/>
                  <a:pt x="10004304" y="25797"/>
                  <a:pt x="9999137" y="25103"/>
                </a:cubicBezTo>
                <a:cubicBezTo>
                  <a:pt x="9962121" y="20476"/>
                  <a:pt x="9924643" y="21324"/>
                  <a:pt x="9887319" y="24409"/>
                </a:cubicBezTo>
                <a:cubicBezTo>
                  <a:pt x="9836962" y="28573"/>
                  <a:pt x="9796322" y="24255"/>
                  <a:pt x="9762777" y="13613"/>
                </a:cubicBezTo>
                <a:cubicBezTo>
                  <a:pt x="9742186" y="15155"/>
                  <a:pt x="9721829" y="18086"/>
                  <a:pt x="9701778" y="17931"/>
                </a:cubicBezTo>
                <a:cubicBezTo>
                  <a:pt x="9621732" y="17160"/>
                  <a:pt x="9541455" y="16235"/>
                  <a:pt x="9461948" y="13767"/>
                </a:cubicBezTo>
                <a:cubicBezTo>
                  <a:pt x="9428094" y="12687"/>
                  <a:pt x="9396245" y="8292"/>
                  <a:pt x="9362084" y="13536"/>
                </a:cubicBezTo>
                <a:cubicBezTo>
                  <a:pt x="9355375" y="14538"/>
                  <a:pt x="9341879" y="13844"/>
                  <a:pt x="9335016" y="12533"/>
                </a:cubicBezTo>
                <a:cubicBezTo>
                  <a:pt x="9315351" y="8677"/>
                  <a:pt x="9296072" y="9449"/>
                  <a:pt x="9274634" y="10760"/>
                </a:cubicBezTo>
                <a:cubicBezTo>
                  <a:pt x="9260137" y="11608"/>
                  <a:pt x="9244019" y="11222"/>
                  <a:pt x="9229136" y="10451"/>
                </a:cubicBezTo>
                <a:cubicBezTo>
                  <a:pt x="9190038" y="8523"/>
                  <a:pt x="9151557" y="5361"/>
                  <a:pt x="9112228" y="4359"/>
                </a:cubicBezTo>
                <a:cubicBezTo>
                  <a:pt x="9086934" y="3742"/>
                  <a:pt x="9060637" y="6055"/>
                  <a:pt x="9034804" y="7135"/>
                </a:cubicBezTo>
                <a:cubicBezTo>
                  <a:pt x="9018224" y="7829"/>
                  <a:pt x="9001567" y="9371"/>
                  <a:pt x="8985065" y="9217"/>
                </a:cubicBezTo>
                <a:cubicBezTo>
                  <a:pt x="8964860" y="9063"/>
                  <a:pt x="8944810" y="6827"/>
                  <a:pt x="8924606" y="6672"/>
                </a:cubicBezTo>
                <a:cubicBezTo>
                  <a:pt x="8888438" y="6364"/>
                  <a:pt x="8852117" y="7675"/>
                  <a:pt x="8816104" y="7058"/>
                </a:cubicBezTo>
                <a:cubicBezTo>
                  <a:pt x="8745774" y="5901"/>
                  <a:pt x="8675753" y="2817"/>
                  <a:pt x="8605501" y="2431"/>
                </a:cubicBezTo>
                <a:cubicBezTo>
                  <a:pt x="8538102" y="2045"/>
                  <a:pt x="8468774" y="-4509"/>
                  <a:pt x="8402918" y="5670"/>
                </a:cubicBezTo>
                <a:cubicBezTo>
                  <a:pt x="8395361" y="6827"/>
                  <a:pt x="8384024" y="6055"/>
                  <a:pt x="8374539" y="6210"/>
                </a:cubicBezTo>
                <a:cubicBezTo>
                  <a:pt x="8277373" y="7983"/>
                  <a:pt x="8180131" y="9603"/>
                  <a:pt x="8082965" y="11762"/>
                </a:cubicBezTo>
                <a:cubicBezTo>
                  <a:pt x="8006697" y="13381"/>
                  <a:pt x="7930584" y="16003"/>
                  <a:pt x="7854317" y="17469"/>
                </a:cubicBezTo>
                <a:cubicBezTo>
                  <a:pt x="7776353" y="19011"/>
                  <a:pt x="7698080" y="19474"/>
                  <a:pt x="7620039" y="20707"/>
                </a:cubicBezTo>
                <a:cubicBezTo>
                  <a:pt x="7534209" y="22018"/>
                  <a:pt x="7448456" y="23792"/>
                  <a:pt x="7362626" y="25180"/>
                </a:cubicBezTo>
                <a:cubicBezTo>
                  <a:pt x="7339954" y="25566"/>
                  <a:pt x="7317205" y="25334"/>
                  <a:pt x="7294533" y="25720"/>
                </a:cubicBezTo>
                <a:cubicBezTo>
                  <a:pt x="7241246" y="26722"/>
                  <a:pt x="7188036" y="28650"/>
                  <a:pt x="7134672" y="29113"/>
                </a:cubicBezTo>
                <a:cubicBezTo>
                  <a:pt x="7037121" y="29961"/>
                  <a:pt x="6939415" y="29730"/>
                  <a:pt x="6841787" y="30424"/>
                </a:cubicBezTo>
                <a:cubicBezTo>
                  <a:pt x="6790505" y="30501"/>
                  <a:pt x="6739146" y="32815"/>
                  <a:pt x="6687864" y="32660"/>
                </a:cubicBezTo>
                <a:cubicBezTo>
                  <a:pt x="6488982" y="31812"/>
                  <a:pt x="6290255" y="29653"/>
                  <a:pt x="6091373" y="29267"/>
                </a:cubicBezTo>
                <a:cubicBezTo>
                  <a:pt x="5802498" y="28728"/>
                  <a:pt x="5513545" y="29961"/>
                  <a:pt x="5224669" y="29190"/>
                </a:cubicBezTo>
                <a:cubicBezTo>
                  <a:pt x="5002807" y="28650"/>
                  <a:pt x="4781022" y="25874"/>
                  <a:pt x="4559161" y="24795"/>
                </a:cubicBezTo>
                <a:cubicBezTo>
                  <a:pt x="4411946" y="24023"/>
                  <a:pt x="4264578" y="23792"/>
                  <a:pt x="4117364" y="24563"/>
                </a:cubicBezTo>
                <a:cubicBezTo>
                  <a:pt x="3958506" y="25412"/>
                  <a:pt x="3799647" y="27417"/>
                  <a:pt x="3640866" y="29422"/>
                </a:cubicBezTo>
                <a:cubicBezTo>
                  <a:pt x="3551026" y="30578"/>
                  <a:pt x="3461418" y="32969"/>
                  <a:pt x="3371655" y="34511"/>
                </a:cubicBezTo>
                <a:cubicBezTo>
                  <a:pt x="3167452" y="38213"/>
                  <a:pt x="2963404" y="42146"/>
                  <a:pt x="2759125" y="45153"/>
                </a:cubicBezTo>
                <a:cubicBezTo>
                  <a:pt x="2640752" y="46927"/>
                  <a:pt x="2522148" y="47158"/>
                  <a:pt x="2403621" y="48161"/>
                </a:cubicBezTo>
                <a:cubicBezTo>
                  <a:pt x="2248772" y="49395"/>
                  <a:pt x="2093924" y="51091"/>
                  <a:pt x="1939076" y="51631"/>
                </a:cubicBezTo>
                <a:cubicBezTo>
                  <a:pt x="1818544" y="52016"/>
                  <a:pt x="1697858" y="50628"/>
                  <a:pt x="1577326" y="50474"/>
                </a:cubicBezTo>
                <a:cubicBezTo>
                  <a:pt x="1399265" y="50243"/>
                  <a:pt x="1221282" y="50320"/>
                  <a:pt x="1043222" y="50551"/>
                </a:cubicBezTo>
                <a:cubicBezTo>
                  <a:pt x="972430" y="50706"/>
                  <a:pt x="901637" y="51400"/>
                  <a:pt x="830922" y="52556"/>
                </a:cubicBezTo>
                <a:cubicBezTo>
                  <a:pt x="753035" y="53867"/>
                  <a:pt x="675303" y="56566"/>
                  <a:pt x="597416" y="57492"/>
                </a:cubicBezTo>
                <a:cubicBezTo>
                  <a:pt x="544129" y="58109"/>
                  <a:pt x="490610" y="56489"/>
                  <a:pt x="437246" y="56026"/>
                </a:cubicBezTo>
                <a:cubicBezTo>
                  <a:pt x="330055" y="55101"/>
                  <a:pt x="222710" y="54947"/>
                  <a:pt x="115828" y="52942"/>
                </a:cubicBezTo>
                <a:cubicBezTo>
                  <a:pt x="73646" y="52171"/>
                  <a:pt x="37864" y="54099"/>
                  <a:pt x="0" y="60962"/>
                </a:cubicBezTo>
                <a:cubicBezTo>
                  <a:pt x="29150" y="68828"/>
                  <a:pt x="64623" y="69059"/>
                  <a:pt x="97474" y="70062"/>
                </a:cubicBezTo>
                <a:close/>
                <a:moveTo>
                  <a:pt x="3736875" y="145095"/>
                </a:moveTo>
                <a:cubicBezTo>
                  <a:pt x="3737415" y="144710"/>
                  <a:pt x="3738032" y="144247"/>
                  <a:pt x="3738572" y="143861"/>
                </a:cubicBezTo>
                <a:cubicBezTo>
                  <a:pt x="3751141" y="143861"/>
                  <a:pt x="3763634" y="143861"/>
                  <a:pt x="3776204" y="143861"/>
                </a:cubicBezTo>
                <a:cubicBezTo>
                  <a:pt x="3776358" y="144247"/>
                  <a:pt x="3776513" y="144710"/>
                  <a:pt x="3776744" y="145095"/>
                </a:cubicBezTo>
                <a:cubicBezTo>
                  <a:pt x="3763480" y="145095"/>
                  <a:pt x="3750216" y="145095"/>
                  <a:pt x="3736875" y="145095"/>
                </a:cubicBezTo>
                <a:close/>
                <a:moveTo>
                  <a:pt x="6944351" y="143784"/>
                </a:moveTo>
                <a:cubicBezTo>
                  <a:pt x="6944273" y="143090"/>
                  <a:pt x="6944196" y="142473"/>
                  <a:pt x="6944119" y="141779"/>
                </a:cubicBezTo>
                <a:cubicBezTo>
                  <a:pt x="6994167" y="141779"/>
                  <a:pt x="7044216" y="141779"/>
                  <a:pt x="7094418" y="141856"/>
                </a:cubicBezTo>
                <a:cubicBezTo>
                  <a:pt x="7044370" y="142473"/>
                  <a:pt x="6994399" y="143090"/>
                  <a:pt x="6944351" y="143784"/>
                </a:cubicBezTo>
                <a:close/>
                <a:moveTo>
                  <a:pt x="9640085" y="139312"/>
                </a:moveTo>
                <a:cubicBezTo>
                  <a:pt x="9631603" y="139234"/>
                  <a:pt x="9623120" y="139080"/>
                  <a:pt x="9614638" y="139003"/>
                </a:cubicBezTo>
                <a:cubicBezTo>
                  <a:pt x="9614638" y="138695"/>
                  <a:pt x="9614715" y="138463"/>
                  <a:pt x="9614715" y="138155"/>
                </a:cubicBezTo>
                <a:cubicBezTo>
                  <a:pt x="9623197" y="138155"/>
                  <a:pt x="9631757" y="138155"/>
                  <a:pt x="9640240" y="138155"/>
                </a:cubicBezTo>
                <a:cubicBezTo>
                  <a:pt x="9640162" y="138540"/>
                  <a:pt x="9640085" y="138926"/>
                  <a:pt x="9640085" y="139312"/>
                </a:cubicBezTo>
                <a:close/>
                <a:moveTo>
                  <a:pt x="11631060" y="144093"/>
                </a:moveTo>
                <a:cubicBezTo>
                  <a:pt x="11654118" y="144093"/>
                  <a:pt x="11677098" y="144093"/>
                  <a:pt x="11700156" y="144093"/>
                </a:cubicBezTo>
                <a:cubicBezTo>
                  <a:pt x="11699924" y="145327"/>
                  <a:pt x="11699771" y="146560"/>
                  <a:pt x="11699539" y="147794"/>
                </a:cubicBezTo>
                <a:cubicBezTo>
                  <a:pt x="11676636" y="147332"/>
                  <a:pt x="11653732" y="146869"/>
                  <a:pt x="11630751" y="146406"/>
                </a:cubicBezTo>
                <a:cubicBezTo>
                  <a:pt x="11630906" y="145635"/>
                  <a:pt x="11630983" y="144864"/>
                  <a:pt x="11631060" y="144093"/>
                </a:cubicBezTo>
                <a:close/>
                <a:moveTo>
                  <a:pt x="10957609" y="159207"/>
                </a:moveTo>
                <a:cubicBezTo>
                  <a:pt x="10948354" y="159207"/>
                  <a:pt x="10939178" y="159207"/>
                  <a:pt x="10929923" y="159207"/>
                </a:cubicBezTo>
                <a:cubicBezTo>
                  <a:pt x="10929846" y="158668"/>
                  <a:pt x="10929769" y="158205"/>
                  <a:pt x="10929693" y="157665"/>
                </a:cubicBezTo>
                <a:cubicBezTo>
                  <a:pt x="10939255" y="157511"/>
                  <a:pt x="10948740" y="157434"/>
                  <a:pt x="10958302" y="157280"/>
                </a:cubicBezTo>
                <a:cubicBezTo>
                  <a:pt x="10958071" y="157974"/>
                  <a:pt x="10957839" y="158590"/>
                  <a:pt x="10957609" y="159207"/>
                </a:cubicBezTo>
                <a:close/>
                <a:moveTo>
                  <a:pt x="11402489" y="155660"/>
                </a:moveTo>
                <a:cubicBezTo>
                  <a:pt x="11363545" y="157125"/>
                  <a:pt x="11333239" y="158282"/>
                  <a:pt x="11302932" y="159439"/>
                </a:cubicBezTo>
                <a:cubicBezTo>
                  <a:pt x="11336015" y="151342"/>
                  <a:pt x="11336015" y="151342"/>
                  <a:pt x="11402489" y="155660"/>
                </a:cubicBezTo>
                <a:close/>
                <a:moveTo>
                  <a:pt x="11190421" y="80472"/>
                </a:moveTo>
                <a:cubicBezTo>
                  <a:pt x="11150244" y="92502"/>
                  <a:pt x="11102431" y="91037"/>
                  <a:pt x="11054311" y="88030"/>
                </a:cubicBezTo>
                <a:cubicBezTo>
                  <a:pt x="11049993" y="87798"/>
                  <a:pt x="11047679" y="84868"/>
                  <a:pt x="11044672" y="82940"/>
                </a:cubicBezTo>
                <a:cubicBezTo>
                  <a:pt x="11051921" y="81475"/>
                  <a:pt x="11059092" y="79007"/>
                  <a:pt x="11066573" y="79007"/>
                </a:cubicBezTo>
                <a:cubicBezTo>
                  <a:pt x="11107753" y="78621"/>
                  <a:pt x="11149009" y="78853"/>
                  <a:pt x="11190421" y="80472"/>
                </a:cubicBezTo>
                <a:close/>
                <a:moveTo>
                  <a:pt x="11042050" y="82940"/>
                </a:moveTo>
                <a:cubicBezTo>
                  <a:pt x="11017913" y="87104"/>
                  <a:pt x="10996012" y="93967"/>
                  <a:pt x="10963392" y="88107"/>
                </a:cubicBezTo>
                <a:cubicBezTo>
                  <a:pt x="10993853" y="77310"/>
                  <a:pt x="10994315" y="77233"/>
                  <a:pt x="11042050" y="82940"/>
                </a:cubicBezTo>
                <a:close/>
                <a:moveTo>
                  <a:pt x="10766593" y="76231"/>
                </a:moveTo>
                <a:cubicBezTo>
                  <a:pt x="10803685" y="75151"/>
                  <a:pt x="10840238" y="73840"/>
                  <a:pt x="10877176" y="79470"/>
                </a:cubicBezTo>
                <a:cubicBezTo>
                  <a:pt x="10867691" y="80164"/>
                  <a:pt x="10858283" y="81243"/>
                  <a:pt x="10848644" y="81552"/>
                </a:cubicBezTo>
                <a:cubicBezTo>
                  <a:pt x="10837384" y="81860"/>
                  <a:pt x="10821884" y="80164"/>
                  <a:pt x="10815175" y="81706"/>
                </a:cubicBezTo>
                <a:cubicBezTo>
                  <a:pt x="10779085" y="90266"/>
                  <a:pt x="10741144" y="81937"/>
                  <a:pt x="10704437" y="83325"/>
                </a:cubicBezTo>
                <a:cubicBezTo>
                  <a:pt x="10685621" y="84020"/>
                  <a:pt x="10685081" y="82940"/>
                  <a:pt x="10682073" y="76154"/>
                </a:cubicBezTo>
                <a:cubicBezTo>
                  <a:pt x="10713306" y="76308"/>
                  <a:pt x="10740219" y="76925"/>
                  <a:pt x="10766593" y="76231"/>
                </a:cubicBezTo>
                <a:close/>
                <a:moveTo>
                  <a:pt x="11291751" y="152344"/>
                </a:moveTo>
                <a:cubicBezTo>
                  <a:pt x="11086931" y="154349"/>
                  <a:pt x="10882344" y="153038"/>
                  <a:pt x="10678064" y="149182"/>
                </a:cubicBezTo>
                <a:cubicBezTo>
                  <a:pt x="10882497" y="151342"/>
                  <a:pt x="11087626" y="145172"/>
                  <a:pt x="11291751" y="152344"/>
                </a:cubicBezTo>
                <a:close/>
                <a:moveTo>
                  <a:pt x="10625008" y="147640"/>
                </a:moveTo>
                <a:cubicBezTo>
                  <a:pt x="10625008" y="148103"/>
                  <a:pt x="10625008" y="148643"/>
                  <a:pt x="10625008" y="149105"/>
                </a:cubicBezTo>
                <a:cubicBezTo>
                  <a:pt x="10591385" y="149105"/>
                  <a:pt x="10557763" y="149105"/>
                  <a:pt x="10524218" y="149105"/>
                </a:cubicBezTo>
                <a:cubicBezTo>
                  <a:pt x="10524218" y="148643"/>
                  <a:pt x="10524218" y="148103"/>
                  <a:pt x="10524218" y="147640"/>
                </a:cubicBezTo>
                <a:cubicBezTo>
                  <a:pt x="10557840" y="147640"/>
                  <a:pt x="10591462" y="147640"/>
                  <a:pt x="10625008" y="147640"/>
                </a:cubicBezTo>
                <a:close/>
                <a:moveTo>
                  <a:pt x="10465841" y="144633"/>
                </a:moveTo>
                <a:cubicBezTo>
                  <a:pt x="10466072" y="145249"/>
                  <a:pt x="10466304" y="145866"/>
                  <a:pt x="10466458" y="146483"/>
                </a:cubicBezTo>
                <a:cubicBezTo>
                  <a:pt x="10419186" y="146483"/>
                  <a:pt x="10371914" y="146483"/>
                  <a:pt x="10324565" y="146483"/>
                </a:cubicBezTo>
                <a:cubicBezTo>
                  <a:pt x="10324565" y="145866"/>
                  <a:pt x="10324488" y="145249"/>
                  <a:pt x="10324488" y="144633"/>
                </a:cubicBezTo>
                <a:cubicBezTo>
                  <a:pt x="10371605" y="144633"/>
                  <a:pt x="10418724" y="144633"/>
                  <a:pt x="10465841" y="144633"/>
                </a:cubicBezTo>
                <a:close/>
                <a:moveTo>
                  <a:pt x="7348746" y="61733"/>
                </a:moveTo>
                <a:cubicBezTo>
                  <a:pt x="7348823" y="62273"/>
                  <a:pt x="7348900" y="62890"/>
                  <a:pt x="7348977" y="63430"/>
                </a:cubicBezTo>
                <a:cubicBezTo>
                  <a:pt x="7311884" y="63430"/>
                  <a:pt x="7274791" y="63430"/>
                  <a:pt x="7237699" y="63430"/>
                </a:cubicBezTo>
                <a:cubicBezTo>
                  <a:pt x="7237236" y="62890"/>
                  <a:pt x="7236773" y="62273"/>
                  <a:pt x="7236311" y="61733"/>
                </a:cubicBezTo>
                <a:cubicBezTo>
                  <a:pt x="7273789" y="61733"/>
                  <a:pt x="7311268" y="61733"/>
                  <a:pt x="7348746" y="61733"/>
                </a:cubicBezTo>
                <a:close/>
                <a:moveTo>
                  <a:pt x="6553991" y="68519"/>
                </a:moveTo>
                <a:cubicBezTo>
                  <a:pt x="6587999" y="68519"/>
                  <a:pt x="6622007" y="68519"/>
                  <a:pt x="6656015" y="68519"/>
                </a:cubicBezTo>
                <a:cubicBezTo>
                  <a:pt x="6656015" y="68905"/>
                  <a:pt x="6656092" y="69368"/>
                  <a:pt x="6656092" y="69753"/>
                </a:cubicBezTo>
                <a:cubicBezTo>
                  <a:pt x="6621544" y="69753"/>
                  <a:pt x="6586996" y="69753"/>
                  <a:pt x="6552448" y="69753"/>
                </a:cubicBezTo>
                <a:cubicBezTo>
                  <a:pt x="6552988" y="69368"/>
                  <a:pt x="6553451" y="68982"/>
                  <a:pt x="6553991" y="68519"/>
                </a:cubicBezTo>
                <a:close/>
                <a:moveTo>
                  <a:pt x="6162628" y="68751"/>
                </a:moveTo>
                <a:cubicBezTo>
                  <a:pt x="6162706" y="69059"/>
                  <a:pt x="6162706" y="69445"/>
                  <a:pt x="6162782" y="69753"/>
                </a:cubicBezTo>
                <a:cubicBezTo>
                  <a:pt x="6153914" y="69984"/>
                  <a:pt x="6145123" y="70139"/>
                  <a:pt x="6136254" y="70370"/>
                </a:cubicBezTo>
                <a:cubicBezTo>
                  <a:pt x="6136178" y="69830"/>
                  <a:pt x="6136023" y="69290"/>
                  <a:pt x="6135946" y="68751"/>
                </a:cubicBezTo>
                <a:cubicBezTo>
                  <a:pt x="6144815" y="68751"/>
                  <a:pt x="6153760" y="68751"/>
                  <a:pt x="6162628" y="68751"/>
                </a:cubicBezTo>
                <a:close/>
                <a:moveTo>
                  <a:pt x="5317054" y="68288"/>
                </a:moveTo>
                <a:cubicBezTo>
                  <a:pt x="5317439" y="69213"/>
                  <a:pt x="5317748" y="70216"/>
                  <a:pt x="5318134" y="71141"/>
                </a:cubicBezTo>
                <a:cubicBezTo>
                  <a:pt x="5281812" y="72298"/>
                  <a:pt x="5245414" y="73455"/>
                  <a:pt x="5209092" y="74611"/>
                </a:cubicBezTo>
                <a:cubicBezTo>
                  <a:pt x="5208475" y="73455"/>
                  <a:pt x="5207858" y="72375"/>
                  <a:pt x="5207241" y="71218"/>
                </a:cubicBezTo>
                <a:cubicBezTo>
                  <a:pt x="5243794" y="70293"/>
                  <a:pt x="5280424" y="69290"/>
                  <a:pt x="5317054" y="68288"/>
                </a:cubicBezTo>
                <a:close/>
                <a:moveTo>
                  <a:pt x="4265195" y="69213"/>
                </a:moveTo>
                <a:cubicBezTo>
                  <a:pt x="4264270" y="69290"/>
                  <a:pt x="4263421" y="69368"/>
                  <a:pt x="4262496" y="69445"/>
                </a:cubicBezTo>
                <a:cubicBezTo>
                  <a:pt x="4135640" y="70756"/>
                  <a:pt x="4008862" y="72067"/>
                  <a:pt x="3882007" y="73378"/>
                </a:cubicBezTo>
                <a:cubicBezTo>
                  <a:pt x="3881930" y="71989"/>
                  <a:pt x="3881853" y="70601"/>
                  <a:pt x="3881776" y="69213"/>
                </a:cubicBezTo>
                <a:cubicBezTo>
                  <a:pt x="4009556" y="69213"/>
                  <a:pt x="4137414" y="69213"/>
                  <a:pt x="4265195" y="69213"/>
                </a:cubicBezTo>
                <a:close/>
                <a:moveTo>
                  <a:pt x="3757156" y="71912"/>
                </a:moveTo>
                <a:cubicBezTo>
                  <a:pt x="3770883" y="71912"/>
                  <a:pt x="3784610" y="71912"/>
                  <a:pt x="3798336" y="71912"/>
                </a:cubicBezTo>
                <a:cubicBezTo>
                  <a:pt x="3798336" y="72298"/>
                  <a:pt x="3798259" y="72684"/>
                  <a:pt x="3798259" y="73069"/>
                </a:cubicBezTo>
                <a:cubicBezTo>
                  <a:pt x="3784533" y="73069"/>
                  <a:pt x="3770806" y="73069"/>
                  <a:pt x="3757080" y="73069"/>
                </a:cubicBezTo>
                <a:cubicBezTo>
                  <a:pt x="3757080" y="72606"/>
                  <a:pt x="3757080" y="72221"/>
                  <a:pt x="3757156" y="71912"/>
                </a:cubicBezTo>
                <a:close/>
                <a:moveTo>
                  <a:pt x="1670944" y="65666"/>
                </a:moveTo>
                <a:cubicBezTo>
                  <a:pt x="1670713" y="66823"/>
                  <a:pt x="1670481" y="68057"/>
                  <a:pt x="1670173" y="69213"/>
                </a:cubicBezTo>
                <a:cubicBezTo>
                  <a:pt x="1609174" y="70910"/>
                  <a:pt x="1548330" y="71527"/>
                  <a:pt x="1488257" y="65666"/>
                </a:cubicBezTo>
                <a:cubicBezTo>
                  <a:pt x="1549101" y="65666"/>
                  <a:pt x="1610023" y="65666"/>
                  <a:pt x="1670944" y="65666"/>
                </a:cubicBezTo>
                <a:close/>
                <a:moveTo>
                  <a:pt x="1294234" y="65203"/>
                </a:moveTo>
                <a:cubicBezTo>
                  <a:pt x="1344128" y="65203"/>
                  <a:pt x="1393944" y="65203"/>
                  <a:pt x="1443838" y="65203"/>
                </a:cubicBezTo>
                <a:cubicBezTo>
                  <a:pt x="1443838" y="65743"/>
                  <a:pt x="1443761" y="66283"/>
                  <a:pt x="1443761" y="66900"/>
                </a:cubicBezTo>
                <a:cubicBezTo>
                  <a:pt x="1393327" y="66900"/>
                  <a:pt x="1342894" y="66900"/>
                  <a:pt x="1292460" y="66900"/>
                </a:cubicBezTo>
                <a:cubicBezTo>
                  <a:pt x="1293000" y="66283"/>
                  <a:pt x="1293617" y="65743"/>
                  <a:pt x="1294234" y="65203"/>
                </a:cubicBezTo>
                <a:close/>
              </a:path>
            </a:pathLst>
          </a:custGeom>
          <a:solidFill>
            <a:srgbClr val="E0DFE6"/>
          </a:solidFill>
          <a:ln w="77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1B3548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98" name="Forma livre: Forma 488">
            <a:extLst>
              <a:ext uri="{FF2B5EF4-FFF2-40B4-BE49-F238E27FC236}">
                <a16:creationId xmlns:a16="http://schemas.microsoft.com/office/drawing/2014/main" id="{F875A049-93A6-44D8-BC25-300DE4F41A06}"/>
              </a:ext>
            </a:extLst>
          </p:cNvPr>
          <p:cNvSpPr/>
          <p:nvPr/>
        </p:nvSpPr>
        <p:spPr>
          <a:xfrm rot="10800000" flipV="1">
            <a:off x="2907202" y="4485383"/>
            <a:ext cx="8583823" cy="34350"/>
          </a:xfrm>
          <a:custGeom>
            <a:avLst/>
            <a:gdLst>
              <a:gd name="connsiteX0" fmla="*/ 97474 w 12195374"/>
              <a:gd name="connsiteY0" fmla="*/ 70062 h 200232"/>
              <a:gd name="connsiteX1" fmla="*/ 685019 w 12195374"/>
              <a:gd name="connsiteY1" fmla="*/ 86410 h 200232"/>
              <a:gd name="connsiteX2" fmla="*/ 1000037 w 12195374"/>
              <a:gd name="connsiteY2" fmla="*/ 89803 h 200232"/>
              <a:gd name="connsiteX3" fmla="*/ 1344359 w 12195374"/>
              <a:gd name="connsiteY3" fmla="*/ 92271 h 200232"/>
              <a:gd name="connsiteX4" fmla="*/ 1756697 w 12195374"/>
              <a:gd name="connsiteY4" fmla="*/ 93505 h 200232"/>
              <a:gd name="connsiteX5" fmla="*/ 2024597 w 12195374"/>
              <a:gd name="connsiteY5" fmla="*/ 89186 h 200232"/>
              <a:gd name="connsiteX6" fmla="*/ 2466547 w 12195374"/>
              <a:gd name="connsiteY6" fmla="*/ 86873 h 200232"/>
              <a:gd name="connsiteX7" fmla="*/ 2862537 w 12195374"/>
              <a:gd name="connsiteY7" fmla="*/ 82246 h 200232"/>
              <a:gd name="connsiteX8" fmla="*/ 3440674 w 12195374"/>
              <a:gd name="connsiteY8" fmla="*/ 70601 h 200232"/>
              <a:gd name="connsiteX9" fmla="*/ 3506993 w 12195374"/>
              <a:gd name="connsiteY9" fmla="*/ 70524 h 200232"/>
              <a:gd name="connsiteX10" fmla="*/ 3400265 w 12195374"/>
              <a:gd name="connsiteY10" fmla="*/ 76925 h 200232"/>
              <a:gd name="connsiteX11" fmla="*/ 3096891 w 12195374"/>
              <a:gd name="connsiteY11" fmla="*/ 83788 h 200232"/>
              <a:gd name="connsiteX12" fmla="*/ 2662344 w 12195374"/>
              <a:gd name="connsiteY12" fmla="*/ 93890 h 200232"/>
              <a:gd name="connsiteX13" fmla="*/ 2479271 w 12195374"/>
              <a:gd name="connsiteY13" fmla="*/ 97746 h 200232"/>
              <a:gd name="connsiteX14" fmla="*/ 1985885 w 12195374"/>
              <a:gd name="connsiteY14" fmla="*/ 103684 h 200232"/>
              <a:gd name="connsiteX15" fmla="*/ 1825793 w 12195374"/>
              <a:gd name="connsiteY15" fmla="*/ 107000 h 200232"/>
              <a:gd name="connsiteX16" fmla="*/ 1159590 w 12195374"/>
              <a:gd name="connsiteY16" fmla="*/ 103838 h 200232"/>
              <a:gd name="connsiteX17" fmla="*/ 654558 w 12195374"/>
              <a:gd name="connsiteY17" fmla="*/ 104532 h 200232"/>
              <a:gd name="connsiteX18" fmla="*/ 374243 w 12195374"/>
              <a:gd name="connsiteY18" fmla="*/ 103915 h 200232"/>
              <a:gd name="connsiteX19" fmla="*/ 99402 w 12195374"/>
              <a:gd name="connsiteY19" fmla="*/ 104764 h 200232"/>
              <a:gd name="connsiteX20" fmla="*/ 68170 w 12195374"/>
              <a:gd name="connsiteY20" fmla="*/ 107386 h 200232"/>
              <a:gd name="connsiteX21" fmla="*/ 272527 w 12195374"/>
              <a:gd name="connsiteY21" fmla="*/ 114634 h 200232"/>
              <a:gd name="connsiteX22" fmla="*/ 478349 w 12195374"/>
              <a:gd name="connsiteY22" fmla="*/ 119030 h 200232"/>
              <a:gd name="connsiteX23" fmla="*/ 678696 w 12195374"/>
              <a:gd name="connsiteY23" fmla="*/ 123349 h 200232"/>
              <a:gd name="connsiteX24" fmla="*/ 881664 w 12195374"/>
              <a:gd name="connsiteY24" fmla="*/ 128130 h 200232"/>
              <a:gd name="connsiteX25" fmla="*/ 1085096 w 12195374"/>
              <a:gd name="connsiteY25" fmla="*/ 133913 h 200232"/>
              <a:gd name="connsiteX26" fmla="*/ 1281201 w 12195374"/>
              <a:gd name="connsiteY26" fmla="*/ 137075 h 200232"/>
              <a:gd name="connsiteX27" fmla="*/ 1058799 w 12195374"/>
              <a:gd name="connsiteY27" fmla="*/ 140237 h 200232"/>
              <a:gd name="connsiteX28" fmla="*/ 829611 w 12195374"/>
              <a:gd name="connsiteY28" fmla="*/ 140314 h 200232"/>
              <a:gd name="connsiteX29" fmla="*/ 718487 w 12195374"/>
              <a:gd name="connsiteY29" fmla="*/ 140700 h 200232"/>
              <a:gd name="connsiteX30" fmla="*/ 560786 w 12195374"/>
              <a:gd name="connsiteY30" fmla="*/ 146406 h 200232"/>
              <a:gd name="connsiteX31" fmla="*/ 507036 w 12195374"/>
              <a:gd name="connsiteY31" fmla="*/ 147177 h 200232"/>
              <a:gd name="connsiteX32" fmla="*/ 506111 w 12195374"/>
              <a:gd name="connsiteY32" fmla="*/ 150570 h 200232"/>
              <a:gd name="connsiteX33" fmla="*/ 547059 w 12195374"/>
              <a:gd name="connsiteY33" fmla="*/ 152498 h 200232"/>
              <a:gd name="connsiteX34" fmla="*/ 705918 w 12195374"/>
              <a:gd name="connsiteY34" fmla="*/ 152961 h 200232"/>
              <a:gd name="connsiteX35" fmla="*/ 1111624 w 12195374"/>
              <a:gd name="connsiteY35" fmla="*/ 155352 h 200232"/>
              <a:gd name="connsiteX36" fmla="*/ 1541852 w 12195374"/>
              <a:gd name="connsiteY36" fmla="*/ 159285 h 200232"/>
              <a:gd name="connsiteX37" fmla="*/ 2018119 w 12195374"/>
              <a:gd name="connsiteY37" fmla="*/ 157125 h 200232"/>
              <a:gd name="connsiteX38" fmla="*/ 2540347 w 12195374"/>
              <a:gd name="connsiteY38" fmla="*/ 153501 h 200232"/>
              <a:gd name="connsiteX39" fmla="*/ 2947672 w 12195374"/>
              <a:gd name="connsiteY39" fmla="*/ 149568 h 200232"/>
              <a:gd name="connsiteX40" fmla="*/ 2945590 w 12195374"/>
              <a:gd name="connsiteY40" fmla="*/ 150108 h 200232"/>
              <a:gd name="connsiteX41" fmla="*/ 3092882 w 12195374"/>
              <a:gd name="connsiteY41" fmla="*/ 147332 h 200232"/>
              <a:gd name="connsiteX42" fmla="*/ 3202000 w 12195374"/>
              <a:gd name="connsiteY42" fmla="*/ 149876 h 200232"/>
              <a:gd name="connsiteX43" fmla="*/ 3202540 w 12195374"/>
              <a:gd name="connsiteY43" fmla="*/ 147563 h 200232"/>
              <a:gd name="connsiteX44" fmla="*/ 3135989 w 12195374"/>
              <a:gd name="connsiteY44" fmla="*/ 146252 h 200232"/>
              <a:gd name="connsiteX45" fmla="*/ 3162517 w 12195374"/>
              <a:gd name="connsiteY45" fmla="*/ 143399 h 200232"/>
              <a:gd name="connsiteX46" fmla="*/ 3494655 w 12195374"/>
              <a:gd name="connsiteY46" fmla="*/ 136690 h 200232"/>
              <a:gd name="connsiteX47" fmla="*/ 3671635 w 12195374"/>
              <a:gd name="connsiteY47" fmla="*/ 135687 h 200232"/>
              <a:gd name="connsiteX48" fmla="*/ 4089988 w 12195374"/>
              <a:gd name="connsiteY48" fmla="*/ 130212 h 200232"/>
              <a:gd name="connsiteX49" fmla="*/ 4617923 w 12195374"/>
              <a:gd name="connsiteY49" fmla="*/ 132063 h 200232"/>
              <a:gd name="connsiteX50" fmla="*/ 4881273 w 12195374"/>
              <a:gd name="connsiteY50" fmla="*/ 131677 h 200232"/>
              <a:gd name="connsiteX51" fmla="*/ 5408976 w 12195374"/>
              <a:gd name="connsiteY51" fmla="*/ 130752 h 200232"/>
              <a:gd name="connsiteX52" fmla="*/ 6230027 w 12195374"/>
              <a:gd name="connsiteY52" fmla="*/ 131446 h 200232"/>
              <a:gd name="connsiteX53" fmla="*/ 6579131 w 12195374"/>
              <a:gd name="connsiteY53" fmla="*/ 133374 h 200232"/>
              <a:gd name="connsiteX54" fmla="*/ 7026787 w 12195374"/>
              <a:gd name="connsiteY54" fmla="*/ 131986 h 200232"/>
              <a:gd name="connsiteX55" fmla="*/ 7541303 w 12195374"/>
              <a:gd name="connsiteY55" fmla="*/ 123194 h 200232"/>
              <a:gd name="connsiteX56" fmla="*/ 8045255 w 12195374"/>
              <a:gd name="connsiteY56" fmla="*/ 114095 h 200232"/>
              <a:gd name="connsiteX57" fmla="*/ 8406388 w 12195374"/>
              <a:gd name="connsiteY57" fmla="*/ 111164 h 200232"/>
              <a:gd name="connsiteX58" fmla="*/ 8743075 w 12195374"/>
              <a:gd name="connsiteY58" fmla="*/ 113786 h 200232"/>
              <a:gd name="connsiteX59" fmla="*/ 8742921 w 12195374"/>
              <a:gd name="connsiteY59" fmla="*/ 117796 h 200232"/>
              <a:gd name="connsiteX60" fmla="*/ 8207121 w 12195374"/>
              <a:gd name="connsiteY60" fmla="*/ 117796 h 200232"/>
              <a:gd name="connsiteX61" fmla="*/ 8224009 w 12195374"/>
              <a:gd name="connsiteY61" fmla="*/ 120572 h 200232"/>
              <a:gd name="connsiteX62" fmla="*/ 8723333 w 12195374"/>
              <a:gd name="connsiteY62" fmla="*/ 119878 h 200232"/>
              <a:gd name="connsiteX63" fmla="*/ 8790502 w 12195374"/>
              <a:gd name="connsiteY63" fmla="*/ 122269 h 200232"/>
              <a:gd name="connsiteX64" fmla="*/ 8837928 w 12195374"/>
              <a:gd name="connsiteY64" fmla="*/ 114789 h 200232"/>
              <a:gd name="connsiteX65" fmla="*/ 8974808 w 12195374"/>
              <a:gd name="connsiteY65" fmla="*/ 117025 h 200232"/>
              <a:gd name="connsiteX66" fmla="*/ 9289363 w 12195374"/>
              <a:gd name="connsiteY66" fmla="*/ 120495 h 200232"/>
              <a:gd name="connsiteX67" fmla="*/ 9658902 w 12195374"/>
              <a:gd name="connsiteY67" fmla="*/ 130520 h 200232"/>
              <a:gd name="connsiteX68" fmla="*/ 9886393 w 12195374"/>
              <a:gd name="connsiteY68" fmla="*/ 133451 h 200232"/>
              <a:gd name="connsiteX69" fmla="*/ 9981400 w 12195374"/>
              <a:gd name="connsiteY69" fmla="*/ 134530 h 200232"/>
              <a:gd name="connsiteX70" fmla="*/ 9740799 w 12195374"/>
              <a:gd name="connsiteY70" fmla="*/ 134685 h 200232"/>
              <a:gd name="connsiteX71" fmla="*/ 9580861 w 12195374"/>
              <a:gd name="connsiteY71" fmla="*/ 133836 h 200232"/>
              <a:gd name="connsiteX72" fmla="*/ 9581477 w 12195374"/>
              <a:gd name="connsiteY72" fmla="*/ 133374 h 200232"/>
              <a:gd name="connsiteX73" fmla="*/ 9581477 w 12195374"/>
              <a:gd name="connsiteY73" fmla="*/ 133374 h 200232"/>
              <a:gd name="connsiteX74" fmla="*/ 9581477 w 12195374"/>
              <a:gd name="connsiteY74" fmla="*/ 133374 h 200232"/>
              <a:gd name="connsiteX75" fmla="*/ 9576157 w 12195374"/>
              <a:gd name="connsiteY75" fmla="*/ 133374 h 200232"/>
              <a:gd name="connsiteX76" fmla="*/ 9578315 w 12195374"/>
              <a:gd name="connsiteY76" fmla="*/ 133605 h 200232"/>
              <a:gd name="connsiteX77" fmla="*/ 9396940 w 12195374"/>
              <a:gd name="connsiteY77" fmla="*/ 133528 h 200232"/>
              <a:gd name="connsiteX78" fmla="*/ 9397788 w 12195374"/>
              <a:gd name="connsiteY78" fmla="*/ 133374 h 200232"/>
              <a:gd name="connsiteX79" fmla="*/ 9395012 w 12195374"/>
              <a:gd name="connsiteY79" fmla="*/ 133374 h 200232"/>
              <a:gd name="connsiteX80" fmla="*/ 9395552 w 12195374"/>
              <a:gd name="connsiteY80" fmla="*/ 133836 h 200232"/>
              <a:gd name="connsiteX81" fmla="*/ 9068889 w 12195374"/>
              <a:gd name="connsiteY81" fmla="*/ 130058 h 200232"/>
              <a:gd name="connsiteX82" fmla="*/ 8748011 w 12195374"/>
              <a:gd name="connsiteY82" fmla="*/ 126587 h 200232"/>
              <a:gd name="connsiteX83" fmla="*/ 8490983 w 12195374"/>
              <a:gd name="connsiteY83" fmla="*/ 124660 h 200232"/>
              <a:gd name="connsiteX84" fmla="*/ 8038854 w 12195374"/>
              <a:gd name="connsiteY84" fmla="*/ 127050 h 200232"/>
              <a:gd name="connsiteX85" fmla="*/ 8004461 w 12195374"/>
              <a:gd name="connsiteY85" fmla="*/ 126819 h 200232"/>
              <a:gd name="connsiteX86" fmla="*/ 7781365 w 12195374"/>
              <a:gd name="connsiteY86" fmla="*/ 131060 h 200232"/>
              <a:gd name="connsiteX87" fmla="*/ 7782753 w 12195374"/>
              <a:gd name="connsiteY87" fmla="*/ 130752 h 200232"/>
              <a:gd name="connsiteX88" fmla="*/ 7781519 w 12195374"/>
              <a:gd name="connsiteY88" fmla="*/ 130983 h 200232"/>
              <a:gd name="connsiteX89" fmla="*/ 7859869 w 12195374"/>
              <a:gd name="connsiteY89" fmla="*/ 124197 h 200232"/>
              <a:gd name="connsiteX90" fmla="*/ 7859869 w 12195374"/>
              <a:gd name="connsiteY90" fmla="*/ 123349 h 200232"/>
              <a:gd name="connsiteX91" fmla="*/ 7766790 w 12195374"/>
              <a:gd name="connsiteY91" fmla="*/ 126202 h 200232"/>
              <a:gd name="connsiteX92" fmla="*/ 7767870 w 12195374"/>
              <a:gd name="connsiteY92" fmla="*/ 128592 h 200232"/>
              <a:gd name="connsiteX93" fmla="*/ 7783062 w 12195374"/>
              <a:gd name="connsiteY93" fmla="*/ 130675 h 200232"/>
              <a:gd name="connsiteX94" fmla="*/ 7739260 w 12195374"/>
              <a:gd name="connsiteY94" fmla="*/ 132911 h 200232"/>
              <a:gd name="connsiteX95" fmla="*/ 7596596 w 12195374"/>
              <a:gd name="connsiteY95" fmla="*/ 134068 h 200232"/>
              <a:gd name="connsiteX96" fmla="*/ 7278647 w 12195374"/>
              <a:gd name="connsiteY96" fmla="*/ 139774 h 200232"/>
              <a:gd name="connsiteX97" fmla="*/ 7102592 w 12195374"/>
              <a:gd name="connsiteY97" fmla="*/ 141471 h 200232"/>
              <a:gd name="connsiteX98" fmla="*/ 7102438 w 12195374"/>
              <a:gd name="connsiteY98" fmla="*/ 141471 h 200232"/>
              <a:gd name="connsiteX99" fmla="*/ 7061567 w 12195374"/>
              <a:gd name="connsiteY99" fmla="*/ 137384 h 200232"/>
              <a:gd name="connsiteX100" fmla="*/ 6935559 w 12195374"/>
              <a:gd name="connsiteY100" fmla="*/ 138463 h 200232"/>
              <a:gd name="connsiteX101" fmla="*/ 6822739 w 12195374"/>
              <a:gd name="connsiteY101" fmla="*/ 143784 h 200232"/>
              <a:gd name="connsiteX102" fmla="*/ 6795286 w 12195374"/>
              <a:gd name="connsiteY102" fmla="*/ 145789 h 200232"/>
              <a:gd name="connsiteX103" fmla="*/ 6514508 w 12195374"/>
              <a:gd name="connsiteY103" fmla="*/ 144093 h 200232"/>
              <a:gd name="connsiteX104" fmla="*/ 6394207 w 12195374"/>
              <a:gd name="connsiteY104" fmla="*/ 143861 h 200232"/>
              <a:gd name="connsiteX105" fmla="*/ 6065539 w 12195374"/>
              <a:gd name="connsiteY105" fmla="*/ 142859 h 200232"/>
              <a:gd name="connsiteX106" fmla="*/ 6065617 w 12195374"/>
              <a:gd name="connsiteY106" fmla="*/ 139620 h 200232"/>
              <a:gd name="connsiteX107" fmla="*/ 6670590 w 12195374"/>
              <a:gd name="connsiteY107" fmla="*/ 139620 h 200232"/>
              <a:gd name="connsiteX108" fmla="*/ 6458984 w 12195374"/>
              <a:gd name="connsiteY108" fmla="*/ 138078 h 200232"/>
              <a:gd name="connsiteX109" fmla="*/ 5839899 w 12195374"/>
              <a:gd name="connsiteY109" fmla="*/ 139620 h 200232"/>
              <a:gd name="connsiteX110" fmla="*/ 5704252 w 12195374"/>
              <a:gd name="connsiteY110" fmla="*/ 139157 h 200232"/>
              <a:gd name="connsiteX111" fmla="*/ 5617112 w 12195374"/>
              <a:gd name="connsiteY111" fmla="*/ 141625 h 200232"/>
              <a:gd name="connsiteX112" fmla="*/ 5433499 w 12195374"/>
              <a:gd name="connsiteY112" fmla="*/ 143244 h 200232"/>
              <a:gd name="connsiteX113" fmla="*/ 5003039 w 12195374"/>
              <a:gd name="connsiteY113" fmla="*/ 145095 h 200232"/>
              <a:gd name="connsiteX114" fmla="*/ 4848885 w 12195374"/>
              <a:gd name="connsiteY114" fmla="*/ 144633 h 200232"/>
              <a:gd name="connsiteX115" fmla="*/ 4717248 w 12195374"/>
              <a:gd name="connsiteY115" fmla="*/ 145635 h 200232"/>
              <a:gd name="connsiteX116" fmla="*/ 4516593 w 12195374"/>
              <a:gd name="connsiteY116" fmla="*/ 143630 h 200232"/>
              <a:gd name="connsiteX117" fmla="*/ 4022820 w 12195374"/>
              <a:gd name="connsiteY117" fmla="*/ 144247 h 200232"/>
              <a:gd name="connsiteX118" fmla="*/ 3948866 w 12195374"/>
              <a:gd name="connsiteY118" fmla="*/ 138463 h 200232"/>
              <a:gd name="connsiteX119" fmla="*/ 3842138 w 12195374"/>
              <a:gd name="connsiteY119" fmla="*/ 142319 h 200232"/>
              <a:gd name="connsiteX120" fmla="*/ 3750910 w 12195374"/>
              <a:gd name="connsiteY120" fmla="*/ 140623 h 200232"/>
              <a:gd name="connsiteX121" fmla="*/ 3390163 w 12195374"/>
              <a:gd name="connsiteY121" fmla="*/ 143553 h 200232"/>
              <a:gd name="connsiteX122" fmla="*/ 3271404 w 12195374"/>
              <a:gd name="connsiteY122" fmla="*/ 143630 h 200232"/>
              <a:gd name="connsiteX123" fmla="*/ 3271790 w 12195374"/>
              <a:gd name="connsiteY123" fmla="*/ 147023 h 200232"/>
              <a:gd name="connsiteX124" fmla="*/ 3681506 w 12195374"/>
              <a:gd name="connsiteY124" fmla="*/ 142936 h 200232"/>
              <a:gd name="connsiteX125" fmla="*/ 3586191 w 12195374"/>
              <a:gd name="connsiteY125" fmla="*/ 147409 h 200232"/>
              <a:gd name="connsiteX126" fmla="*/ 2824904 w 12195374"/>
              <a:gd name="connsiteY126" fmla="*/ 163526 h 200232"/>
              <a:gd name="connsiteX127" fmla="*/ 2549832 w 12195374"/>
              <a:gd name="connsiteY127" fmla="*/ 167382 h 200232"/>
              <a:gd name="connsiteX128" fmla="*/ 2119989 w 12195374"/>
              <a:gd name="connsiteY128" fmla="*/ 170389 h 200232"/>
              <a:gd name="connsiteX129" fmla="*/ 1672872 w 12195374"/>
              <a:gd name="connsiteY129" fmla="*/ 170466 h 200232"/>
              <a:gd name="connsiteX130" fmla="*/ 1572236 w 12195374"/>
              <a:gd name="connsiteY130" fmla="*/ 170312 h 200232"/>
              <a:gd name="connsiteX131" fmla="*/ 2416114 w 12195374"/>
              <a:gd name="connsiteY131" fmla="*/ 172086 h 200232"/>
              <a:gd name="connsiteX132" fmla="*/ 2367068 w 12195374"/>
              <a:gd name="connsiteY132" fmla="*/ 174014 h 200232"/>
              <a:gd name="connsiteX133" fmla="*/ 2448117 w 12195374"/>
              <a:gd name="connsiteY133" fmla="*/ 174939 h 200232"/>
              <a:gd name="connsiteX134" fmla="*/ 2782182 w 12195374"/>
              <a:gd name="connsiteY134" fmla="*/ 170466 h 200232"/>
              <a:gd name="connsiteX135" fmla="*/ 3457870 w 12195374"/>
              <a:gd name="connsiteY135" fmla="*/ 159207 h 200232"/>
              <a:gd name="connsiteX136" fmla="*/ 3646650 w 12195374"/>
              <a:gd name="connsiteY136" fmla="*/ 155969 h 200232"/>
              <a:gd name="connsiteX137" fmla="*/ 3834118 w 12195374"/>
              <a:gd name="connsiteY137" fmla="*/ 150648 h 200232"/>
              <a:gd name="connsiteX138" fmla="*/ 3970690 w 12195374"/>
              <a:gd name="connsiteY138" fmla="*/ 153269 h 200232"/>
              <a:gd name="connsiteX139" fmla="*/ 4158930 w 12195374"/>
              <a:gd name="connsiteY139" fmla="*/ 150570 h 200232"/>
              <a:gd name="connsiteX140" fmla="*/ 4409941 w 12195374"/>
              <a:gd name="connsiteY140" fmla="*/ 149645 h 200232"/>
              <a:gd name="connsiteX141" fmla="*/ 4781254 w 12195374"/>
              <a:gd name="connsiteY141" fmla="*/ 154889 h 200232"/>
              <a:gd name="connsiteX142" fmla="*/ 5304253 w 12195374"/>
              <a:gd name="connsiteY142" fmla="*/ 158128 h 200232"/>
              <a:gd name="connsiteX143" fmla="*/ 5257521 w 12195374"/>
              <a:gd name="connsiteY143" fmla="*/ 155969 h 200232"/>
              <a:gd name="connsiteX144" fmla="*/ 5259140 w 12195374"/>
              <a:gd name="connsiteY144" fmla="*/ 154041 h 200232"/>
              <a:gd name="connsiteX145" fmla="*/ 5482082 w 12195374"/>
              <a:gd name="connsiteY145" fmla="*/ 154041 h 200232"/>
              <a:gd name="connsiteX146" fmla="*/ 5480848 w 12195374"/>
              <a:gd name="connsiteY146" fmla="*/ 154272 h 200232"/>
              <a:gd name="connsiteX147" fmla="*/ 5486092 w 12195374"/>
              <a:gd name="connsiteY147" fmla="*/ 154349 h 200232"/>
              <a:gd name="connsiteX148" fmla="*/ 5482776 w 12195374"/>
              <a:gd name="connsiteY148" fmla="*/ 154041 h 200232"/>
              <a:gd name="connsiteX149" fmla="*/ 5516630 w 12195374"/>
              <a:gd name="connsiteY149" fmla="*/ 150339 h 200232"/>
              <a:gd name="connsiteX150" fmla="*/ 5662456 w 12195374"/>
              <a:gd name="connsiteY150" fmla="*/ 148951 h 200232"/>
              <a:gd name="connsiteX151" fmla="*/ 5856710 w 12195374"/>
              <a:gd name="connsiteY151" fmla="*/ 147486 h 200232"/>
              <a:gd name="connsiteX152" fmla="*/ 6229102 w 12195374"/>
              <a:gd name="connsiteY152" fmla="*/ 150262 h 200232"/>
              <a:gd name="connsiteX153" fmla="*/ 6571882 w 12195374"/>
              <a:gd name="connsiteY153" fmla="*/ 153655 h 200232"/>
              <a:gd name="connsiteX154" fmla="*/ 6995016 w 12195374"/>
              <a:gd name="connsiteY154" fmla="*/ 150570 h 200232"/>
              <a:gd name="connsiteX155" fmla="*/ 7252582 w 12195374"/>
              <a:gd name="connsiteY155" fmla="*/ 149028 h 200232"/>
              <a:gd name="connsiteX156" fmla="*/ 7503671 w 12195374"/>
              <a:gd name="connsiteY156" fmla="*/ 143707 h 200232"/>
              <a:gd name="connsiteX157" fmla="*/ 7954953 w 12195374"/>
              <a:gd name="connsiteY157" fmla="*/ 137152 h 200232"/>
              <a:gd name="connsiteX158" fmla="*/ 8088517 w 12195374"/>
              <a:gd name="connsiteY158" fmla="*/ 136998 h 200232"/>
              <a:gd name="connsiteX159" fmla="*/ 8059753 w 12195374"/>
              <a:gd name="connsiteY159" fmla="*/ 143707 h 200232"/>
              <a:gd name="connsiteX160" fmla="*/ 8236271 w 12195374"/>
              <a:gd name="connsiteY160" fmla="*/ 143630 h 200232"/>
              <a:gd name="connsiteX161" fmla="*/ 8355260 w 12195374"/>
              <a:gd name="connsiteY161" fmla="*/ 142396 h 200232"/>
              <a:gd name="connsiteX162" fmla="*/ 8462914 w 12195374"/>
              <a:gd name="connsiteY162" fmla="*/ 140700 h 200232"/>
              <a:gd name="connsiteX163" fmla="*/ 8502628 w 12195374"/>
              <a:gd name="connsiteY163" fmla="*/ 141471 h 200232"/>
              <a:gd name="connsiteX164" fmla="*/ 8805307 w 12195374"/>
              <a:gd name="connsiteY164" fmla="*/ 140160 h 200232"/>
              <a:gd name="connsiteX165" fmla="*/ 8878799 w 12195374"/>
              <a:gd name="connsiteY165" fmla="*/ 142242 h 200232"/>
              <a:gd name="connsiteX166" fmla="*/ 9169602 w 12195374"/>
              <a:gd name="connsiteY166" fmla="*/ 144016 h 200232"/>
              <a:gd name="connsiteX167" fmla="*/ 9227054 w 12195374"/>
              <a:gd name="connsiteY167" fmla="*/ 148026 h 200232"/>
              <a:gd name="connsiteX168" fmla="*/ 9221193 w 12195374"/>
              <a:gd name="connsiteY168" fmla="*/ 148026 h 200232"/>
              <a:gd name="connsiteX169" fmla="*/ 9229136 w 12195374"/>
              <a:gd name="connsiteY169" fmla="*/ 148180 h 200232"/>
              <a:gd name="connsiteX170" fmla="*/ 9229830 w 12195374"/>
              <a:gd name="connsiteY170" fmla="*/ 148257 h 200232"/>
              <a:gd name="connsiteX171" fmla="*/ 9229598 w 12195374"/>
              <a:gd name="connsiteY171" fmla="*/ 148180 h 200232"/>
              <a:gd name="connsiteX172" fmla="*/ 9229598 w 12195374"/>
              <a:gd name="connsiteY172" fmla="*/ 148180 h 200232"/>
              <a:gd name="connsiteX173" fmla="*/ 9228827 w 12195374"/>
              <a:gd name="connsiteY173" fmla="*/ 148026 h 200232"/>
              <a:gd name="connsiteX174" fmla="*/ 9274480 w 12195374"/>
              <a:gd name="connsiteY174" fmla="*/ 147640 h 200232"/>
              <a:gd name="connsiteX175" fmla="*/ 9421848 w 12195374"/>
              <a:gd name="connsiteY175" fmla="*/ 152113 h 200232"/>
              <a:gd name="connsiteX176" fmla="*/ 9713037 w 12195374"/>
              <a:gd name="connsiteY176" fmla="*/ 158590 h 200232"/>
              <a:gd name="connsiteX177" fmla="*/ 9917779 w 12195374"/>
              <a:gd name="connsiteY177" fmla="*/ 165685 h 200232"/>
              <a:gd name="connsiteX178" fmla="*/ 10139025 w 12195374"/>
              <a:gd name="connsiteY178" fmla="*/ 168461 h 200232"/>
              <a:gd name="connsiteX179" fmla="*/ 10275751 w 12195374"/>
              <a:gd name="connsiteY179" fmla="*/ 170081 h 200232"/>
              <a:gd name="connsiteX180" fmla="*/ 10411629 w 12195374"/>
              <a:gd name="connsiteY180" fmla="*/ 173088 h 200232"/>
              <a:gd name="connsiteX181" fmla="*/ 10599251 w 12195374"/>
              <a:gd name="connsiteY181" fmla="*/ 178872 h 200232"/>
              <a:gd name="connsiteX182" fmla="*/ 10844016 w 12195374"/>
              <a:gd name="connsiteY182" fmla="*/ 181725 h 200232"/>
              <a:gd name="connsiteX183" fmla="*/ 11243476 w 12195374"/>
              <a:gd name="connsiteY183" fmla="*/ 185658 h 200232"/>
              <a:gd name="connsiteX184" fmla="*/ 11563893 w 12195374"/>
              <a:gd name="connsiteY184" fmla="*/ 186429 h 200232"/>
              <a:gd name="connsiteX185" fmla="*/ 11676789 w 12195374"/>
              <a:gd name="connsiteY185" fmla="*/ 190594 h 200232"/>
              <a:gd name="connsiteX186" fmla="*/ 11919781 w 12195374"/>
              <a:gd name="connsiteY186" fmla="*/ 200233 h 200232"/>
              <a:gd name="connsiteX187" fmla="*/ 11776038 w 12195374"/>
              <a:gd name="connsiteY187" fmla="*/ 186661 h 200232"/>
              <a:gd name="connsiteX188" fmla="*/ 11830481 w 12195374"/>
              <a:gd name="connsiteY188" fmla="*/ 178409 h 200232"/>
              <a:gd name="connsiteX189" fmla="*/ 11705014 w 12195374"/>
              <a:gd name="connsiteY189" fmla="*/ 165300 h 200232"/>
              <a:gd name="connsiteX190" fmla="*/ 11838656 w 12195374"/>
              <a:gd name="connsiteY190" fmla="*/ 154503 h 200232"/>
              <a:gd name="connsiteX191" fmla="*/ 11855005 w 12195374"/>
              <a:gd name="connsiteY191" fmla="*/ 153809 h 200232"/>
              <a:gd name="connsiteX192" fmla="*/ 11994275 w 12195374"/>
              <a:gd name="connsiteY192" fmla="*/ 152498 h 200232"/>
              <a:gd name="connsiteX193" fmla="*/ 12118740 w 12195374"/>
              <a:gd name="connsiteY193" fmla="*/ 160827 h 200232"/>
              <a:gd name="connsiteX194" fmla="*/ 12160074 w 12195374"/>
              <a:gd name="connsiteY194" fmla="*/ 160904 h 200232"/>
              <a:gd name="connsiteX195" fmla="*/ 11813978 w 12195374"/>
              <a:gd name="connsiteY195" fmla="*/ 128361 h 200232"/>
              <a:gd name="connsiteX196" fmla="*/ 11880761 w 12195374"/>
              <a:gd name="connsiteY196" fmla="*/ 116639 h 200232"/>
              <a:gd name="connsiteX197" fmla="*/ 12057356 w 12195374"/>
              <a:gd name="connsiteY197" fmla="*/ 117950 h 200232"/>
              <a:gd name="connsiteX198" fmla="*/ 12102083 w 12195374"/>
              <a:gd name="connsiteY198" fmla="*/ 119647 h 200232"/>
              <a:gd name="connsiteX199" fmla="*/ 12190612 w 12195374"/>
              <a:gd name="connsiteY199" fmla="*/ 116794 h 200232"/>
              <a:gd name="connsiteX200" fmla="*/ 12163004 w 12195374"/>
              <a:gd name="connsiteY200" fmla="*/ 111781 h 200232"/>
              <a:gd name="connsiteX201" fmla="*/ 12074630 w 12195374"/>
              <a:gd name="connsiteY201" fmla="*/ 104918 h 200232"/>
              <a:gd name="connsiteX202" fmla="*/ 11836728 w 12195374"/>
              <a:gd name="connsiteY202" fmla="*/ 89495 h 200232"/>
              <a:gd name="connsiteX203" fmla="*/ 11721208 w 12195374"/>
              <a:gd name="connsiteY203" fmla="*/ 84636 h 200232"/>
              <a:gd name="connsiteX204" fmla="*/ 11721440 w 12195374"/>
              <a:gd name="connsiteY204" fmla="*/ 80164 h 200232"/>
              <a:gd name="connsiteX205" fmla="*/ 11798632 w 12195374"/>
              <a:gd name="connsiteY205" fmla="*/ 77773 h 200232"/>
              <a:gd name="connsiteX206" fmla="*/ 12110412 w 12195374"/>
              <a:gd name="connsiteY206" fmla="*/ 76077 h 200232"/>
              <a:gd name="connsiteX207" fmla="*/ 12155293 w 12195374"/>
              <a:gd name="connsiteY207" fmla="*/ 78004 h 200232"/>
              <a:gd name="connsiteX208" fmla="*/ 12191229 w 12195374"/>
              <a:gd name="connsiteY208" fmla="*/ 80472 h 200232"/>
              <a:gd name="connsiteX209" fmla="*/ 12167554 w 12195374"/>
              <a:gd name="connsiteY209" fmla="*/ 65897 h 200232"/>
              <a:gd name="connsiteX210" fmla="*/ 12027126 w 12195374"/>
              <a:gd name="connsiteY210" fmla="*/ 58340 h 200232"/>
              <a:gd name="connsiteX211" fmla="*/ 11771488 w 12195374"/>
              <a:gd name="connsiteY211" fmla="*/ 48932 h 200232"/>
              <a:gd name="connsiteX212" fmla="*/ 11652576 w 12195374"/>
              <a:gd name="connsiteY212" fmla="*/ 43457 h 200232"/>
              <a:gd name="connsiteX213" fmla="*/ 11429711 w 12195374"/>
              <a:gd name="connsiteY213" fmla="*/ 42917 h 200232"/>
              <a:gd name="connsiteX214" fmla="*/ 11247949 w 12195374"/>
              <a:gd name="connsiteY214" fmla="*/ 40295 h 200232"/>
              <a:gd name="connsiteX215" fmla="*/ 11154562 w 12195374"/>
              <a:gd name="connsiteY215" fmla="*/ 36902 h 200232"/>
              <a:gd name="connsiteX216" fmla="*/ 11127186 w 12195374"/>
              <a:gd name="connsiteY216" fmla="*/ 38213 h 200232"/>
              <a:gd name="connsiteX217" fmla="*/ 11087933 w 12195374"/>
              <a:gd name="connsiteY217" fmla="*/ 39678 h 200232"/>
              <a:gd name="connsiteX218" fmla="*/ 11011897 w 12195374"/>
              <a:gd name="connsiteY218" fmla="*/ 43919 h 200232"/>
              <a:gd name="connsiteX219" fmla="*/ 10905555 w 12195374"/>
              <a:gd name="connsiteY219" fmla="*/ 47004 h 200232"/>
              <a:gd name="connsiteX220" fmla="*/ 10905555 w 12195374"/>
              <a:gd name="connsiteY220" fmla="*/ 38830 h 200232"/>
              <a:gd name="connsiteX221" fmla="*/ 10791655 w 12195374"/>
              <a:gd name="connsiteY221" fmla="*/ 39678 h 200232"/>
              <a:gd name="connsiteX222" fmla="*/ 10769600 w 12195374"/>
              <a:gd name="connsiteY222" fmla="*/ 40372 h 200232"/>
              <a:gd name="connsiteX223" fmla="*/ 10716853 w 12195374"/>
              <a:gd name="connsiteY223" fmla="*/ 38598 h 200232"/>
              <a:gd name="connsiteX224" fmla="*/ 10497536 w 12195374"/>
              <a:gd name="connsiteY224" fmla="*/ 36285 h 200232"/>
              <a:gd name="connsiteX225" fmla="*/ 10405074 w 12195374"/>
              <a:gd name="connsiteY225" fmla="*/ 33894 h 200232"/>
              <a:gd name="connsiteX226" fmla="*/ 10353406 w 12195374"/>
              <a:gd name="connsiteY226" fmla="*/ 31889 h 200232"/>
              <a:gd name="connsiteX227" fmla="*/ 10195705 w 12195374"/>
              <a:gd name="connsiteY227" fmla="*/ 26491 h 200232"/>
              <a:gd name="connsiteX228" fmla="*/ 10146119 w 12195374"/>
              <a:gd name="connsiteY228" fmla="*/ 34203 h 200232"/>
              <a:gd name="connsiteX229" fmla="*/ 10015331 w 12195374"/>
              <a:gd name="connsiteY229" fmla="*/ 26337 h 200232"/>
              <a:gd name="connsiteX230" fmla="*/ 9999137 w 12195374"/>
              <a:gd name="connsiteY230" fmla="*/ 25103 h 200232"/>
              <a:gd name="connsiteX231" fmla="*/ 9887319 w 12195374"/>
              <a:gd name="connsiteY231" fmla="*/ 24409 h 200232"/>
              <a:gd name="connsiteX232" fmla="*/ 9762777 w 12195374"/>
              <a:gd name="connsiteY232" fmla="*/ 13613 h 200232"/>
              <a:gd name="connsiteX233" fmla="*/ 9701778 w 12195374"/>
              <a:gd name="connsiteY233" fmla="*/ 17931 h 200232"/>
              <a:gd name="connsiteX234" fmla="*/ 9461948 w 12195374"/>
              <a:gd name="connsiteY234" fmla="*/ 13767 h 200232"/>
              <a:gd name="connsiteX235" fmla="*/ 9362084 w 12195374"/>
              <a:gd name="connsiteY235" fmla="*/ 13536 h 200232"/>
              <a:gd name="connsiteX236" fmla="*/ 9335016 w 12195374"/>
              <a:gd name="connsiteY236" fmla="*/ 12533 h 200232"/>
              <a:gd name="connsiteX237" fmla="*/ 9274634 w 12195374"/>
              <a:gd name="connsiteY237" fmla="*/ 10760 h 200232"/>
              <a:gd name="connsiteX238" fmla="*/ 9229136 w 12195374"/>
              <a:gd name="connsiteY238" fmla="*/ 10451 h 200232"/>
              <a:gd name="connsiteX239" fmla="*/ 9112228 w 12195374"/>
              <a:gd name="connsiteY239" fmla="*/ 4359 h 200232"/>
              <a:gd name="connsiteX240" fmla="*/ 9034804 w 12195374"/>
              <a:gd name="connsiteY240" fmla="*/ 7135 h 200232"/>
              <a:gd name="connsiteX241" fmla="*/ 8985065 w 12195374"/>
              <a:gd name="connsiteY241" fmla="*/ 9217 h 200232"/>
              <a:gd name="connsiteX242" fmla="*/ 8924606 w 12195374"/>
              <a:gd name="connsiteY242" fmla="*/ 6672 h 200232"/>
              <a:gd name="connsiteX243" fmla="*/ 8816104 w 12195374"/>
              <a:gd name="connsiteY243" fmla="*/ 7058 h 200232"/>
              <a:gd name="connsiteX244" fmla="*/ 8605501 w 12195374"/>
              <a:gd name="connsiteY244" fmla="*/ 2431 h 200232"/>
              <a:gd name="connsiteX245" fmla="*/ 8402918 w 12195374"/>
              <a:gd name="connsiteY245" fmla="*/ 5670 h 200232"/>
              <a:gd name="connsiteX246" fmla="*/ 8374539 w 12195374"/>
              <a:gd name="connsiteY246" fmla="*/ 6210 h 200232"/>
              <a:gd name="connsiteX247" fmla="*/ 8082965 w 12195374"/>
              <a:gd name="connsiteY247" fmla="*/ 11762 h 200232"/>
              <a:gd name="connsiteX248" fmla="*/ 7854317 w 12195374"/>
              <a:gd name="connsiteY248" fmla="*/ 17469 h 200232"/>
              <a:gd name="connsiteX249" fmla="*/ 7620039 w 12195374"/>
              <a:gd name="connsiteY249" fmla="*/ 20707 h 200232"/>
              <a:gd name="connsiteX250" fmla="*/ 7362626 w 12195374"/>
              <a:gd name="connsiteY250" fmla="*/ 25180 h 200232"/>
              <a:gd name="connsiteX251" fmla="*/ 7294533 w 12195374"/>
              <a:gd name="connsiteY251" fmla="*/ 25720 h 200232"/>
              <a:gd name="connsiteX252" fmla="*/ 7134672 w 12195374"/>
              <a:gd name="connsiteY252" fmla="*/ 29113 h 200232"/>
              <a:gd name="connsiteX253" fmla="*/ 6841787 w 12195374"/>
              <a:gd name="connsiteY253" fmla="*/ 30424 h 200232"/>
              <a:gd name="connsiteX254" fmla="*/ 6687864 w 12195374"/>
              <a:gd name="connsiteY254" fmla="*/ 32660 h 200232"/>
              <a:gd name="connsiteX255" fmla="*/ 6091373 w 12195374"/>
              <a:gd name="connsiteY255" fmla="*/ 29267 h 200232"/>
              <a:gd name="connsiteX256" fmla="*/ 5224669 w 12195374"/>
              <a:gd name="connsiteY256" fmla="*/ 29190 h 200232"/>
              <a:gd name="connsiteX257" fmla="*/ 4559161 w 12195374"/>
              <a:gd name="connsiteY257" fmla="*/ 24795 h 200232"/>
              <a:gd name="connsiteX258" fmla="*/ 4117364 w 12195374"/>
              <a:gd name="connsiteY258" fmla="*/ 24563 h 200232"/>
              <a:gd name="connsiteX259" fmla="*/ 3640866 w 12195374"/>
              <a:gd name="connsiteY259" fmla="*/ 29422 h 200232"/>
              <a:gd name="connsiteX260" fmla="*/ 3371655 w 12195374"/>
              <a:gd name="connsiteY260" fmla="*/ 34511 h 200232"/>
              <a:gd name="connsiteX261" fmla="*/ 2759125 w 12195374"/>
              <a:gd name="connsiteY261" fmla="*/ 45153 h 200232"/>
              <a:gd name="connsiteX262" fmla="*/ 2403621 w 12195374"/>
              <a:gd name="connsiteY262" fmla="*/ 48161 h 200232"/>
              <a:gd name="connsiteX263" fmla="*/ 1939076 w 12195374"/>
              <a:gd name="connsiteY263" fmla="*/ 51631 h 200232"/>
              <a:gd name="connsiteX264" fmla="*/ 1577326 w 12195374"/>
              <a:gd name="connsiteY264" fmla="*/ 50474 h 200232"/>
              <a:gd name="connsiteX265" fmla="*/ 1043222 w 12195374"/>
              <a:gd name="connsiteY265" fmla="*/ 50551 h 200232"/>
              <a:gd name="connsiteX266" fmla="*/ 830922 w 12195374"/>
              <a:gd name="connsiteY266" fmla="*/ 52556 h 200232"/>
              <a:gd name="connsiteX267" fmla="*/ 597416 w 12195374"/>
              <a:gd name="connsiteY267" fmla="*/ 57492 h 200232"/>
              <a:gd name="connsiteX268" fmla="*/ 437246 w 12195374"/>
              <a:gd name="connsiteY268" fmla="*/ 56026 h 200232"/>
              <a:gd name="connsiteX269" fmla="*/ 115828 w 12195374"/>
              <a:gd name="connsiteY269" fmla="*/ 52942 h 200232"/>
              <a:gd name="connsiteX270" fmla="*/ 0 w 12195374"/>
              <a:gd name="connsiteY270" fmla="*/ 60962 h 200232"/>
              <a:gd name="connsiteX271" fmla="*/ 97474 w 12195374"/>
              <a:gd name="connsiteY271" fmla="*/ 70062 h 200232"/>
              <a:gd name="connsiteX272" fmla="*/ 3736875 w 12195374"/>
              <a:gd name="connsiteY272" fmla="*/ 145095 h 200232"/>
              <a:gd name="connsiteX273" fmla="*/ 3738572 w 12195374"/>
              <a:gd name="connsiteY273" fmla="*/ 143861 h 200232"/>
              <a:gd name="connsiteX274" fmla="*/ 3776204 w 12195374"/>
              <a:gd name="connsiteY274" fmla="*/ 143861 h 200232"/>
              <a:gd name="connsiteX275" fmla="*/ 3776744 w 12195374"/>
              <a:gd name="connsiteY275" fmla="*/ 145095 h 200232"/>
              <a:gd name="connsiteX276" fmla="*/ 3736875 w 12195374"/>
              <a:gd name="connsiteY276" fmla="*/ 145095 h 200232"/>
              <a:gd name="connsiteX277" fmla="*/ 6944351 w 12195374"/>
              <a:gd name="connsiteY277" fmla="*/ 143784 h 200232"/>
              <a:gd name="connsiteX278" fmla="*/ 6944119 w 12195374"/>
              <a:gd name="connsiteY278" fmla="*/ 141779 h 200232"/>
              <a:gd name="connsiteX279" fmla="*/ 7094418 w 12195374"/>
              <a:gd name="connsiteY279" fmla="*/ 141856 h 200232"/>
              <a:gd name="connsiteX280" fmla="*/ 6944351 w 12195374"/>
              <a:gd name="connsiteY280" fmla="*/ 143784 h 200232"/>
              <a:gd name="connsiteX281" fmla="*/ 9640085 w 12195374"/>
              <a:gd name="connsiteY281" fmla="*/ 139312 h 200232"/>
              <a:gd name="connsiteX282" fmla="*/ 9614638 w 12195374"/>
              <a:gd name="connsiteY282" fmla="*/ 139003 h 200232"/>
              <a:gd name="connsiteX283" fmla="*/ 9614715 w 12195374"/>
              <a:gd name="connsiteY283" fmla="*/ 138155 h 200232"/>
              <a:gd name="connsiteX284" fmla="*/ 9640240 w 12195374"/>
              <a:gd name="connsiteY284" fmla="*/ 138155 h 200232"/>
              <a:gd name="connsiteX285" fmla="*/ 9640085 w 12195374"/>
              <a:gd name="connsiteY285" fmla="*/ 139312 h 200232"/>
              <a:gd name="connsiteX286" fmla="*/ 11631060 w 12195374"/>
              <a:gd name="connsiteY286" fmla="*/ 144093 h 200232"/>
              <a:gd name="connsiteX287" fmla="*/ 11700156 w 12195374"/>
              <a:gd name="connsiteY287" fmla="*/ 144093 h 200232"/>
              <a:gd name="connsiteX288" fmla="*/ 11699539 w 12195374"/>
              <a:gd name="connsiteY288" fmla="*/ 147794 h 200232"/>
              <a:gd name="connsiteX289" fmla="*/ 11630751 w 12195374"/>
              <a:gd name="connsiteY289" fmla="*/ 146406 h 200232"/>
              <a:gd name="connsiteX290" fmla="*/ 11631060 w 12195374"/>
              <a:gd name="connsiteY290" fmla="*/ 144093 h 200232"/>
              <a:gd name="connsiteX291" fmla="*/ 10957609 w 12195374"/>
              <a:gd name="connsiteY291" fmla="*/ 159207 h 200232"/>
              <a:gd name="connsiteX292" fmla="*/ 10929923 w 12195374"/>
              <a:gd name="connsiteY292" fmla="*/ 159207 h 200232"/>
              <a:gd name="connsiteX293" fmla="*/ 10929693 w 12195374"/>
              <a:gd name="connsiteY293" fmla="*/ 157665 h 200232"/>
              <a:gd name="connsiteX294" fmla="*/ 10958302 w 12195374"/>
              <a:gd name="connsiteY294" fmla="*/ 157280 h 200232"/>
              <a:gd name="connsiteX295" fmla="*/ 10957609 w 12195374"/>
              <a:gd name="connsiteY295" fmla="*/ 159207 h 200232"/>
              <a:gd name="connsiteX296" fmla="*/ 11402489 w 12195374"/>
              <a:gd name="connsiteY296" fmla="*/ 155660 h 200232"/>
              <a:gd name="connsiteX297" fmla="*/ 11302932 w 12195374"/>
              <a:gd name="connsiteY297" fmla="*/ 159439 h 200232"/>
              <a:gd name="connsiteX298" fmla="*/ 11402489 w 12195374"/>
              <a:gd name="connsiteY298" fmla="*/ 155660 h 200232"/>
              <a:gd name="connsiteX299" fmla="*/ 11190421 w 12195374"/>
              <a:gd name="connsiteY299" fmla="*/ 80472 h 200232"/>
              <a:gd name="connsiteX300" fmla="*/ 11054311 w 12195374"/>
              <a:gd name="connsiteY300" fmla="*/ 88030 h 200232"/>
              <a:gd name="connsiteX301" fmla="*/ 11044672 w 12195374"/>
              <a:gd name="connsiteY301" fmla="*/ 82940 h 200232"/>
              <a:gd name="connsiteX302" fmla="*/ 11066573 w 12195374"/>
              <a:gd name="connsiteY302" fmla="*/ 79007 h 200232"/>
              <a:gd name="connsiteX303" fmla="*/ 11190421 w 12195374"/>
              <a:gd name="connsiteY303" fmla="*/ 80472 h 200232"/>
              <a:gd name="connsiteX304" fmla="*/ 11042050 w 12195374"/>
              <a:gd name="connsiteY304" fmla="*/ 82940 h 200232"/>
              <a:gd name="connsiteX305" fmla="*/ 10963392 w 12195374"/>
              <a:gd name="connsiteY305" fmla="*/ 88107 h 200232"/>
              <a:gd name="connsiteX306" fmla="*/ 11042050 w 12195374"/>
              <a:gd name="connsiteY306" fmla="*/ 82940 h 200232"/>
              <a:gd name="connsiteX307" fmla="*/ 10766593 w 12195374"/>
              <a:gd name="connsiteY307" fmla="*/ 76231 h 200232"/>
              <a:gd name="connsiteX308" fmla="*/ 10877176 w 12195374"/>
              <a:gd name="connsiteY308" fmla="*/ 79470 h 200232"/>
              <a:gd name="connsiteX309" fmla="*/ 10848644 w 12195374"/>
              <a:gd name="connsiteY309" fmla="*/ 81552 h 200232"/>
              <a:gd name="connsiteX310" fmla="*/ 10815175 w 12195374"/>
              <a:gd name="connsiteY310" fmla="*/ 81706 h 200232"/>
              <a:gd name="connsiteX311" fmla="*/ 10704437 w 12195374"/>
              <a:gd name="connsiteY311" fmla="*/ 83325 h 200232"/>
              <a:gd name="connsiteX312" fmla="*/ 10682073 w 12195374"/>
              <a:gd name="connsiteY312" fmla="*/ 76154 h 200232"/>
              <a:gd name="connsiteX313" fmla="*/ 10766593 w 12195374"/>
              <a:gd name="connsiteY313" fmla="*/ 76231 h 200232"/>
              <a:gd name="connsiteX314" fmla="*/ 11291751 w 12195374"/>
              <a:gd name="connsiteY314" fmla="*/ 152344 h 200232"/>
              <a:gd name="connsiteX315" fmla="*/ 10678064 w 12195374"/>
              <a:gd name="connsiteY315" fmla="*/ 149182 h 200232"/>
              <a:gd name="connsiteX316" fmla="*/ 11291751 w 12195374"/>
              <a:gd name="connsiteY316" fmla="*/ 152344 h 200232"/>
              <a:gd name="connsiteX317" fmla="*/ 10625008 w 12195374"/>
              <a:gd name="connsiteY317" fmla="*/ 147640 h 200232"/>
              <a:gd name="connsiteX318" fmla="*/ 10625008 w 12195374"/>
              <a:gd name="connsiteY318" fmla="*/ 149105 h 200232"/>
              <a:gd name="connsiteX319" fmla="*/ 10524218 w 12195374"/>
              <a:gd name="connsiteY319" fmla="*/ 149105 h 200232"/>
              <a:gd name="connsiteX320" fmla="*/ 10524218 w 12195374"/>
              <a:gd name="connsiteY320" fmla="*/ 147640 h 200232"/>
              <a:gd name="connsiteX321" fmla="*/ 10625008 w 12195374"/>
              <a:gd name="connsiteY321" fmla="*/ 147640 h 200232"/>
              <a:gd name="connsiteX322" fmla="*/ 10465841 w 12195374"/>
              <a:gd name="connsiteY322" fmla="*/ 144633 h 200232"/>
              <a:gd name="connsiteX323" fmla="*/ 10466458 w 12195374"/>
              <a:gd name="connsiteY323" fmla="*/ 146483 h 200232"/>
              <a:gd name="connsiteX324" fmla="*/ 10324565 w 12195374"/>
              <a:gd name="connsiteY324" fmla="*/ 146483 h 200232"/>
              <a:gd name="connsiteX325" fmla="*/ 10324488 w 12195374"/>
              <a:gd name="connsiteY325" fmla="*/ 144633 h 200232"/>
              <a:gd name="connsiteX326" fmla="*/ 10465841 w 12195374"/>
              <a:gd name="connsiteY326" fmla="*/ 144633 h 200232"/>
              <a:gd name="connsiteX327" fmla="*/ 7348746 w 12195374"/>
              <a:gd name="connsiteY327" fmla="*/ 61733 h 200232"/>
              <a:gd name="connsiteX328" fmla="*/ 7348977 w 12195374"/>
              <a:gd name="connsiteY328" fmla="*/ 63430 h 200232"/>
              <a:gd name="connsiteX329" fmla="*/ 7237699 w 12195374"/>
              <a:gd name="connsiteY329" fmla="*/ 63430 h 200232"/>
              <a:gd name="connsiteX330" fmla="*/ 7236311 w 12195374"/>
              <a:gd name="connsiteY330" fmla="*/ 61733 h 200232"/>
              <a:gd name="connsiteX331" fmla="*/ 7348746 w 12195374"/>
              <a:gd name="connsiteY331" fmla="*/ 61733 h 200232"/>
              <a:gd name="connsiteX332" fmla="*/ 6553991 w 12195374"/>
              <a:gd name="connsiteY332" fmla="*/ 68519 h 200232"/>
              <a:gd name="connsiteX333" fmla="*/ 6656015 w 12195374"/>
              <a:gd name="connsiteY333" fmla="*/ 68519 h 200232"/>
              <a:gd name="connsiteX334" fmla="*/ 6656092 w 12195374"/>
              <a:gd name="connsiteY334" fmla="*/ 69753 h 200232"/>
              <a:gd name="connsiteX335" fmla="*/ 6552448 w 12195374"/>
              <a:gd name="connsiteY335" fmla="*/ 69753 h 200232"/>
              <a:gd name="connsiteX336" fmla="*/ 6553991 w 12195374"/>
              <a:gd name="connsiteY336" fmla="*/ 68519 h 200232"/>
              <a:gd name="connsiteX337" fmla="*/ 6162628 w 12195374"/>
              <a:gd name="connsiteY337" fmla="*/ 68751 h 200232"/>
              <a:gd name="connsiteX338" fmla="*/ 6162782 w 12195374"/>
              <a:gd name="connsiteY338" fmla="*/ 69753 h 200232"/>
              <a:gd name="connsiteX339" fmla="*/ 6136254 w 12195374"/>
              <a:gd name="connsiteY339" fmla="*/ 70370 h 200232"/>
              <a:gd name="connsiteX340" fmla="*/ 6135946 w 12195374"/>
              <a:gd name="connsiteY340" fmla="*/ 68751 h 200232"/>
              <a:gd name="connsiteX341" fmla="*/ 6162628 w 12195374"/>
              <a:gd name="connsiteY341" fmla="*/ 68751 h 200232"/>
              <a:gd name="connsiteX342" fmla="*/ 5317054 w 12195374"/>
              <a:gd name="connsiteY342" fmla="*/ 68288 h 200232"/>
              <a:gd name="connsiteX343" fmla="*/ 5318134 w 12195374"/>
              <a:gd name="connsiteY343" fmla="*/ 71141 h 200232"/>
              <a:gd name="connsiteX344" fmla="*/ 5209092 w 12195374"/>
              <a:gd name="connsiteY344" fmla="*/ 74611 h 200232"/>
              <a:gd name="connsiteX345" fmla="*/ 5207241 w 12195374"/>
              <a:gd name="connsiteY345" fmla="*/ 71218 h 200232"/>
              <a:gd name="connsiteX346" fmla="*/ 5317054 w 12195374"/>
              <a:gd name="connsiteY346" fmla="*/ 68288 h 200232"/>
              <a:gd name="connsiteX347" fmla="*/ 4265195 w 12195374"/>
              <a:gd name="connsiteY347" fmla="*/ 69213 h 200232"/>
              <a:gd name="connsiteX348" fmla="*/ 4262496 w 12195374"/>
              <a:gd name="connsiteY348" fmla="*/ 69445 h 200232"/>
              <a:gd name="connsiteX349" fmla="*/ 3882007 w 12195374"/>
              <a:gd name="connsiteY349" fmla="*/ 73378 h 200232"/>
              <a:gd name="connsiteX350" fmla="*/ 3881776 w 12195374"/>
              <a:gd name="connsiteY350" fmla="*/ 69213 h 200232"/>
              <a:gd name="connsiteX351" fmla="*/ 4265195 w 12195374"/>
              <a:gd name="connsiteY351" fmla="*/ 69213 h 200232"/>
              <a:gd name="connsiteX352" fmla="*/ 3757156 w 12195374"/>
              <a:gd name="connsiteY352" fmla="*/ 71912 h 200232"/>
              <a:gd name="connsiteX353" fmla="*/ 3798336 w 12195374"/>
              <a:gd name="connsiteY353" fmla="*/ 71912 h 200232"/>
              <a:gd name="connsiteX354" fmla="*/ 3798259 w 12195374"/>
              <a:gd name="connsiteY354" fmla="*/ 73069 h 200232"/>
              <a:gd name="connsiteX355" fmla="*/ 3757080 w 12195374"/>
              <a:gd name="connsiteY355" fmla="*/ 73069 h 200232"/>
              <a:gd name="connsiteX356" fmla="*/ 3757156 w 12195374"/>
              <a:gd name="connsiteY356" fmla="*/ 71912 h 200232"/>
              <a:gd name="connsiteX357" fmla="*/ 1670944 w 12195374"/>
              <a:gd name="connsiteY357" fmla="*/ 65666 h 200232"/>
              <a:gd name="connsiteX358" fmla="*/ 1670173 w 12195374"/>
              <a:gd name="connsiteY358" fmla="*/ 69213 h 200232"/>
              <a:gd name="connsiteX359" fmla="*/ 1488257 w 12195374"/>
              <a:gd name="connsiteY359" fmla="*/ 65666 h 200232"/>
              <a:gd name="connsiteX360" fmla="*/ 1670944 w 12195374"/>
              <a:gd name="connsiteY360" fmla="*/ 65666 h 200232"/>
              <a:gd name="connsiteX361" fmla="*/ 1294234 w 12195374"/>
              <a:gd name="connsiteY361" fmla="*/ 65203 h 200232"/>
              <a:gd name="connsiteX362" fmla="*/ 1443838 w 12195374"/>
              <a:gd name="connsiteY362" fmla="*/ 65203 h 200232"/>
              <a:gd name="connsiteX363" fmla="*/ 1443761 w 12195374"/>
              <a:gd name="connsiteY363" fmla="*/ 66900 h 200232"/>
              <a:gd name="connsiteX364" fmla="*/ 1292460 w 12195374"/>
              <a:gd name="connsiteY364" fmla="*/ 66900 h 200232"/>
              <a:gd name="connsiteX365" fmla="*/ 1294234 w 12195374"/>
              <a:gd name="connsiteY365" fmla="*/ 65203 h 200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</a:cxnLst>
            <a:rect l="l" t="t" r="r" b="b"/>
            <a:pathLst>
              <a:path w="12195374" h="200232">
                <a:moveTo>
                  <a:pt x="97474" y="70062"/>
                </a:moveTo>
                <a:cubicBezTo>
                  <a:pt x="293194" y="75845"/>
                  <a:pt x="488914" y="81783"/>
                  <a:pt x="685019" y="86410"/>
                </a:cubicBezTo>
                <a:cubicBezTo>
                  <a:pt x="789665" y="88878"/>
                  <a:pt x="895005" y="88955"/>
                  <a:pt x="1000037" y="89803"/>
                </a:cubicBezTo>
                <a:cubicBezTo>
                  <a:pt x="1114785" y="90806"/>
                  <a:pt x="1229534" y="91885"/>
                  <a:pt x="1344359" y="92271"/>
                </a:cubicBezTo>
                <a:cubicBezTo>
                  <a:pt x="1481779" y="92734"/>
                  <a:pt x="1618891" y="97669"/>
                  <a:pt x="1756697" y="93505"/>
                </a:cubicBezTo>
                <a:cubicBezTo>
                  <a:pt x="1845534" y="90806"/>
                  <a:pt x="1934294" y="88492"/>
                  <a:pt x="2024597" y="89186"/>
                </a:cubicBezTo>
                <a:cubicBezTo>
                  <a:pt x="2171734" y="90266"/>
                  <a:pt x="2319256" y="88107"/>
                  <a:pt x="2466547" y="86873"/>
                </a:cubicBezTo>
                <a:cubicBezTo>
                  <a:pt x="2598570" y="85716"/>
                  <a:pt x="2730669" y="84559"/>
                  <a:pt x="2862537" y="82246"/>
                </a:cubicBezTo>
                <a:cubicBezTo>
                  <a:pt x="3055326" y="78853"/>
                  <a:pt x="3247961" y="74457"/>
                  <a:pt x="3440674" y="70601"/>
                </a:cubicBezTo>
                <a:cubicBezTo>
                  <a:pt x="3462651" y="70139"/>
                  <a:pt x="3484861" y="70524"/>
                  <a:pt x="3506993" y="70524"/>
                </a:cubicBezTo>
                <a:cubicBezTo>
                  <a:pt x="3471674" y="74766"/>
                  <a:pt x="3436047" y="76077"/>
                  <a:pt x="3400265" y="76925"/>
                </a:cubicBezTo>
                <a:cubicBezTo>
                  <a:pt x="3299166" y="79315"/>
                  <a:pt x="3197990" y="81475"/>
                  <a:pt x="3096891" y="83788"/>
                </a:cubicBezTo>
                <a:cubicBezTo>
                  <a:pt x="2952068" y="87104"/>
                  <a:pt x="2807245" y="90574"/>
                  <a:pt x="2662344" y="93890"/>
                </a:cubicBezTo>
                <a:cubicBezTo>
                  <a:pt x="2601346" y="95278"/>
                  <a:pt x="2540347" y="96898"/>
                  <a:pt x="2479271" y="97746"/>
                </a:cubicBezTo>
                <a:cubicBezTo>
                  <a:pt x="2314861" y="99905"/>
                  <a:pt x="2150296" y="101525"/>
                  <a:pt x="1985885" y="103684"/>
                </a:cubicBezTo>
                <a:cubicBezTo>
                  <a:pt x="1932444" y="104378"/>
                  <a:pt x="1879080" y="107154"/>
                  <a:pt x="1825793" y="107000"/>
                </a:cubicBezTo>
                <a:cubicBezTo>
                  <a:pt x="1603699" y="106306"/>
                  <a:pt x="1381683" y="104455"/>
                  <a:pt x="1159590" y="103838"/>
                </a:cubicBezTo>
                <a:cubicBezTo>
                  <a:pt x="991246" y="103376"/>
                  <a:pt x="822902" y="104378"/>
                  <a:pt x="654558" y="104532"/>
                </a:cubicBezTo>
                <a:cubicBezTo>
                  <a:pt x="561094" y="104609"/>
                  <a:pt x="467167" y="105920"/>
                  <a:pt x="374243" y="103915"/>
                </a:cubicBezTo>
                <a:cubicBezTo>
                  <a:pt x="282089" y="101910"/>
                  <a:pt x="191016" y="105689"/>
                  <a:pt x="99402" y="104764"/>
                </a:cubicBezTo>
                <a:cubicBezTo>
                  <a:pt x="89069" y="104687"/>
                  <a:pt x="78581" y="106460"/>
                  <a:pt x="68170" y="107386"/>
                </a:cubicBezTo>
                <a:cubicBezTo>
                  <a:pt x="136649" y="111550"/>
                  <a:pt x="204588" y="113169"/>
                  <a:pt x="272527" y="114634"/>
                </a:cubicBezTo>
                <a:cubicBezTo>
                  <a:pt x="341083" y="116177"/>
                  <a:pt x="409716" y="117565"/>
                  <a:pt x="478349" y="119030"/>
                </a:cubicBezTo>
                <a:cubicBezTo>
                  <a:pt x="545131" y="120418"/>
                  <a:pt x="612145" y="121266"/>
                  <a:pt x="678696" y="123349"/>
                </a:cubicBezTo>
                <a:cubicBezTo>
                  <a:pt x="746095" y="125431"/>
                  <a:pt x="813725" y="123426"/>
                  <a:pt x="881664" y="128130"/>
                </a:cubicBezTo>
                <a:cubicBezTo>
                  <a:pt x="947213" y="132680"/>
                  <a:pt x="1017388" y="131446"/>
                  <a:pt x="1085096" y="133913"/>
                </a:cubicBezTo>
                <a:cubicBezTo>
                  <a:pt x="1150181" y="136304"/>
                  <a:pt x="1216655" y="132680"/>
                  <a:pt x="1281201" y="137075"/>
                </a:cubicBezTo>
                <a:cubicBezTo>
                  <a:pt x="1206862" y="139080"/>
                  <a:pt x="1132908" y="139928"/>
                  <a:pt x="1058799" y="140237"/>
                </a:cubicBezTo>
                <a:cubicBezTo>
                  <a:pt x="982378" y="140545"/>
                  <a:pt x="905956" y="140314"/>
                  <a:pt x="829611" y="140314"/>
                </a:cubicBezTo>
                <a:cubicBezTo>
                  <a:pt x="792519" y="140314"/>
                  <a:pt x="755272" y="139774"/>
                  <a:pt x="718487" y="140700"/>
                </a:cubicBezTo>
                <a:cubicBezTo>
                  <a:pt x="665740" y="142011"/>
                  <a:pt x="613379" y="144555"/>
                  <a:pt x="560786" y="146406"/>
                </a:cubicBezTo>
                <a:cubicBezTo>
                  <a:pt x="543049" y="147023"/>
                  <a:pt x="525004" y="146946"/>
                  <a:pt x="507036" y="147177"/>
                </a:cubicBezTo>
                <a:cubicBezTo>
                  <a:pt x="506728" y="148334"/>
                  <a:pt x="506419" y="149414"/>
                  <a:pt x="506111" y="150570"/>
                </a:cubicBezTo>
                <a:cubicBezTo>
                  <a:pt x="519760" y="151264"/>
                  <a:pt x="533410" y="152421"/>
                  <a:pt x="547059" y="152498"/>
                </a:cubicBezTo>
                <a:cubicBezTo>
                  <a:pt x="600038" y="152807"/>
                  <a:pt x="653016" y="152344"/>
                  <a:pt x="705918" y="152961"/>
                </a:cubicBezTo>
                <a:cubicBezTo>
                  <a:pt x="841024" y="154503"/>
                  <a:pt x="975900" y="151342"/>
                  <a:pt x="1111624" y="155352"/>
                </a:cubicBezTo>
                <a:cubicBezTo>
                  <a:pt x="1253979" y="159593"/>
                  <a:pt x="1398340" y="159130"/>
                  <a:pt x="1541852" y="159285"/>
                </a:cubicBezTo>
                <a:cubicBezTo>
                  <a:pt x="1700557" y="159439"/>
                  <a:pt x="1858952" y="160827"/>
                  <a:pt x="2018119" y="157125"/>
                </a:cubicBezTo>
                <a:cubicBezTo>
                  <a:pt x="2191398" y="153115"/>
                  <a:pt x="2366220" y="154735"/>
                  <a:pt x="2540347" y="153501"/>
                </a:cubicBezTo>
                <a:cubicBezTo>
                  <a:pt x="2676148" y="152498"/>
                  <a:pt x="2811949" y="150956"/>
                  <a:pt x="2947672" y="149568"/>
                </a:cubicBezTo>
                <a:lnTo>
                  <a:pt x="2945590" y="150108"/>
                </a:lnTo>
                <a:cubicBezTo>
                  <a:pt x="2993788" y="145095"/>
                  <a:pt x="3043219" y="146021"/>
                  <a:pt x="3092882" y="147332"/>
                </a:cubicBezTo>
                <a:cubicBezTo>
                  <a:pt x="3129203" y="148334"/>
                  <a:pt x="3165679" y="149028"/>
                  <a:pt x="3202000" y="149876"/>
                </a:cubicBezTo>
                <a:cubicBezTo>
                  <a:pt x="3202154" y="149105"/>
                  <a:pt x="3202386" y="148334"/>
                  <a:pt x="3202540" y="147563"/>
                </a:cubicBezTo>
                <a:cubicBezTo>
                  <a:pt x="3180331" y="147100"/>
                  <a:pt x="3158199" y="146715"/>
                  <a:pt x="3135989" y="146252"/>
                </a:cubicBezTo>
                <a:cubicBezTo>
                  <a:pt x="3144703" y="144093"/>
                  <a:pt x="3153572" y="143553"/>
                  <a:pt x="3162517" y="143399"/>
                </a:cubicBezTo>
                <a:cubicBezTo>
                  <a:pt x="3273178" y="141085"/>
                  <a:pt x="3383839" y="138540"/>
                  <a:pt x="3494655" y="136690"/>
                </a:cubicBezTo>
                <a:cubicBezTo>
                  <a:pt x="3553494" y="135687"/>
                  <a:pt x="3612719" y="136458"/>
                  <a:pt x="3671635" y="135687"/>
                </a:cubicBezTo>
                <a:cubicBezTo>
                  <a:pt x="3811138" y="133991"/>
                  <a:pt x="3950486" y="130675"/>
                  <a:pt x="4089988" y="130212"/>
                </a:cubicBezTo>
                <a:cubicBezTo>
                  <a:pt x="4265889" y="129672"/>
                  <a:pt x="4441945" y="131600"/>
                  <a:pt x="4617923" y="132063"/>
                </a:cubicBezTo>
                <a:cubicBezTo>
                  <a:pt x="4705757" y="132294"/>
                  <a:pt x="4793978" y="129903"/>
                  <a:pt x="4881273" y="131677"/>
                </a:cubicBezTo>
                <a:cubicBezTo>
                  <a:pt x="5057483" y="135302"/>
                  <a:pt x="5233075" y="130983"/>
                  <a:pt x="5408976" y="130752"/>
                </a:cubicBezTo>
                <a:cubicBezTo>
                  <a:pt x="5682660" y="130366"/>
                  <a:pt x="5956344" y="130906"/>
                  <a:pt x="6230027" y="131446"/>
                </a:cubicBezTo>
                <a:cubicBezTo>
                  <a:pt x="6346395" y="131677"/>
                  <a:pt x="6462763" y="133296"/>
                  <a:pt x="6579131" y="133374"/>
                </a:cubicBezTo>
                <a:cubicBezTo>
                  <a:pt x="6728349" y="133451"/>
                  <a:pt x="6877723" y="133682"/>
                  <a:pt x="7026787" y="131986"/>
                </a:cubicBezTo>
                <a:cubicBezTo>
                  <a:pt x="7198447" y="130058"/>
                  <a:pt x="7369798" y="126279"/>
                  <a:pt x="7541303" y="123194"/>
                </a:cubicBezTo>
                <a:cubicBezTo>
                  <a:pt x="7709262" y="120187"/>
                  <a:pt x="7877142" y="116562"/>
                  <a:pt x="8045255" y="114095"/>
                </a:cubicBezTo>
                <a:cubicBezTo>
                  <a:pt x="8165478" y="112321"/>
                  <a:pt x="8286010" y="111164"/>
                  <a:pt x="8406388" y="111164"/>
                </a:cubicBezTo>
                <a:cubicBezTo>
                  <a:pt x="8518591" y="111087"/>
                  <a:pt x="8630872" y="112861"/>
                  <a:pt x="8743075" y="113786"/>
                </a:cubicBezTo>
                <a:cubicBezTo>
                  <a:pt x="8742998" y="115097"/>
                  <a:pt x="8742921" y="116485"/>
                  <a:pt x="8742921" y="117796"/>
                </a:cubicBezTo>
                <a:cubicBezTo>
                  <a:pt x="8564321" y="117796"/>
                  <a:pt x="8385721" y="117796"/>
                  <a:pt x="8207121" y="117796"/>
                </a:cubicBezTo>
                <a:cubicBezTo>
                  <a:pt x="8212828" y="120033"/>
                  <a:pt x="8218457" y="120572"/>
                  <a:pt x="8224009" y="120572"/>
                </a:cubicBezTo>
                <a:cubicBezTo>
                  <a:pt x="8390425" y="120341"/>
                  <a:pt x="8556918" y="119955"/>
                  <a:pt x="8723333" y="119878"/>
                </a:cubicBezTo>
                <a:cubicBezTo>
                  <a:pt x="8745697" y="119878"/>
                  <a:pt x="8768138" y="121421"/>
                  <a:pt x="8790502" y="122269"/>
                </a:cubicBezTo>
                <a:cubicBezTo>
                  <a:pt x="8796054" y="114557"/>
                  <a:pt x="8814947" y="114249"/>
                  <a:pt x="8837928" y="114789"/>
                </a:cubicBezTo>
                <a:cubicBezTo>
                  <a:pt x="8883503" y="115868"/>
                  <a:pt x="8929156" y="116485"/>
                  <a:pt x="8974808" y="117025"/>
                </a:cubicBezTo>
                <a:cubicBezTo>
                  <a:pt x="9079686" y="118182"/>
                  <a:pt x="9184717" y="118336"/>
                  <a:pt x="9289363" y="120495"/>
                </a:cubicBezTo>
                <a:cubicBezTo>
                  <a:pt x="9412748" y="123040"/>
                  <a:pt x="9535594" y="127590"/>
                  <a:pt x="9658902" y="130520"/>
                </a:cubicBezTo>
                <a:cubicBezTo>
                  <a:pt x="9734475" y="132294"/>
                  <a:pt x="9810588" y="132525"/>
                  <a:pt x="9886393" y="133451"/>
                </a:cubicBezTo>
                <a:cubicBezTo>
                  <a:pt x="9918088" y="133836"/>
                  <a:pt x="9949705" y="134222"/>
                  <a:pt x="9981400" y="134530"/>
                </a:cubicBezTo>
                <a:cubicBezTo>
                  <a:pt x="9900814" y="136458"/>
                  <a:pt x="9820845" y="135379"/>
                  <a:pt x="9740799" y="134685"/>
                </a:cubicBezTo>
                <a:cubicBezTo>
                  <a:pt x="9687512" y="134145"/>
                  <a:pt x="9634148" y="134145"/>
                  <a:pt x="9580861" y="133836"/>
                </a:cubicBezTo>
                <a:lnTo>
                  <a:pt x="9581477" y="133374"/>
                </a:lnTo>
                <a:lnTo>
                  <a:pt x="9581477" y="133374"/>
                </a:lnTo>
                <a:lnTo>
                  <a:pt x="9581477" y="133374"/>
                </a:lnTo>
                <a:cubicBezTo>
                  <a:pt x="9579704" y="133374"/>
                  <a:pt x="9577930" y="133374"/>
                  <a:pt x="9576157" y="133374"/>
                </a:cubicBezTo>
                <a:cubicBezTo>
                  <a:pt x="9576851" y="133451"/>
                  <a:pt x="9577545" y="133528"/>
                  <a:pt x="9578315" y="133605"/>
                </a:cubicBezTo>
                <a:cubicBezTo>
                  <a:pt x="9517857" y="137538"/>
                  <a:pt x="9457399" y="139620"/>
                  <a:pt x="9396940" y="133528"/>
                </a:cubicBezTo>
                <a:cubicBezTo>
                  <a:pt x="9397248" y="133451"/>
                  <a:pt x="9397479" y="133374"/>
                  <a:pt x="9397788" y="133374"/>
                </a:cubicBezTo>
                <a:cubicBezTo>
                  <a:pt x="9396863" y="133374"/>
                  <a:pt x="9395937" y="133374"/>
                  <a:pt x="9395012" y="133374"/>
                </a:cubicBezTo>
                <a:lnTo>
                  <a:pt x="9395552" y="133836"/>
                </a:lnTo>
                <a:cubicBezTo>
                  <a:pt x="9286664" y="132602"/>
                  <a:pt x="9177777" y="131291"/>
                  <a:pt x="9068889" y="130058"/>
                </a:cubicBezTo>
                <a:cubicBezTo>
                  <a:pt x="8961930" y="128901"/>
                  <a:pt x="8854970" y="127667"/>
                  <a:pt x="8748011" y="126587"/>
                </a:cubicBezTo>
                <a:cubicBezTo>
                  <a:pt x="8662335" y="125739"/>
                  <a:pt x="8576428" y="123657"/>
                  <a:pt x="8490983" y="124660"/>
                </a:cubicBezTo>
                <a:cubicBezTo>
                  <a:pt x="8340300" y="126356"/>
                  <a:pt x="8189847" y="129903"/>
                  <a:pt x="8038854" y="127050"/>
                </a:cubicBezTo>
                <a:cubicBezTo>
                  <a:pt x="8027441" y="126819"/>
                  <a:pt x="8015874" y="126587"/>
                  <a:pt x="8004461" y="126819"/>
                </a:cubicBezTo>
                <a:cubicBezTo>
                  <a:pt x="7930121" y="128130"/>
                  <a:pt x="7855782" y="129595"/>
                  <a:pt x="7781365" y="131060"/>
                </a:cubicBezTo>
                <a:lnTo>
                  <a:pt x="7782753" y="130752"/>
                </a:lnTo>
                <a:cubicBezTo>
                  <a:pt x="7782290" y="130829"/>
                  <a:pt x="7781442" y="131060"/>
                  <a:pt x="7781519" y="130983"/>
                </a:cubicBezTo>
                <a:cubicBezTo>
                  <a:pt x="7807738" y="128747"/>
                  <a:pt x="7833803" y="126510"/>
                  <a:pt x="7859869" y="124197"/>
                </a:cubicBezTo>
                <a:cubicBezTo>
                  <a:pt x="7859869" y="123888"/>
                  <a:pt x="7859869" y="123580"/>
                  <a:pt x="7859869" y="123349"/>
                </a:cubicBezTo>
                <a:cubicBezTo>
                  <a:pt x="7828868" y="124274"/>
                  <a:pt x="7797791" y="125276"/>
                  <a:pt x="7766790" y="126202"/>
                </a:cubicBezTo>
                <a:cubicBezTo>
                  <a:pt x="7767176" y="126973"/>
                  <a:pt x="7767484" y="127821"/>
                  <a:pt x="7767870" y="128592"/>
                </a:cubicBezTo>
                <a:cubicBezTo>
                  <a:pt x="7772960" y="129286"/>
                  <a:pt x="7778049" y="129981"/>
                  <a:pt x="7783062" y="130675"/>
                </a:cubicBezTo>
                <a:cubicBezTo>
                  <a:pt x="7768487" y="131446"/>
                  <a:pt x="7753912" y="132680"/>
                  <a:pt x="7739260" y="132911"/>
                </a:cubicBezTo>
                <a:cubicBezTo>
                  <a:pt x="7691756" y="133528"/>
                  <a:pt x="7644099" y="133296"/>
                  <a:pt x="7596596" y="134068"/>
                </a:cubicBezTo>
                <a:cubicBezTo>
                  <a:pt x="7490562" y="135764"/>
                  <a:pt x="7384681" y="138078"/>
                  <a:pt x="7278647" y="139774"/>
                </a:cubicBezTo>
                <a:cubicBezTo>
                  <a:pt x="7220039" y="140700"/>
                  <a:pt x="7161277" y="140931"/>
                  <a:pt x="7102592" y="141471"/>
                </a:cubicBezTo>
                <a:cubicBezTo>
                  <a:pt x="7102515" y="141471"/>
                  <a:pt x="7102438" y="141471"/>
                  <a:pt x="7102438" y="141471"/>
                </a:cubicBezTo>
                <a:cubicBezTo>
                  <a:pt x="7088943" y="140006"/>
                  <a:pt x="7075370" y="137461"/>
                  <a:pt x="7061567" y="137384"/>
                </a:cubicBezTo>
                <a:cubicBezTo>
                  <a:pt x="7019539" y="137075"/>
                  <a:pt x="6976431" y="136304"/>
                  <a:pt x="6935559" y="138463"/>
                </a:cubicBezTo>
                <a:cubicBezTo>
                  <a:pt x="6898081" y="140468"/>
                  <a:pt x="6858213" y="138232"/>
                  <a:pt x="6822739" y="143784"/>
                </a:cubicBezTo>
                <a:cubicBezTo>
                  <a:pt x="6814642" y="145018"/>
                  <a:pt x="6804463" y="145866"/>
                  <a:pt x="6795286" y="145789"/>
                </a:cubicBezTo>
                <a:cubicBezTo>
                  <a:pt x="6701667" y="145327"/>
                  <a:pt x="6608126" y="144633"/>
                  <a:pt x="6514508" y="144093"/>
                </a:cubicBezTo>
                <a:cubicBezTo>
                  <a:pt x="6474407" y="143861"/>
                  <a:pt x="6434307" y="143938"/>
                  <a:pt x="6394207" y="143861"/>
                </a:cubicBezTo>
                <a:cubicBezTo>
                  <a:pt x="6284626" y="143553"/>
                  <a:pt x="6175121" y="143167"/>
                  <a:pt x="6065539" y="142859"/>
                </a:cubicBezTo>
                <a:cubicBezTo>
                  <a:pt x="6065539" y="141779"/>
                  <a:pt x="6065617" y="140700"/>
                  <a:pt x="6065617" y="139620"/>
                </a:cubicBezTo>
                <a:cubicBezTo>
                  <a:pt x="6267274" y="139620"/>
                  <a:pt x="6468932" y="139620"/>
                  <a:pt x="6670590" y="139620"/>
                </a:cubicBezTo>
                <a:cubicBezTo>
                  <a:pt x="6600029" y="138001"/>
                  <a:pt x="6529468" y="137846"/>
                  <a:pt x="6458984" y="138078"/>
                </a:cubicBezTo>
                <a:cubicBezTo>
                  <a:pt x="6252622" y="138540"/>
                  <a:pt x="6046260" y="139157"/>
                  <a:pt x="5839899" y="139620"/>
                </a:cubicBezTo>
                <a:cubicBezTo>
                  <a:pt x="5794709" y="139697"/>
                  <a:pt x="5749442" y="138849"/>
                  <a:pt x="5704252" y="139157"/>
                </a:cubicBezTo>
                <a:cubicBezTo>
                  <a:pt x="5675180" y="139312"/>
                  <a:pt x="5646261" y="141239"/>
                  <a:pt x="5617112" y="141625"/>
                </a:cubicBezTo>
                <a:cubicBezTo>
                  <a:pt x="5555958" y="142473"/>
                  <a:pt x="5494729" y="142936"/>
                  <a:pt x="5433499" y="143244"/>
                </a:cubicBezTo>
                <a:cubicBezTo>
                  <a:pt x="5290063" y="144016"/>
                  <a:pt x="5146551" y="144633"/>
                  <a:pt x="5003039" y="145095"/>
                </a:cubicBezTo>
                <a:cubicBezTo>
                  <a:pt x="4951680" y="145249"/>
                  <a:pt x="4900243" y="144555"/>
                  <a:pt x="4848885" y="144633"/>
                </a:cubicBezTo>
                <a:cubicBezTo>
                  <a:pt x="4805006" y="144710"/>
                  <a:pt x="4761127" y="145866"/>
                  <a:pt x="4717248" y="145635"/>
                </a:cubicBezTo>
                <a:cubicBezTo>
                  <a:pt x="4650312" y="145327"/>
                  <a:pt x="4583452" y="143707"/>
                  <a:pt x="4516593" y="143630"/>
                </a:cubicBezTo>
                <a:cubicBezTo>
                  <a:pt x="4352027" y="143553"/>
                  <a:pt x="4187385" y="144016"/>
                  <a:pt x="4022820" y="144247"/>
                </a:cubicBezTo>
                <a:cubicBezTo>
                  <a:pt x="3996292" y="144324"/>
                  <a:pt x="3968839" y="145327"/>
                  <a:pt x="3948866" y="138463"/>
                </a:cubicBezTo>
                <a:cubicBezTo>
                  <a:pt x="3913316" y="139851"/>
                  <a:pt x="3877843" y="141856"/>
                  <a:pt x="3842138" y="142319"/>
                </a:cubicBezTo>
                <a:cubicBezTo>
                  <a:pt x="3811909" y="142705"/>
                  <a:pt x="3781294" y="140468"/>
                  <a:pt x="3750910" y="140623"/>
                </a:cubicBezTo>
                <a:cubicBezTo>
                  <a:pt x="3630610" y="141317"/>
                  <a:pt x="3510386" y="142628"/>
                  <a:pt x="3390163" y="143553"/>
                </a:cubicBezTo>
                <a:cubicBezTo>
                  <a:pt x="3350602" y="143861"/>
                  <a:pt x="3310965" y="143630"/>
                  <a:pt x="3271404" y="143630"/>
                </a:cubicBezTo>
                <a:cubicBezTo>
                  <a:pt x="3271559" y="144787"/>
                  <a:pt x="3271636" y="145943"/>
                  <a:pt x="3271790" y="147023"/>
                </a:cubicBezTo>
                <a:cubicBezTo>
                  <a:pt x="3408362" y="145635"/>
                  <a:pt x="3544934" y="144247"/>
                  <a:pt x="3681506" y="142936"/>
                </a:cubicBezTo>
                <a:cubicBezTo>
                  <a:pt x="3649888" y="146175"/>
                  <a:pt x="3618040" y="146715"/>
                  <a:pt x="3586191" y="147409"/>
                </a:cubicBezTo>
                <a:cubicBezTo>
                  <a:pt x="3332403" y="152807"/>
                  <a:pt x="3078692" y="158359"/>
                  <a:pt x="2824904" y="163526"/>
                </a:cubicBezTo>
                <a:cubicBezTo>
                  <a:pt x="2733291" y="165377"/>
                  <a:pt x="2641137" y="168616"/>
                  <a:pt x="2549832" y="167382"/>
                </a:cubicBezTo>
                <a:cubicBezTo>
                  <a:pt x="2405934" y="165377"/>
                  <a:pt x="2263116" y="168384"/>
                  <a:pt x="2119989" y="170389"/>
                </a:cubicBezTo>
                <a:cubicBezTo>
                  <a:pt x="1970847" y="172548"/>
                  <a:pt x="1822014" y="175325"/>
                  <a:pt x="1672872" y="170466"/>
                </a:cubicBezTo>
                <a:cubicBezTo>
                  <a:pt x="1639712" y="169387"/>
                  <a:pt x="1605781" y="170312"/>
                  <a:pt x="1572236" y="170312"/>
                </a:cubicBezTo>
                <a:cubicBezTo>
                  <a:pt x="1853400" y="183190"/>
                  <a:pt x="2134487" y="176019"/>
                  <a:pt x="2416114" y="172086"/>
                </a:cubicBezTo>
                <a:cubicBezTo>
                  <a:pt x="2399765" y="172703"/>
                  <a:pt x="2383417" y="173397"/>
                  <a:pt x="2367068" y="174014"/>
                </a:cubicBezTo>
                <a:cubicBezTo>
                  <a:pt x="2394753" y="175093"/>
                  <a:pt x="2422283" y="176327"/>
                  <a:pt x="2448117" y="174939"/>
                </a:cubicBezTo>
                <a:cubicBezTo>
                  <a:pt x="2558701" y="168924"/>
                  <a:pt x="2670364" y="173859"/>
                  <a:pt x="2782182" y="170466"/>
                </a:cubicBezTo>
                <a:cubicBezTo>
                  <a:pt x="3006280" y="163680"/>
                  <a:pt x="3232538" y="162678"/>
                  <a:pt x="3457870" y="159207"/>
                </a:cubicBezTo>
                <a:cubicBezTo>
                  <a:pt x="3520797" y="158282"/>
                  <a:pt x="3583877" y="157434"/>
                  <a:pt x="3646650" y="155969"/>
                </a:cubicBezTo>
                <a:cubicBezTo>
                  <a:pt x="3709268" y="154503"/>
                  <a:pt x="3771500" y="151342"/>
                  <a:pt x="3834118" y="150648"/>
                </a:cubicBezTo>
                <a:cubicBezTo>
                  <a:pt x="3879462" y="150108"/>
                  <a:pt x="3925192" y="153347"/>
                  <a:pt x="3970690" y="153269"/>
                </a:cubicBezTo>
                <a:cubicBezTo>
                  <a:pt x="4033462" y="153115"/>
                  <a:pt x="4096157" y="151033"/>
                  <a:pt x="4158930" y="150570"/>
                </a:cubicBezTo>
                <a:cubicBezTo>
                  <a:pt x="4242600" y="149876"/>
                  <a:pt x="4326271" y="149491"/>
                  <a:pt x="4409941" y="149645"/>
                </a:cubicBezTo>
                <a:cubicBezTo>
                  <a:pt x="4533866" y="149876"/>
                  <a:pt x="4657252" y="153655"/>
                  <a:pt x="4781254" y="154889"/>
                </a:cubicBezTo>
                <a:cubicBezTo>
                  <a:pt x="4955613" y="156508"/>
                  <a:pt x="5130357" y="152344"/>
                  <a:pt x="5304253" y="158128"/>
                </a:cubicBezTo>
                <a:cubicBezTo>
                  <a:pt x="5288675" y="157434"/>
                  <a:pt x="5273098" y="156663"/>
                  <a:pt x="5257521" y="155969"/>
                </a:cubicBezTo>
                <a:cubicBezTo>
                  <a:pt x="5258061" y="155352"/>
                  <a:pt x="5258600" y="154658"/>
                  <a:pt x="5259140" y="154041"/>
                </a:cubicBezTo>
                <a:cubicBezTo>
                  <a:pt x="5333480" y="154041"/>
                  <a:pt x="5407742" y="154041"/>
                  <a:pt x="5482082" y="154041"/>
                </a:cubicBezTo>
                <a:cubicBezTo>
                  <a:pt x="5481696" y="154118"/>
                  <a:pt x="5480848" y="154272"/>
                  <a:pt x="5480848" y="154272"/>
                </a:cubicBezTo>
                <a:cubicBezTo>
                  <a:pt x="5482622" y="154272"/>
                  <a:pt x="5484318" y="154349"/>
                  <a:pt x="5486092" y="154349"/>
                </a:cubicBezTo>
                <a:cubicBezTo>
                  <a:pt x="5485012" y="154272"/>
                  <a:pt x="5483855" y="154118"/>
                  <a:pt x="5482776" y="154041"/>
                </a:cubicBezTo>
                <a:cubicBezTo>
                  <a:pt x="5494035" y="152653"/>
                  <a:pt x="5505371" y="150262"/>
                  <a:pt x="5516630" y="150339"/>
                </a:cubicBezTo>
                <a:cubicBezTo>
                  <a:pt x="5565367" y="150570"/>
                  <a:pt x="5613101" y="151033"/>
                  <a:pt x="5662456" y="148951"/>
                </a:cubicBezTo>
                <a:cubicBezTo>
                  <a:pt x="5726076" y="146252"/>
                  <a:pt x="5791856" y="147254"/>
                  <a:pt x="5856710" y="147486"/>
                </a:cubicBezTo>
                <a:cubicBezTo>
                  <a:pt x="5980866" y="148026"/>
                  <a:pt x="6105023" y="149182"/>
                  <a:pt x="6229102" y="150262"/>
                </a:cubicBezTo>
                <a:cubicBezTo>
                  <a:pt x="6343388" y="151264"/>
                  <a:pt x="6457596" y="153655"/>
                  <a:pt x="6571882" y="153655"/>
                </a:cubicBezTo>
                <a:cubicBezTo>
                  <a:pt x="6712926" y="153578"/>
                  <a:pt x="6853971" y="151573"/>
                  <a:pt x="6995016" y="150570"/>
                </a:cubicBezTo>
                <a:cubicBezTo>
                  <a:pt x="7080846" y="149954"/>
                  <a:pt x="7166829" y="150185"/>
                  <a:pt x="7252582" y="149028"/>
                </a:cubicBezTo>
                <a:cubicBezTo>
                  <a:pt x="7336407" y="147871"/>
                  <a:pt x="7419923" y="144093"/>
                  <a:pt x="7503671" y="143707"/>
                </a:cubicBezTo>
                <a:cubicBezTo>
                  <a:pt x="7654509" y="143090"/>
                  <a:pt x="7804654" y="140237"/>
                  <a:pt x="7954953" y="137152"/>
                </a:cubicBezTo>
                <a:cubicBezTo>
                  <a:pt x="7996133" y="136304"/>
                  <a:pt x="8037775" y="136998"/>
                  <a:pt x="8088517" y="136998"/>
                </a:cubicBezTo>
                <a:cubicBezTo>
                  <a:pt x="8075331" y="140083"/>
                  <a:pt x="8072091" y="140854"/>
                  <a:pt x="8059753" y="143707"/>
                </a:cubicBezTo>
                <a:cubicBezTo>
                  <a:pt x="8125841" y="143707"/>
                  <a:pt x="8181056" y="143861"/>
                  <a:pt x="8236271" y="143630"/>
                </a:cubicBezTo>
                <a:cubicBezTo>
                  <a:pt x="8275909" y="143476"/>
                  <a:pt x="8315623" y="142859"/>
                  <a:pt x="8355260" y="142396"/>
                </a:cubicBezTo>
                <a:cubicBezTo>
                  <a:pt x="8391119" y="141933"/>
                  <a:pt x="8426978" y="141085"/>
                  <a:pt x="8462914" y="140700"/>
                </a:cubicBezTo>
                <a:cubicBezTo>
                  <a:pt x="8476101" y="140545"/>
                  <a:pt x="8489596" y="141779"/>
                  <a:pt x="8502628" y="141471"/>
                </a:cubicBezTo>
                <a:cubicBezTo>
                  <a:pt x="8603419" y="138772"/>
                  <a:pt x="8704286" y="137615"/>
                  <a:pt x="8805307" y="140160"/>
                </a:cubicBezTo>
                <a:cubicBezTo>
                  <a:pt x="8829908" y="140777"/>
                  <a:pt x="8855510" y="143476"/>
                  <a:pt x="8878799" y="142242"/>
                </a:cubicBezTo>
                <a:cubicBezTo>
                  <a:pt x="8976428" y="137075"/>
                  <a:pt x="9072514" y="145249"/>
                  <a:pt x="9169602" y="144016"/>
                </a:cubicBezTo>
                <a:cubicBezTo>
                  <a:pt x="9188496" y="143784"/>
                  <a:pt x="9207929" y="146483"/>
                  <a:pt x="9227054" y="148026"/>
                </a:cubicBezTo>
                <a:cubicBezTo>
                  <a:pt x="9225126" y="148026"/>
                  <a:pt x="9223121" y="148026"/>
                  <a:pt x="9221193" y="148026"/>
                </a:cubicBezTo>
                <a:cubicBezTo>
                  <a:pt x="9223815" y="148103"/>
                  <a:pt x="9226436" y="148103"/>
                  <a:pt x="9229136" y="148180"/>
                </a:cubicBezTo>
                <a:cubicBezTo>
                  <a:pt x="9229367" y="148180"/>
                  <a:pt x="9229598" y="148257"/>
                  <a:pt x="9229830" y="148257"/>
                </a:cubicBezTo>
                <a:lnTo>
                  <a:pt x="9229598" y="148180"/>
                </a:lnTo>
                <a:lnTo>
                  <a:pt x="9229598" y="148180"/>
                </a:lnTo>
                <a:cubicBezTo>
                  <a:pt x="9229830" y="148257"/>
                  <a:pt x="9228827" y="148026"/>
                  <a:pt x="9228827" y="148026"/>
                </a:cubicBezTo>
                <a:cubicBezTo>
                  <a:pt x="9244019" y="147871"/>
                  <a:pt x="9259442" y="147254"/>
                  <a:pt x="9274480" y="147640"/>
                </a:cubicBezTo>
                <a:cubicBezTo>
                  <a:pt x="9323680" y="148951"/>
                  <a:pt x="9372648" y="150956"/>
                  <a:pt x="9421848" y="152113"/>
                </a:cubicBezTo>
                <a:cubicBezTo>
                  <a:pt x="9518860" y="154426"/>
                  <a:pt x="9616102" y="155969"/>
                  <a:pt x="9713037" y="158590"/>
                </a:cubicBezTo>
                <a:cubicBezTo>
                  <a:pt x="9781439" y="160441"/>
                  <a:pt x="9849300" y="164143"/>
                  <a:pt x="9917779" y="165685"/>
                </a:cubicBezTo>
                <a:cubicBezTo>
                  <a:pt x="9991348" y="167382"/>
                  <a:pt x="10065302" y="167613"/>
                  <a:pt x="10139025" y="168461"/>
                </a:cubicBezTo>
                <a:cubicBezTo>
                  <a:pt x="10184599" y="169001"/>
                  <a:pt x="10230252" y="169310"/>
                  <a:pt x="10275751" y="170081"/>
                </a:cubicBezTo>
                <a:cubicBezTo>
                  <a:pt x="10321095" y="170852"/>
                  <a:pt x="10366439" y="171777"/>
                  <a:pt x="10411629" y="173088"/>
                </a:cubicBezTo>
                <a:cubicBezTo>
                  <a:pt x="10474247" y="174862"/>
                  <a:pt x="10536556" y="177792"/>
                  <a:pt x="10599251" y="178872"/>
                </a:cubicBezTo>
                <a:cubicBezTo>
                  <a:pt x="10680686" y="180260"/>
                  <a:pt x="10761889" y="179258"/>
                  <a:pt x="10844016" y="181725"/>
                </a:cubicBezTo>
                <a:cubicBezTo>
                  <a:pt x="10976193" y="185735"/>
                  <a:pt x="11110220" y="184887"/>
                  <a:pt x="11243476" y="185658"/>
                </a:cubicBezTo>
                <a:cubicBezTo>
                  <a:pt x="11350281" y="186198"/>
                  <a:pt x="11457164" y="185735"/>
                  <a:pt x="11563893" y="186429"/>
                </a:cubicBezTo>
                <a:cubicBezTo>
                  <a:pt x="11601601" y="186661"/>
                  <a:pt x="11639158" y="189128"/>
                  <a:pt x="11676789" y="190594"/>
                </a:cubicBezTo>
                <a:cubicBezTo>
                  <a:pt x="11754059" y="193601"/>
                  <a:pt x="11831252" y="196686"/>
                  <a:pt x="11919781" y="200233"/>
                </a:cubicBezTo>
                <a:cubicBezTo>
                  <a:pt x="11873743" y="186661"/>
                  <a:pt x="11815906" y="198151"/>
                  <a:pt x="11776038" y="186661"/>
                </a:cubicBezTo>
                <a:cubicBezTo>
                  <a:pt x="11794700" y="183807"/>
                  <a:pt x="11812359" y="181108"/>
                  <a:pt x="11830481" y="178409"/>
                </a:cubicBezTo>
                <a:cubicBezTo>
                  <a:pt x="11789918" y="174168"/>
                  <a:pt x="11749664" y="169926"/>
                  <a:pt x="11705014" y="165300"/>
                </a:cubicBezTo>
                <a:cubicBezTo>
                  <a:pt x="11753905" y="161444"/>
                  <a:pt x="11805110" y="167459"/>
                  <a:pt x="11838656" y="154503"/>
                </a:cubicBezTo>
                <a:cubicBezTo>
                  <a:pt x="11840969" y="153578"/>
                  <a:pt x="11849452" y="153732"/>
                  <a:pt x="11855005" y="153809"/>
                </a:cubicBezTo>
                <a:cubicBezTo>
                  <a:pt x="11901505" y="153964"/>
                  <a:pt x="11947851" y="154658"/>
                  <a:pt x="11994275" y="152498"/>
                </a:cubicBezTo>
                <a:cubicBezTo>
                  <a:pt x="12038848" y="150416"/>
                  <a:pt x="12076172" y="159285"/>
                  <a:pt x="12118740" y="160827"/>
                </a:cubicBezTo>
                <a:cubicBezTo>
                  <a:pt x="12128071" y="161135"/>
                  <a:pt x="12137710" y="160904"/>
                  <a:pt x="12160074" y="160904"/>
                </a:cubicBezTo>
                <a:cubicBezTo>
                  <a:pt x="12052266" y="135070"/>
                  <a:pt x="11920938" y="142088"/>
                  <a:pt x="11813978" y="128361"/>
                </a:cubicBezTo>
                <a:cubicBezTo>
                  <a:pt x="11825932" y="117873"/>
                  <a:pt x="11846213" y="114712"/>
                  <a:pt x="11880761" y="116639"/>
                </a:cubicBezTo>
                <a:cubicBezTo>
                  <a:pt x="11939060" y="119878"/>
                  <a:pt x="11997822" y="121729"/>
                  <a:pt x="12057356" y="117950"/>
                </a:cubicBezTo>
                <a:cubicBezTo>
                  <a:pt x="12071159" y="117102"/>
                  <a:pt x="12087046" y="119184"/>
                  <a:pt x="12102083" y="119647"/>
                </a:cubicBezTo>
                <a:cubicBezTo>
                  <a:pt x="12129305" y="120341"/>
                  <a:pt x="12157144" y="121960"/>
                  <a:pt x="12190612" y="116794"/>
                </a:cubicBezTo>
                <a:cubicBezTo>
                  <a:pt x="12176963" y="114249"/>
                  <a:pt x="12170562" y="112398"/>
                  <a:pt x="12163004" y="111781"/>
                </a:cubicBezTo>
                <a:cubicBezTo>
                  <a:pt x="12133700" y="109313"/>
                  <a:pt x="12103317" y="107848"/>
                  <a:pt x="12074630" y="104918"/>
                </a:cubicBezTo>
                <a:cubicBezTo>
                  <a:pt x="11997437" y="96975"/>
                  <a:pt x="11919935" y="90189"/>
                  <a:pt x="11836728" y="89495"/>
                </a:cubicBezTo>
                <a:cubicBezTo>
                  <a:pt x="11798093" y="89186"/>
                  <a:pt x="11759689" y="86333"/>
                  <a:pt x="11721208" y="84636"/>
                </a:cubicBezTo>
                <a:cubicBezTo>
                  <a:pt x="11721285" y="83171"/>
                  <a:pt x="11721362" y="81629"/>
                  <a:pt x="11721440" y="80164"/>
                </a:cubicBezTo>
                <a:cubicBezTo>
                  <a:pt x="11747196" y="79393"/>
                  <a:pt x="11772876" y="78467"/>
                  <a:pt x="11798632" y="77773"/>
                </a:cubicBezTo>
                <a:cubicBezTo>
                  <a:pt x="11902353" y="74766"/>
                  <a:pt x="12006691" y="82863"/>
                  <a:pt x="12110412" y="76077"/>
                </a:cubicBezTo>
                <a:cubicBezTo>
                  <a:pt x="12124138" y="75151"/>
                  <a:pt x="12140333" y="77156"/>
                  <a:pt x="12155293" y="78004"/>
                </a:cubicBezTo>
                <a:cubicBezTo>
                  <a:pt x="12167554" y="78699"/>
                  <a:pt x="12179584" y="79624"/>
                  <a:pt x="12191229" y="80472"/>
                </a:cubicBezTo>
                <a:cubicBezTo>
                  <a:pt x="12201485" y="72298"/>
                  <a:pt x="12192386" y="67440"/>
                  <a:pt x="12167554" y="65897"/>
                </a:cubicBezTo>
                <a:cubicBezTo>
                  <a:pt x="12121054" y="62967"/>
                  <a:pt x="12074244" y="60268"/>
                  <a:pt x="12027126" y="58340"/>
                </a:cubicBezTo>
                <a:cubicBezTo>
                  <a:pt x="11942068" y="54870"/>
                  <a:pt x="11856624" y="52171"/>
                  <a:pt x="11771488" y="48932"/>
                </a:cubicBezTo>
                <a:cubicBezTo>
                  <a:pt x="11731697" y="47390"/>
                  <a:pt x="11692444" y="43919"/>
                  <a:pt x="11652576" y="43457"/>
                </a:cubicBezTo>
                <a:cubicBezTo>
                  <a:pt x="11578390" y="42531"/>
                  <a:pt x="11503974" y="43380"/>
                  <a:pt x="11429711" y="42917"/>
                </a:cubicBezTo>
                <a:cubicBezTo>
                  <a:pt x="11369098" y="42531"/>
                  <a:pt x="11308408" y="41529"/>
                  <a:pt x="11247949" y="40295"/>
                </a:cubicBezTo>
                <a:cubicBezTo>
                  <a:pt x="11216872" y="39678"/>
                  <a:pt x="11183943" y="43457"/>
                  <a:pt x="11154562" y="36902"/>
                </a:cubicBezTo>
                <a:cubicBezTo>
                  <a:pt x="11149703" y="35822"/>
                  <a:pt x="11136594" y="37827"/>
                  <a:pt x="11127186" y="38213"/>
                </a:cubicBezTo>
                <a:cubicBezTo>
                  <a:pt x="11114076" y="38830"/>
                  <a:pt x="11099964" y="40449"/>
                  <a:pt x="11087933" y="39678"/>
                </a:cubicBezTo>
                <a:cubicBezTo>
                  <a:pt x="11059401" y="37750"/>
                  <a:pt x="11037269" y="40680"/>
                  <a:pt x="11011897" y="43919"/>
                </a:cubicBezTo>
                <a:cubicBezTo>
                  <a:pt x="10979278" y="48161"/>
                  <a:pt x="10944036" y="54870"/>
                  <a:pt x="10905555" y="47004"/>
                </a:cubicBezTo>
                <a:cubicBezTo>
                  <a:pt x="10905555" y="44151"/>
                  <a:pt x="10905555" y="41529"/>
                  <a:pt x="10905555" y="38830"/>
                </a:cubicBezTo>
                <a:cubicBezTo>
                  <a:pt x="10867846" y="40835"/>
                  <a:pt x="10830830" y="48084"/>
                  <a:pt x="10791655" y="39678"/>
                </a:cubicBezTo>
                <a:cubicBezTo>
                  <a:pt x="10787259" y="38753"/>
                  <a:pt x="10776540" y="39601"/>
                  <a:pt x="10769600" y="40372"/>
                </a:cubicBezTo>
                <a:cubicBezTo>
                  <a:pt x="10750706" y="42300"/>
                  <a:pt x="10731582" y="46541"/>
                  <a:pt x="10716853" y="38598"/>
                </a:cubicBezTo>
                <a:cubicBezTo>
                  <a:pt x="10643670" y="37596"/>
                  <a:pt x="10570102" y="34897"/>
                  <a:pt x="10497536" y="36285"/>
                </a:cubicBezTo>
                <a:cubicBezTo>
                  <a:pt x="10464530" y="36902"/>
                  <a:pt x="10435920" y="34126"/>
                  <a:pt x="10405074" y="33894"/>
                </a:cubicBezTo>
                <a:cubicBezTo>
                  <a:pt x="10387800" y="33740"/>
                  <a:pt x="10370372" y="31581"/>
                  <a:pt x="10353406" y="31889"/>
                </a:cubicBezTo>
                <a:cubicBezTo>
                  <a:pt x="10299425" y="32969"/>
                  <a:pt x="10247295" y="32583"/>
                  <a:pt x="10195705" y="26491"/>
                </a:cubicBezTo>
                <a:cubicBezTo>
                  <a:pt x="10178740" y="24486"/>
                  <a:pt x="10149821" y="24255"/>
                  <a:pt x="10146119" y="34203"/>
                </a:cubicBezTo>
                <a:cubicBezTo>
                  <a:pt x="10104168" y="29113"/>
                  <a:pt x="10063760" y="22173"/>
                  <a:pt x="10015331" y="26337"/>
                </a:cubicBezTo>
                <a:cubicBezTo>
                  <a:pt x="10010781" y="26722"/>
                  <a:pt x="10004304" y="25797"/>
                  <a:pt x="9999137" y="25103"/>
                </a:cubicBezTo>
                <a:cubicBezTo>
                  <a:pt x="9962121" y="20476"/>
                  <a:pt x="9924643" y="21324"/>
                  <a:pt x="9887319" y="24409"/>
                </a:cubicBezTo>
                <a:cubicBezTo>
                  <a:pt x="9836962" y="28573"/>
                  <a:pt x="9796322" y="24255"/>
                  <a:pt x="9762777" y="13613"/>
                </a:cubicBezTo>
                <a:cubicBezTo>
                  <a:pt x="9742186" y="15155"/>
                  <a:pt x="9721829" y="18086"/>
                  <a:pt x="9701778" y="17931"/>
                </a:cubicBezTo>
                <a:cubicBezTo>
                  <a:pt x="9621732" y="17160"/>
                  <a:pt x="9541455" y="16235"/>
                  <a:pt x="9461948" y="13767"/>
                </a:cubicBezTo>
                <a:cubicBezTo>
                  <a:pt x="9428094" y="12687"/>
                  <a:pt x="9396245" y="8292"/>
                  <a:pt x="9362084" y="13536"/>
                </a:cubicBezTo>
                <a:cubicBezTo>
                  <a:pt x="9355375" y="14538"/>
                  <a:pt x="9341879" y="13844"/>
                  <a:pt x="9335016" y="12533"/>
                </a:cubicBezTo>
                <a:cubicBezTo>
                  <a:pt x="9315351" y="8677"/>
                  <a:pt x="9296072" y="9449"/>
                  <a:pt x="9274634" y="10760"/>
                </a:cubicBezTo>
                <a:cubicBezTo>
                  <a:pt x="9260137" y="11608"/>
                  <a:pt x="9244019" y="11222"/>
                  <a:pt x="9229136" y="10451"/>
                </a:cubicBezTo>
                <a:cubicBezTo>
                  <a:pt x="9190038" y="8523"/>
                  <a:pt x="9151557" y="5361"/>
                  <a:pt x="9112228" y="4359"/>
                </a:cubicBezTo>
                <a:cubicBezTo>
                  <a:pt x="9086934" y="3742"/>
                  <a:pt x="9060637" y="6055"/>
                  <a:pt x="9034804" y="7135"/>
                </a:cubicBezTo>
                <a:cubicBezTo>
                  <a:pt x="9018224" y="7829"/>
                  <a:pt x="9001567" y="9371"/>
                  <a:pt x="8985065" y="9217"/>
                </a:cubicBezTo>
                <a:cubicBezTo>
                  <a:pt x="8964860" y="9063"/>
                  <a:pt x="8944810" y="6827"/>
                  <a:pt x="8924606" y="6672"/>
                </a:cubicBezTo>
                <a:cubicBezTo>
                  <a:pt x="8888438" y="6364"/>
                  <a:pt x="8852117" y="7675"/>
                  <a:pt x="8816104" y="7058"/>
                </a:cubicBezTo>
                <a:cubicBezTo>
                  <a:pt x="8745774" y="5901"/>
                  <a:pt x="8675753" y="2817"/>
                  <a:pt x="8605501" y="2431"/>
                </a:cubicBezTo>
                <a:cubicBezTo>
                  <a:pt x="8538102" y="2045"/>
                  <a:pt x="8468774" y="-4509"/>
                  <a:pt x="8402918" y="5670"/>
                </a:cubicBezTo>
                <a:cubicBezTo>
                  <a:pt x="8395361" y="6827"/>
                  <a:pt x="8384024" y="6055"/>
                  <a:pt x="8374539" y="6210"/>
                </a:cubicBezTo>
                <a:cubicBezTo>
                  <a:pt x="8277373" y="7983"/>
                  <a:pt x="8180131" y="9603"/>
                  <a:pt x="8082965" y="11762"/>
                </a:cubicBezTo>
                <a:cubicBezTo>
                  <a:pt x="8006697" y="13381"/>
                  <a:pt x="7930584" y="16003"/>
                  <a:pt x="7854317" y="17469"/>
                </a:cubicBezTo>
                <a:cubicBezTo>
                  <a:pt x="7776353" y="19011"/>
                  <a:pt x="7698080" y="19474"/>
                  <a:pt x="7620039" y="20707"/>
                </a:cubicBezTo>
                <a:cubicBezTo>
                  <a:pt x="7534209" y="22018"/>
                  <a:pt x="7448456" y="23792"/>
                  <a:pt x="7362626" y="25180"/>
                </a:cubicBezTo>
                <a:cubicBezTo>
                  <a:pt x="7339954" y="25566"/>
                  <a:pt x="7317205" y="25334"/>
                  <a:pt x="7294533" y="25720"/>
                </a:cubicBezTo>
                <a:cubicBezTo>
                  <a:pt x="7241246" y="26722"/>
                  <a:pt x="7188036" y="28650"/>
                  <a:pt x="7134672" y="29113"/>
                </a:cubicBezTo>
                <a:cubicBezTo>
                  <a:pt x="7037121" y="29961"/>
                  <a:pt x="6939415" y="29730"/>
                  <a:pt x="6841787" y="30424"/>
                </a:cubicBezTo>
                <a:cubicBezTo>
                  <a:pt x="6790505" y="30501"/>
                  <a:pt x="6739146" y="32815"/>
                  <a:pt x="6687864" y="32660"/>
                </a:cubicBezTo>
                <a:cubicBezTo>
                  <a:pt x="6488982" y="31812"/>
                  <a:pt x="6290255" y="29653"/>
                  <a:pt x="6091373" y="29267"/>
                </a:cubicBezTo>
                <a:cubicBezTo>
                  <a:pt x="5802498" y="28728"/>
                  <a:pt x="5513545" y="29961"/>
                  <a:pt x="5224669" y="29190"/>
                </a:cubicBezTo>
                <a:cubicBezTo>
                  <a:pt x="5002807" y="28650"/>
                  <a:pt x="4781022" y="25874"/>
                  <a:pt x="4559161" y="24795"/>
                </a:cubicBezTo>
                <a:cubicBezTo>
                  <a:pt x="4411946" y="24023"/>
                  <a:pt x="4264578" y="23792"/>
                  <a:pt x="4117364" y="24563"/>
                </a:cubicBezTo>
                <a:cubicBezTo>
                  <a:pt x="3958506" y="25412"/>
                  <a:pt x="3799647" y="27417"/>
                  <a:pt x="3640866" y="29422"/>
                </a:cubicBezTo>
                <a:cubicBezTo>
                  <a:pt x="3551026" y="30578"/>
                  <a:pt x="3461418" y="32969"/>
                  <a:pt x="3371655" y="34511"/>
                </a:cubicBezTo>
                <a:cubicBezTo>
                  <a:pt x="3167452" y="38213"/>
                  <a:pt x="2963404" y="42146"/>
                  <a:pt x="2759125" y="45153"/>
                </a:cubicBezTo>
                <a:cubicBezTo>
                  <a:pt x="2640752" y="46927"/>
                  <a:pt x="2522148" y="47158"/>
                  <a:pt x="2403621" y="48161"/>
                </a:cubicBezTo>
                <a:cubicBezTo>
                  <a:pt x="2248772" y="49395"/>
                  <a:pt x="2093924" y="51091"/>
                  <a:pt x="1939076" y="51631"/>
                </a:cubicBezTo>
                <a:cubicBezTo>
                  <a:pt x="1818544" y="52016"/>
                  <a:pt x="1697858" y="50628"/>
                  <a:pt x="1577326" y="50474"/>
                </a:cubicBezTo>
                <a:cubicBezTo>
                  <a:pt x="1399265" y="50243"/>
                  <a:pt x="1221282" y="50320"/>
                  <a:pt x="1043222" y="50551"/>
                </a:cubicBezTo>
                <a:cubicBezTo>
                  <a:pt x="972430" y="50706"/>
                  <a:pt x="901637" y="51400"/>
                  <a:pt x="830922" y="52556"/>
                </a:cubicBezTo>
                <a:cubicBezTo>
                  <a:pt x="753035" y="53867"/>
                  <a:pt x="675303" y="56566"/>
                  <a:pt x="597416" y="57492"/>
                </a:cubicBezTo>
                <a:cubicBezTo>
                  <a:pt x="544129" y="58109"/>
                  <a:pt x="490610" y="56489"/>
                  <a:pt x="437246" y="56026"/>
                </a:cubicBezTo>
                <a:cubicBezTo>
                  <a:pt x="330055" y="55101"/>
                  <a:pt x="222710" y="54947"/>
                  <a:pt x="115828" y="52942"/>
                </a:cubicBezTo>
                <a:cubicBezTo>
                  <a:pt x="73646" y="52171"/>
                  <a:pt x="37864" y="54099"/>
                  <a:pt x="0" y="60962"/>
                </a:cubicBezTo>
                <a:cubicBezTo>
                  <a:pt x="29150" y="68828"/>
                  <a:pt x="64623" y="69059"/>
                  <a:pt x="97474" y="70062"/>
                </a:cubicBezTo>
                <a:close/>
                <a:moveTo>
                  <a:pt x="3736875" y="145095"/>
                </a:moveTo>
                <a:cubicBezTo>
                  <a:pt x="3737415" y="144710"/>
                  <a:pt x="3738032" y="144247"/>
                  <a:pt x="3738572" y="143861"/>
                </a:cubicBezTo>
                <a:cubicBezTo>
                  <a:pt x="3751141" y="143861"/>
                  <a:pt x="3763634" y="143861"/>
                  <a:pt x="3776204" y="143861"/>
                </a:cubicBezTo>
                <a:cubicBezTo>
                  <a:pt x="3776358" y="144247"/>
                  <a:pt x="3776513" y="144710"/>
                  <a:pt x="3776744" y="145095"/>
                </a:cubicBezTo>
                <a:cubicBezTo>
                  <a:pt x="3763480" y="145095"/>
                  <a:pt x="3750216" y="145095"/>
                  <a:pt x="3736875" y="145095"/>
                </a:cubicBezTo>
                <a:close/>
                <a:moveTo>
                  <a:pt x="6944351" y="143784"/>
                </a:moveTo>
                <a:cubicBezTo>
                  <a:pt x="6944273" y="143090"/>
                  <a:pt x="6944196" y="142473"/>
                  <a:pt x="6944119" y="141779"/>
                </a:cubicBezTo>
                <a:cubicBezTo>
                  <a:pt x="6994167" y="141779"/>
                  <a:pt x="7044216" y="141779"/>
                  <a:pt x="7094418" y="141856"/>
                </a:cubicBezTo>
                <a:cubicBezTo>
                  <a:pt x="7044370" y="142473"/>
                  <a:pt x="6994399" y="143090"/>
                  <a:pt x="6944351" y="143784"/>
                </a:cubicBezTo>
                <a:close/>
                <a:moveTo>
                  <a:pt x="9640085" y="139312"/>
                </a:moveTo>
                <a:cubicBezTo>
                  <a:pt x="9631603" y="139234"/>
                  <a:pt x="9623120" y="139080"/>
                  <a:pt x="9614638" y="139003"/>
                </a:cubicBezTo>
                <a:cubicBezTo>
                  <a:pt x="9614638" y="138695"/>
                  <a:pt x="9614715" y="138463"/>
                  <a:pt x="9614715" y="138155"/>
                </a:cubicBezTo>
                <a:cubicBezTo>
                  <a:pt x="9623197" y="138155"/>
                  <a:pt x="9631757" y="138155"/>
                  <a:pt x="9640240" y="138155"/>
                </a:cubicBezTo>
                <a:cubicBezTo>
                  <a:pt x="9640162" y="138540"/>
                  <a:pt x="9640085" y="138926"/>
                  <a:pt x="9640085" y="139312"/>
                </a:cubicBezTo>
                <a:close/>
                <a:moveTo>
                  <a:pt x="11631060" y="144093"/>
                </a:moveTo>
                <a:cubicBezTo>
                  <a:pt x="11654118" y="144093"/>
                  <a:pt x="11677098" y="144093"/>
                  <a:pt x="11700156" y="144093"/>
                </a:cubicBezTo>
                <a:cubicBezTo>
                  <a:pt x="11699924" y="145327"/>
                  <a:pt x="11699771" y="146560"/>
                  <a:pt x="11699539" y="147794"/>
                </a:cubicBezTo>
                <a:cubicBezTo>
                  <a:pt x="11676636" y="147332"/>
                  <a:pt x="11653732" y="146869"/>
                  <a:pt x="11630751" y="146406"/>
                </a:cubicBezTo>
                <a:cubicBezTo>
                  <a:pt x="11630906" y="145635"/>
                  <a:pt x="11630983" y="144864"/>
                  <a:pt x="11631060" y="144093"/>
                </a:cubicBezTo>
                <a:close/>
                <a:moveTo>
                  <a:pt x="10957609" y="159207"/>
                </a:moveTo>
                <a:cubicBezTo>
                  <a:pt x="10948354" y="159207"/>
                  <a:pt x="10939178" y="159207"/>
                  <a:pt x="10929923" y="159207"/>
                </a:cubicBezTo>
                <a:cubicBezTo>
                  <a:pt x="10929846" y="158668"/>
                  <a:pt x="10929769" y="158205"/>
                  <a:pt x="10929693" y="157665"/>
                </a:cubicBezTo>
                <a:cubicBezTo>
                  <a:pt x="10939255" y="157511"/>
                  <a:pt x="10948740" y="157434"/>
                  <a:pt x="10958302" y="157280"/>
                </a:cubicBezTo>
                <a:cubicBezTo>
                  <a:pt x="10958071" y="157974"/>
                  <a:pt x="10957839" y="158590"/>
                  <a:pt x="10957609" y="159207"/>
                </a:cubicBezTo>
                <a:close/>
                <a:moveTo>
                  <a:pt x="11402489" y="155660"/>
                </a:moveTo>
                <a:cubicBezTo>
                  <a:pt x="11363545" y="157125"/>
                  <a:pt x="11333239" y="158282"/>
                  <a:pt x="11302932" y="159439"/>
                </a:cubicBezTo>
                <a:cubicBezTo>
                  <a:pt x="11336015" y="151342"/>
                  <a:pt x="11336015" y="151342"/>
                  <a:pt x="11402489" y="155660"/>
                </a:cubicBezTo>
                <a:close/>
                <a:moveTo>
                  <a:pt x="11190421" y="80472"/>
                </a:moveTo>
                <a:cubicBezTo>
                  <a:pt x="11150244" y="92502"/>
                  <a:pt x="11102431" y="91037"/>
                  <a:pt x="11054311" y="88030"/>
                </a:cubicBezTo>
                <a:cubicBezTo>
                  <a:pt x="11049993" y="87798"/>
                  <a:pt x="11047679" y="84868"/>
                  <a:pt x="11044672" y="82940"/>
                </a:cubicBezTo>
                <a:cubicBezTo>
                  <a:pt x="11051921" y="81475"/>
                  <a:pt x="11059092" y="79007"/>
                  <a:pt x="11066573" y="79007"/>
                </a:cubicBezTo>
                <a:cubicBezTo>
                  <a:pt x="11107753" y="78621"/>
                  <a:pt x="11149009" y="78853"/>
                  <a:pt x="11190421" y="80472"/>
                </a:cubicBezTo>
                <a:close/>
                <a:moveTo>
                  <a:pt x="11042050" y="82940"/>
                </a:moveTo>
                <a:cubicBezTo>
                  <a:pt x="11017913" y="87104"/>
                  <a:pt x="10996012" y="93967"/>
                  <a:pt x="10963392" y="88107"/>
                </a:cubicBezTo>
                <a:cubicBezTo>
                  <a:pt x="10993853" y="77310"/>
                  <a:pt x="10994315" y="77233"/>
                  <a:pt x="11042050" y="82940"/>
                </a:cubicBezTo>
                <a:close/>
                <a:moveTo>
                  <a:pt x="10766593" y="76231"/>
                </a:moveTo>
                <a:cubicBezTo>
                  <a:pt x="10803685" y="75151"/>
                  <a:pt x="10840238" y="73840"/>
                  <a:pt x="10877176" y="79470"/>
                </a:cubicBezTo>
                <a:cubicBezTo>
                  <a:pt x="10867691" y="80164"/>
                  <a:pt x="10858283" y="81243"/>
                  <a:pt x="10848644" y="81552"/>
                </a:cubicBezTo>
                <a:cubicBezTo>
                  <a:pt x="10837384" y="81860"/>
                  <a:pt x="10821884" y="80164"/>
                  <a:pt x="10815175" y="81706"/>
                </a:cubicBezTo>
                <a:cubicBezTo>
                  <a:pt x="10779085" y="90266"/>
                  <a:pt x="10741144" y="81937"/>
                  <a:pt x="10704437" y="83325"/>
                </a:cubicBezTo>
                <a:cubicBezTo>
                  <a:pt x="10685621" y="84020"/>
                  <a:pt x="10685081" y="82940"/>
                  <a:pt x="10682073" y="76154"/>
                </a:cubicBezTo>
                <a:cubicBezTo>
                  <a:pt x="10713306" y="76308"/>
                  <a:pt x="10740219" y="76925"/>
                  <a:pt x="10766593" y="76231"/>
                </a:cubicBezTo>
                <a:close/>
                <a:moveTo>
                  <a:pt x="11291751" y="152344"/>
                </a:moveTo>
                <a:cubicBezTo>
                  <a:pt x="11086931" y="154349"/>
                  <a:pt x="10882344" y="153038"/>
                  <a:pt x="10678064" y="149182"/>
                </a:cubicBezTo>
                <a:cubicBezTo>
                  <a:pt x="10882497" y="151342"/>
                  <a:pt x="11087626" y="145172"/>
                  <a:pt x="11291751" y="152344"/>
                </a:cubicBezTo>
                <a:close/>
                <a:moveTo>
                  <a:pt x="10625008" y="147640"/>
                </a:moveTo>
                <a:cubicBezTo>
                  <a:pt x="10625008" y="148103"/>
                  <a:pt x="10625008" y="148643"/>
                  <a:pt x="10625008" y="149105"/>
                </a:cubicBezTo>
                <a:cubicBezTo>
                  <a:pt x="10591385" y="149105"/>
                  <a:pt x="10557763" y="149105"/>
                  <a:pt x="10524218" y="149105"/>
                </a:cubicBezTo>
                <a:cubicBezTo>
                  <a:pt x="10524218" y="148643"/>
                  <a:pt x="10524218" y="148103"/>
                  <a:pt x="10524218" y="147640"/>
                </a:cubicBezTo>
                <a:cubicBezTo>
                  <a:pt x="10557840" y="147640"/>
                  <a:pt x="10591462" y="147640"/>
                  <a:pt x="10625008" y="147640"/>
                </a:cubicBezTo>
                <a:close/>
                <a:moveTo>
                  <a:pt x="10465841" y="144633"/>
                </a:moveTo>
                <a:cubicBezTo>
                  <a:pt x="10466072" y="145249"/>
                  <a:pt x="10466304" y="145866"/>
                  <a:pt x="10466458" y="146483"/>
                </a:cubicBezTo>
                <a:cubicBezTo>
                  <a:pt x="10419186" y="146483"/>
                  <a:pt x="10371914" y="146483"/>
                  <a:pt x="10324565" y="146483"/>
                </a:cubicBezTo>
                <a:cubicBezTo>
                  <a:pt x="10324565" y="145866"/>
                  <a:pt x="10324488" y="145249"/>
                  <a:pt x="10324488" y="144633"/>
                </a:cubicBezTo>
                <a:cubicBezTo>
                  <a:pt x="10371605" y="144633"/>
                  <a:pt x="10418724" y="144633"/>
                  <a:pt x="10465841" y="144633"/>
                </a:cubicBezTo>
                <a:close/>
                <a:moveTo>
                  <a:pt x="7348746" y="61733"/>
                </a:moveTo>
                <a:cubicBezTo>
                  <a:pt x="7348823" y="62273"/>
                  <a:pt x="7348900" y="62890"/>
                  <a:pt x="7348977" y="63430"/>
                </a:cubicBezTo>
                <a:cubicBezTo>
                  <a:pt x="7311884" y="63430"/>
                  <a:pt x="7274791" y="63430"/>
                  <a:pt x="7237699" y="63430"/>
                </a:cubicBezTo>
                <a:cubicBezTo>
                  <a:pt x="7237236" y="62890"/>
                  <a:pt x="7236773" y="62273"/>
                  <a:pt x="7236311" y="61733"/>
                </a:cubicBezTo>
                <a:cubicBezTo>
                  <a:pt x="7273789" y="61733"/>
                  <a:pt x="7311268" y="61733"/>
                  <a:pt x="7348746" y="61733"/>
                </a:cubicBezTo>
                <a:close/>
                <a:moveTo>
                  <a:pt x="6553991" y="68519"/>
                </a:moveTo>
                <a:cubicBezTo>
                  <a:pt x="6587999" y="68519"/>
                  <a:pt x="6622007" y="68519"/>
                  <a:pt x="6656015" y="68519"/>
                </a:cubicBezTo>
                <a:cubicBezTo>
                  <a:pt x="6656015" y="68905"/>
                  <a:pt x="6656092" y="69368"/>
                  <a:pt x="6656092" y="69753"/>
                </a:cubicBezTo>
                <a:cubicBezTo>
                  <a:pt x="6621544" y="69753"/>
                  <a:pt x="6586996" y="69753"/>
                  <a:pt x="6552448" y="69753"/>
                </a:cubicBezTo>
                <a:cubicBezTo>
                  <a:pt x="6552988" y="69368"/>
                  <a:pt x="6553451" y="68982"/>
                  <a:pt x="6553991" y="68519"/>
                </a:cubicBezTo>
                <a:close/>
                <a:moveTo>
                  <a:pt x="6162628" y="68751"/>
                </a:moveTo>
                <a:cubicBezTo>
                  <a:pt x="6162706" y="69059"/>
                  <a:pt x="6162706" y="69445"/>
                  <a:pt x="6162782" y="69753"/>
                </a:cubicBezTo>
                <a:cubicBezTo>
                  <a:pt x="6153914" y="69984"/>
                  <a:pt x="6145123" y="70139"/>
                  <a:pt x="6136254" y="70370"/>
                </a:cubicBezTo>
                <a:cubicBezTo>
                  <a:pt x="6136178" y="69830"/>
                  <a:pt x="6136023" y="69290"/>
                  <a:pt x="6135946" y="68751"/>
                </a:cubicBezTo>
                <a:cubicBezTo>
                  <a:pt x="6144815" y="68751"/>
                  <a:pt x="6153760" y="68751"/>
                  <a:pt x="6162628" y="68751"/>
                </a:cubicBezTo>
                <a:close/>
                <a:moveTo>
                  <a:pt x="5317054" y="68288"/>
                </a:moveTo>
                <a:cubicBezTo>
                  <a:pt x="5317439" y="69213"/>
                  <a:pt x="5317748" y="70216"/>
                  <a:pt x="5318134" y="71141"/>
                </a:cubicBezTo>
                <a:cubicBezTo>
                  <a:pt x="5281812" y="72298"/>
                  <a:pt x="5245414" y="73455"/>
                  <a:pt x="5209092" y="74611"/>
                </a:cubicBezTo>
                <a:cubicBezTo>
                  <a:pt x="5208475" y="73455"/>
                  <a:pt x="5207858" y="72375"/>
                  <a:pt x="5207241" y="71218"/>
                </a:cubicBezTo>
                <a:cubicBezTo>
                  <a:pt x="5243794" y="70293"/>
                  <a:pt x="5280424" y="69290"/>
                  <a:pt x="5317054" y="68288"/>
                </a:cubicBezTo>
                <a:close/>
                <a:moveTo>
                  <a:pt x="4265195" y="69213"/>
                </a:moveTo>
                <a:cubicBezTo>
                  <a:pt x="4264270" y="69290"/>
                  <a:pt x="4263421" y="69368"/>
                  <a:pt x="4262496" y="69445"/>
                </a:cubicBezTo>
                <a:cubicBezTo>
                  <a:pt x="4135640" y="70756"/>
                  <a:pt x="4008862" y="72067"/>
                  <a:pt x="3882007" y="73378"/>
                </a:cubicBezTo>
                <a:cubicBezTo>
                  <a:pt x="3881930" y="71989"/>
                  <a:pt x="3881853" y="70601"/>
                  <a:pt x="3881776" y="69213"/>
                </a:cubicBezTo>
                <a:cubicBezTo>
                  <a:pt x="4009556" y="69213"/>
                  <a:pt x="4137414" y="69213"/>
                  <a:pt x="4265195" y="69213"/>
                </a:cubicBezTo>
                <a:close/>
                <a:moveTo>
                  <a:pt x="3757156" y="71912"/>
                </a:moveTo>
                <a:cubicBezTo>
                  <a:pt x="3770883" y="71912"/>
                  <a:pt x="3784610" y="71912"/>
                  <a:pt x="3798336" y="71912"/>
                </a:cubicBezTo>
                <a:cubicBezTo>
                  <a:pt x="3798336" y="72298"/>
                  <a:pt x="3798259" y="72684"/>
                  <a:pt x="3798259" y="73069"/>
                </a:cubicBezTo>
                <a:cubicBezTo>
                  <a:pt x="3784533" y="73069"/>
                  <a:pt x="3770806" y="73069"/>
                  <a:pt x="3757080" y="73069"/>
                </a:cubicBezTo>
                <a:cubicBezTo>
                  <a:pt x="3757080" y="72606"/>
                  <a:pt x="3757080" y="72221"/>
                  <a:pt x="3757156" y="71912"/>
                </a:cubicBezTo>
                <a:close/>
                <a:moveTo>
                  <a:pt x="1670944" y="65666"/>
                </a:moveTo>
                <a:cubicBezTo>
                  <a:pt x="1670713" y="66823"/>
                  <a:pt x="1670481" y="68057"/>
                  <a:pt x="1670173" y="69213"/>
                </a:cubicBezTo>
                <a:cubicBezTo>
                  <a:pt x="1609174" y="70910"/>
                  <a:pt x="1548330" y="71527"/>
                  <a:pt x="1488257" y="65666"/>
                </a:cubicBezTo>
                <a:cubicBezTo>
                  <a:pt x="1549101" y="65666"/>
                  <a:pt x="1610023" y="65666"/>
                  <a:pt x="1670944" y="65666"/>
                </a:cubicBezTo>
                <a:close/>
                <a:moveTo>
                  <a:pt x="1294234" y="65203"/>
                </a:moveTo>
                <a:cubicBezTo>
                  <a:pt x="1344128" y="65203"/>
                  <a:pt x="1393944" y="65203"/>
                  <a:pt x="1443838" y="65203"/>
                </a:cubicBezTo>
                <a:cubicBezTo>
                  <a:pt x="1443838" y="65743"/>
                  <a:pt x="1443761" y="66283"/>
                  <a:pt x="1443761" y="66900"/>
                </a:cubicBezTo>
                <a:cubicBezTo>
                  <a:pt x="1393327" y="66900"/>
                  <a:pt x="1342894" y="66900"/>
                  <a:pt x="1292460" y="66900"/>
                </a:cubicBezTo>
                <a:cubicBezTo>
                  <a:pt x="1293000" y="66283"/>
                  <a:pt x="1293617" y="65743"/>
                  <a:pt x="1294234" y="65203"/>
                </a:cubicBezTo>
                <a:close/>
              </a:path>
            </a:pathLst>
          </a:custGeom>
          <a:solidFill>
            <a:srgbClr val="E0DFE6"/>
          </a:solidFill>
          <a:ln w="77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1B3548"/>
              </a:solidFill>
              <a:effectLst/>
              <a:uLnTx/>
              <a:uFillTx/>
              <a:cs typeface="Arial"/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FC5AD2E6-4B39-4D29-B85B-132A2E701E6D}"/>
              </a:ext>
            </a:extLst>
          </p:cNvPr>
          <p:cNvCxnSpPr>
            <a:cxnSpLocks/>
          </p:cNvCxnSpPr>
          <p:nvPr/>
        </p:nvCxnSpPr>
        <p:spPr bwMode="gray">
          <a:xfrm>
            <a:off x="4320886" y="2126400"/>
            <a:ext cx="0" cy="904142"/>
          </a:xfrm>
          <a:prstGeom prst="line">
            <a:avLst/>
          </a:prstGeom>
          <a:ln w="6350">
            <a:solidFill>
              <a:srgbClr val="E0DFE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70E83866-A0C2-4969-A9B1-5D397DBFF233}"/>
              </a:ext>
            </a:extLst>
          </p:cNvPr>
          <p:cNvCxnSpPr>
            <a:cxnSpLocks/>
          </p:cNvCxnSpPr>
          <p:nvPr/>
        </p:nvCxnSpPr>
        <p:spPr bwMode="gray">
          <a:xfrm>
            <a:off x="4320886" y="3409422"/>
            <a:ext cx="0" cy="904142"/>
          </a:xfrm>
          <a:prstGeom prst="line">
            <a:avLst/>
          </a:prstGeom>
          <a:ln w="6350">
            <a:solidFill>
              <a:srgbClr val="E0DFE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64692312-2264-4698-926C-3A13BF42D2AF}"/>
              </a:ext>
            </a:extLst>
          </p:cNvPr>
          <p:cNvCxnSpPr>
            <a:cxnSpLocks/>
          </p:cNvCxnSpPr>
          <p:nvPr/>
        </p:nvCxnSpPr>
        <p:spPr bwMode="gray">
          <a:xfrm>
            <a:off x="4320886" y="4854714"/>
            <a:ext cx="0" cy="904142"/>
          </a:xfrm>
          <a:prstGeom prst="line">
            <a:avLst/>
          </a:prstGeom>
          <a:ln w="6350">
            <a:solidFill>
              <a:srgbClr val="E0DFE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BA123391-8DC4-478B-A4B4-AC7CE2FED797}"/>
              </a:ext>
            </a:extLst>
          </p:cNvPr>
          <p:cNvCxnSpPr>
            <a:cxnSpLocks/>
          </p:cNvCxnSpPr>
          <p:nvPr/>
        </p:nvCxnSpPr>
        <p:spPr bwMode="gray">
          <a:xfrm>
            <a:off x="7838786" y="2126400"/>
            <a:ext cx="0" cy="904142"/>
          </a:xfrm>
          <a:prstGeom prst="line">
            <a:avLst/>
          </a:prstGeom>
          <a:ln w="6350">
            <a:solidFill>
              <a:srgbClr val="E0DFE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9CAD471-41E9-41E6-B424-73628E5306D4}"/>
              </a:ext>
            </a:extLst>
          </p:cNvPr>
          <p:cNvCxnSpPr>
            <a:cxnSpLocks/>
          </p:cNvCxnSpPr>
          <p:nvPr/>
        </p:nvCxnSpPr>
        <p:spPr bwMode="gray">
          <a:xfrm>
            <a:off x="7838786" y="3409422"/>
            <a:ext cx="0" cy="904142"/>
          </a:xfrm>
          <a:prstGeom prst="line">
            <a:avLst/>
          </a:prstGeom>
          <a:ln w="6350">
            <a:solidFill>
              <a:srgbClr val="E0DFE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68C68342-02D3-4109-96EE-DF5CF74C3931}"/>
              </a:ext>
            </a:extLst>
          </p:cNvPr>
          <p:cNvCxnSpPr>
            <a:cxnSpLocks/>
          </p:cNvCxnSpPr>
          <p:nvPr/>
        </p:nvCxnSpPr>
        <p:spPr bwMode="gray">
          <a:xfrm>
            <a:off x="7838786" y="4854714"/>
            <a:ext cx="0" cy="904142"/>
          </a:xfrm>
          <a:prstGeom prst="line">
            <a:avLst/>
          </a:prstGeom>
          <a:ln w="6350">
            <a:solidFill>
              <a:srgbClr val="E0DFE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738BB36C-56CC-4129-BB77-62D40CAFC34A}"/>
              </a:ext>
            </a:extLst>
          </p:cNvPr>
          <p:cNvCxnSpPr>
            <a:cxnSpLocks/>
          </p:cNvCxnSpPr>
          <p:nvPr/>
        </p:nvCxnSpPr>
        <p:spPr bwMode="gray">
          <a:xfrm>
            <a:off x="9400886" y="2126400"/>
            <a:ext cx="0" cy="904142"/>
          </a:xfrm>
          <a:prstGeom prst="line">
            <a:avLst/>
          </a:prstGeom>
          <a:ln w="6350">
            <a:solidFill>
              <a:srgbClr val="E0DFE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514D703F-9C24-420F-A3DA-808729553CC2}"/>
              </a:ext>
            </a:extLst>
          </p:cNvPr>
          <p:cNvCxnSpPr>
            <a:cxnSpLocks/>
          </p:cNvCxnSpPr>
          <p:nvPr/>
        </p:nvCxnSpPr>
        <p:spPr bwMode="gray">
          <a:xfrm>
            <a:off x="9400886" y="3409422"/>
            <a:ext cx="0" cy="904142"/>
          </a:xfrm>
          <a:prstGeom prst="line">
            <a:avLst/>
          </a:prstGeom>
          <a:ln w="6350">
            <a:solidFill>
              <a:srgbClr val="E0DFE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FB46A48-E785-4527-9B97-94C9982935CB}"/>
              </a:ext>
            </a:extLst>
          </p:cNvPr>
          <p:cNvCxnSpPr>
            <a:cxnSpLocks/>
          </p:cNvCxnSpPr>
          <p:nvPr/>
        </p:nvCxnSpPr>
        <p:spPr bwMode="gray">
          <a:xfrm>
            <a:off x="9400886" y="4854714"/>
            <a:ext cx="0" cy="904142"/>
          </a:xfrm>
          <a:prstGeom prst="line">
            <a:avLst/>
          </a:prstGeom>
          <a:ln w="6350">
            <a:solidFill>
              <a:srgbClr val="E0DFE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EC5527CA-E866-4E50-A111-BFBF4E7BF1BA}"/>
              </a:ext>
            </a:extLst>
          </p:cNvPr>
          <p:cNvCxnSpPr>
            <a:cxnSpLocks/>
          </p:cNvCxnSpPr>
          <p:nvPr/>
        </p:nvCxnSpPr>
        <p:spPr bwMode="gray">
          <a:xfrm>
            <a:off x="2815137" y="2569617"/>
            <a:ext cx="1037726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EF27424C-084C-42BC-8A34-19E86286EA6E}"/>
              </a:ext>
            </a:extLst>
          </p:cNvPr>
          <p:cNvCxnSpPr>
            <a:cxnSpLocks/>
          </p:cNvCxnSpPr>
          <p:nvPr/>
        </p:nvCxnSpPr>
        <p:spPr bwMode="gray">
          <a:xfrm>
            <a:off x="2841682" y="3845967"/>
            <a:ext cx="1037726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66CCBDF9-9785-4DE3-9765-E47865336A7D}"/>
              </a:ext>
            </a:extLst>
          </p:cNvPr>
          <p:cNvCxnSpPr>
            <a:cxnSpLocks/>
          </p:cNvCxnSpPr>
          <p:nvPr/>
        </p:nvCxnSpPr>
        <p:spPr bwMode="gray">
          <a:xfrm>
            <a:off x="2815137" y="5293766"/>
            <a:ext cx="1366338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tangle 134">
            <a:extLst>
              <a:ext uri="{FF2B5EF4-FFF2-40B4-BE49-F238E27FC236}">
                <a16:creationId xmlns:a16="http://schemas.microsoft.com/office/drawing/2014/main" id="{090D8974-CB41-4EB3-ACCD-D076BEAE7106}"/>
              </a:ext>
            </a:extLst>
          </p:cNvPr>
          <p:cNvSpPr/>
          <p:nvPr/>
        </p:nvSpPr>
        <p:spPr>
          <a:xfrm>
            <a:off x="664865" y="1989952"/>
            <a:ext cx="1871234" cy="12346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/>
            </a:endParaRPr>
          </a:p>
        </p:txBody>
      </p:sp>
      <p:grpSp>
        <p:nvGrpSpPr>
          <p:cNvPr id="139" name="Graphic 49">
            <a:extLst>
              <a:ext uri="{FF2B5EF4-FFF2-40B4-BE49-F238E27FC236}">
                <a16:creationId xmlns:a16="http://schemas.microsoft.com/office/drawing/2014/main" id="{22927D10-A081-4A7D-900B-786AD71353C0}"/>
              </a:ext>
            </a:extLst>
          </p:cNvPr>
          <p:cNvGrpSpPr/>
          <p:nvPr/>
        </p:nvGrpSpPr>
        <p:grpSpPr>
          <a:xfrm>
            <a:off x="804505" y="2375747"/>
            <a:ext cx="463031" cy="463031"/>
            <a:chOff x="3656806" y="990600"/>
            <a:chExt cx="4876800" cy="4876800"/>
          </a:xfrm>
          <a:solidFill>
            <a:schemeClr val="bg1"/>
          </a:solidFill>
        </p:grpSpPr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EF7E979C-F5C1-4CA6-BB84-8239BDBFA6C9}"/>
                </a:ext>
              </a:extLst>
            </p:cNvPr>
            <p:cNvSpPr/>
            <p:nvPr/>
          </p:nvSpPr>
          <p:spPr>
            <a:xfrm>
              <a:off x="6000051" y="1371695"/>
              <a:ext cx="190309" cy="190295"/>
            </a:xfrm>
            <a:custGeom>
              <a:avLst/>
              <a:gdLst>
                <a:gd name="connsiteX0" fmla="*/ 95155 w 190309"/>
                <a:gd name="connsiteY0" fmla="*/ 0 h 190295"/>
                <a:gd name="connsiteX1" fmla="*/ 0 w 190309"/>
                <a:gd name="connsiteY1" fmla="*/ 95155 h 190295"/>
                <a:gd name="connsiteX2" fmla="*/ 85630 w 190309"/>
                <a:gd name="connsiteY2" fmla="*/ 189814 h 190295"/>
                <a:gd name="connsiteX3" fmla="*/ 190309 w 190309"/>
                <a:gd name="connsiteY3" fmla="*/ 95155 h 190295"/>
                <a:gd name="connsiteX4" fmla="*/ 95155 w 190309"/>
                <a:gd name="connsiteY4" fmla="*/ 0 h 190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309" h="190295" fill="none" extrusionOk="0">
                  <a:moveTo>
                    <a:pt x="95155" y="0"/>
                  </a:moveTo>
                  <a:cubicBezTo>
                    <a:pt x="45838" y="-4823"/>
                    <a:pt x="6787" y="35527"/>
                    <a:pt x="0" y="95155"/>
                  </a:cubicBezTo>
                  <a:cubicBezTo>
                    <a:pt x="538" y="144981"/>
                    <a:pt x="38919" y="193534"/>
                    <a:pt x="85630" y="189814"/>
                  </a:cubicBezTo>
                  <a:cubicBezTo>
                    <a:pt x="136565" y="201472"/>
                    <a:pt x="190471" y="143191"/>
                    <a:pt x="190309" y="95155"/>
                  </a:cubicBezTo>
                  <a:cubicBezTo>
                    <a:pt x="187891" y="40167"/>
                    <a:pt x="156703" y="-424"/>
                    <a:pt x="95155" y="0"/>
                  </a:cubicBezTo>
                  <a:close/>
                </a:path>
                <a:path w="190309" h="190295" stroke="0" extrusionOk="0">
                  <a:moveTo>
                    <a:pt x="95155" y="0"/>
                  </a:moveTo>
                  <a:cubicBezTo>
                    <a:pt x="50627" y="5361"/>
                    <a:pt x="163" y="41868"/>
                    <a:pt x="0" y="95155"/>
                  </a:cubicBezTo>
                  <a:cubicBezTo>
                    <a:pt x="3280" y="146001"/>
                    <a:pt x="34105" y="188285"/>
                    <a:pt x="85630" y="189814"/>
                  </a:cubicBezTo>
                  <a:cubicBezTo>
                    <a:pt x="149676" y="189791"/>
                    <a:pt x="190457" y="152327"/>
                    <a:pt x="190309" y="95155"/>
                  </a:cubicBezTo>
                  <a:cubicBezTo>
                    <a:pt x="184344" y="41123"/>
                    <a:pt x="142970" y="8396"/>
                    <a:pt x="95155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3441482169">
                    <a:custGeom>
                      <a:avLst/>
                      <a:gdLst>
                        <a:gd name="connsiteX0" fmla="*/ 95155 w 190309"/>
                        <a:gd name="connsiteY0" fmla="*/ 0 h 190295"/>
                        <a:gd name="connsiteX1" fmla="*/ 0 w 190309"/>
                        <a:gd name="connsiteY1" fmla="*/ 95155 h 190295"/>
                        <a:gd name="connsiteX2" fmla="*/ 85630 w 190309"/>
                        <a:gd name="connsiteY2" fmla="*/ 189814 h 190295"/>
                        <a:gd name="connsiteX3" fmla="*/ 190309 w 190309"/>
                        <a:gd name="connsiteY3" fmla="*/ 95155 h 190295"/>
                        <a:gd name="connsiteX4" fmla="*/ 95155 w 190309"/>
                        <a:gd name="connsiteY4" fmla="*/ 0 h 19029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0309" h="190295">
                          <a:moveTo>
                            <a:pt x="95155" y="0"/>
                          </a:moveTo>
                          <a:cubicBezTo>
                            <a:pt x="42405" y="0"/>
                            <a:pt x="0" y="42482"/>
                            <a:pt x="0" y="95155"/>
                          </a:cubicBezTo>
                          <a:cubicBezTo>
                            <a:pt x="0" y="144180"/>
                            <a:pt x="36881" y="184976"/>
                            <a:pt x="85630" y="189814"/>
                          </a:cubicBezTo>
                          <a:cubicBezTo>
                            <a:pt x="142065" y="195415"/>
                            <a:pt x="190309" y="151457"/>
                            <a:pt x="190309" y="95155"/>
                          </a:cubicBezTo>
                          <a:cubicBezTo>
                            <a:pt x="190309" y="42405"/>
                            <a:pt x="147828" y="0"/>
                            <a:pt x="95155" y="0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E0A61DD6-FE8B-490C-8FDA-FA1CB5B6DA35}"/>
                </a:ext>
              </a:extLst>
            </p:cNvPr>
            <p:cNvSpPr/>
            <p:nvPr/>
          </p:nvSpPr>
          <p:spPr>
            <a:xfrm>
              <a:off x="4094956" y="990600"/>
              <a:ext cx="4000500" cy="4876800"/>
            </a:xfrm>
            <a:custGeom>
              <a:avLst/>
              <a:gdLst>
                <a:gd name="connsiteX0" fmla="*/ 3905250 w 4000500"/>
                <a:gd name="connsiteY0" fmla="*/ 571500 h 4876800"/>
                <a:gd name="connsiteX1" fmla="*/ 3429000 w 4000500"/>
                <a:gd name="connsiteY1" fmla="*/ 95250 h 4876800"/>
                <a:gd name="connsiteX2" fmla="*/ 3333750 w 4000500"/>
                <a:gd name="connsiteY2" fmla="*/ 0 h 4876800"/>
                <a:gd name="connsiteX3" fmla="*/ 666750 w 4000500"/>
                <a:gd name="connsiteY3" fmla="*/ 0 h 4876800"/>
                <a:gd name="connsiteX4" fmla="*/ 571500 w 4000500"/>
                <a:gd name="connsiteY4" fmla="*/ 95250 h 4876800"/>
                <a:gd name="connsiteX5" fmla="*/ 95250 w 4000500"/>
                <a:gd name="connsiteY5" fmla="*/ 571500 h 4876800"/>
                <a:gd name="connsiteX6" fmla="*/ 0 w 4000500"/>
                <a:gd name="connsiteY6" fmla="*/ 666750 h 4876800"/>
                <a:gd name="connsiteX7" fmla="*/ 0 w 4000500"/>
                <a:gd name="connsiteY7" fmla="*/ 2221135 h 4876800"/>
                <a:gd name="connsiteX8" fmla="*/ 1972894 w 4000500"/>
                <a:gd name="connsiteY8" fmla="*/ 4872790 h 4876800"/>
                <a:gd name="connsiteX9" fmla="*/ 2000250 w 4000500"/>
                <a:gd name="connsiteY9" fmla="*/ 4876800 h 4876800"/>
                <a:gd name="connsiteX10" fmla="*/ 2027615 w 4000500"/>
                <a:gd name="connsiteY10" fmla="*/ 4872781 h 4876800"/>
                <a:gd name="connsiteX11" fmla="*/ 4000500 w 4000500"/>
                <a:gd name="connsiteY11" fmla="*/ 2221135 h 4876800"/>
                <a:gd name="connsiteX12" fmla="*/ 4000500 w 4000500"/>
                <a:gd name="connsiteY12" fmla="*/ 666750 h 4876800"/>
                <a:gd name="connsiteX13" fmla="*/ 3905250 w 4000500"/>
                <a:gd name="connsiteY13" fmla="*/ 571500 h 4876800"/>
                <a:gd name="connsiteX14" fmla="*/ 3810000 w 4000500"/>
                <a:gd name="connsiteY14" fmla="*/ 2221135 h 4876800"/>
                <a:gd name="connsiteX15" fmla="*/ 2000250 w 4000500"/>
                <a:gd name="connsiteY15" fmla="*/ 4681947 h 4876800"/>
                <a:gd name="connsiteX16" fmla="*/ 190500 w 4000500"/>
                <a:gd name="connsiteY16" fmla="*/ 2221135 h 4876800"/>
                <a:gd name="connsiteX17" fmla="*/ 190500 w 4000500"/>
                <a:gd name="connsiteY17" fmla="*/ 755218 h 4876800"/>
                <a:gd name="connsiteX18" fmla="*/ 755218 w 4000500"/>
                <a:gd name="connsiteY18" fmla="*/ 190500 h 4876800"/>
                <a:gd name="connsiteX19" fmla="*/ 3245282 w 4000500"/>
                <a:gd name="connsiteY19" fmla="*/ 190500 h 4876800"/>
                <a:gd name="connsiteX20" fmla="*/ 3810000 w 4000500"/>
                <a:gd name="connsiteY20" fmla="*/ 755218 h 4876800"/>
                <a:gd name="connsiteX21" fmla="*/ 3810000 w 4000500"/>
                <a:gd name="connsiteY21" fmla="*/ 2221135 h 487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000500" h="4876800" fill="none" extrusionOk="0">
                  <a:moveTo>
                    <a:pt x="3905250" y="571500"/>
                  </a:moveTo>
                  <a:cubicBezTo>
                    <a:pt x="3633005" y="559687"/>
                    <a:pt x="3386237" y="365030"/>
                    <a:pt x="3429000" y="95250"/>
                  </a:cubicBezTo>
                  <a:cubicBezTo>
                    <a:pt x="3430179" y="36864"/>
                    <a:pt x="3383901" y="4780"/>
                    <a:pt x="3333750" y="0"/>
                  </a:cubicBezTo>
                  <a:cubicBezTo>
                    <a:pt x="2920656" y="-122498"/>
                    <a:pt x="1038120" y="149524"/>
                    <a:pt x="666750" y="0"/>
                  </a:cubicBezTo>
                  <a:cubicBezTo>
                    <a:pt x="623581" y="-3205"/>
                    <a:pt x="569471" y="39234"/>
                    <a:pt x="571500" y="95250"/>
                  </a:cubicBezTo>
                  <a:cubicBezTo>
                    <a:pt x="590358" y="369792"/>
                    <a:pt x="356376" y="552605"/>
                    <a:pt x="95250" y="571500"/>
                  </a:cubicBezTo>
                  <a:cubicBezTo>
                    <a:pt x="42507" y="570623"/>
                    <a:pt x="4995" y="616124"/>
                    <a:pt x="0" y="666750"/>
                  </a:cubicBezTo>
                  <a:cubicBezTo>
                    <a:pt x="-79926" y="1270385"/>
                    <a:pt x="53260" y="1663962"/>
                    <a:pt x="0" y="2221135"/>
                  </a:cubicBezTo>
                  <a:cubicBezTo>
                    <a:pt x="64476" y="3423318"/>
                    <a:pt x="838873" y="4666123"/>
                    <a:pt x="1972894" y="4872790"/>
                  </a:cubicBezTo>
                  <a:cubicBezTo>
                    <a:pt x="1982077" y="4876441"/>
                    <a:pt x="1990140" y="4876680"/>
                    <a:pt x="2000250" y="4876800"/>
                  </a:cubicBezTo>
                  <a:cubicBezTo>
                    <a:pt x="2008862" y="4876039"/>
                    <a:pt x="2018606" y="4876444"/>
                    <a:pt x="2027615" y="4872781"/>
                  </a:cubicBezTo>
                  <a:cubicBezTo>
                    <a:pt x="3002298" y="4621526"/>
                    <a:pt x="4159169" y="3308695"/>
                    <a:pt x="4000500" y="2221135"/>
                  </a:cubicBezTo>
                  <a:cubicBezTo>
                    <a:pt x="3914578" y="1482871"/>
                    <a:pt x="4075617" y="934734"/>
                    <a:pt x="4000500" y="666750"/>
                  </a:cubicBezTo>
                  <a:cubicBezTo>
                    <a:pt x="3998932" y="610263"/>
                    <a:pt x="3948508" y="569217"/>
                    <a:pt x="3905250" y="571500"/>
                  </a:cubicBezTo>
                  <a:close/>
                  <a:moveTo>
                    <a:pt x="3810000" y="2221135"/>
                  </a:moveTo>
                  <a:cubicBezTo>
                    <a:pt x="3613184" y="3369219"/>
                    <a:pt x="2979338" y="4342653"/>
                    <a:pt x="2000250" y="4681947"/>
                  </a:cubicBezTo>
                  <a:cubicBezTo>
                    <a:pt x="1031933" y="4309085"/>
                    <a:pt x="297747" y="3319397"/>
                    <a:pt x="190500" y="2221135"/>
                  </a:cubicBezTo>
                  <a:cubicBezTo>
                    <a:pt x="76814" y="1630929"/>
                    <a:pt x="238131" y="1201450"/>
                    <a:pt x="190500" y="755218"/>
                  </a:cubicBezTo>
                  <a:cubicBezTo>
                    <a:pt x="463011" y="741796"/>
                    <a:pt x="673407" y="501239"/>
                    <a:pt x="755218" y="190500"/>
                  </a:cubicBezTo>
                  <a:cubicBezTo>
                    <a:pt x="1870098" y="213238"/>
                    <a:pt x="2201005" y="199957"/>
                    <a:pt x="3245282" y="190500"/>
                  </a:cubicBezTo>
                  <a:cubicBezTo>
                    <a:pt x="3276783" y="509776"/>
                    <a:pt x="3573928" y="697411"/>
                    <a:pt x="3810000" y="755218"/>
                  </a:cubicBezTo>
                  <a:cubicBezTo>
                    <a:pt x="3792866" y="1077073"/>
                    <a:pt x="3907730" y="1909660"/>
                    <a:pt x="3810000" y="2221135"/>
                  </a:cubicBezTo>
                  <a:close/>
                </a:path>
                <a:path w="4000500" h="4876800" stroke="0" extrusionOk="0">
                  <a:moveTo>
                    <a:pt x="3905250" y="571500"/>
                  </a:moveTo>
                  <a:cubicBezTo>
                    <a:pt x="3645328" y="528663"/>
                    <a:pt x="3420057" y="364857"/>
                    <a:pt x="3429000" y="95250"/>
                  </a:cubicBezTo>
                  <a:cubicBezTo>
                    <a:pt x="3427392" y="42396"/>
                    <a:pt x="3387578" y="-290"/>
                    <a:pt x="3333750" y="0"/>
                  </a:cubicBezTo>
                  <a:cubicBezTo>
                    <a:pt x="2171581" y="-7992"/>
                    <a:pt x="1541185" y="16997"/>
                    <a:pt x="666750" y="0"/>
                  </a:cubicBezTo>
                  <a:cubicBezTo>
                    <a:pt x="620889" y="1847"/>
                    <a:pt x="574911" y="44759"/>
                    <a:pt x="571500" y="95250"/>
                  </a:cubicBezTo>
                  <a:cubicBezTo>
                    <a:pt x="577899" y="359725"/>
                    <a:pt x="334253" y="578097"/>
                    <a:pt x="95250" y="571500"/>
                  </a:cubicBezTo>
                  <a:cubicBezTo>
                    <a:pt x="39764" y="570374"/>
                    <a:pt x="3300" y="613085"/>
                    <a:pt x="0" y="666750"/>
                  </a:cubicBezTo>
                  <a:cubicBezTo>
                    <a:pt x="45588" y="1238659"/>
                    <a:pt x="-74360" y="1803654"/>
                    <a:pt x="0" y="2221135"/>
                  </a:cubicBezTo>
                  <a:cubicBezTo>
                    <a:pt x="103604" y="3397197"/>
                    <a:pt x="761386" y="4508206"/>
                    <a:pt x="1972894" y="4872790"/>
                  </a:cubicBezTo>
                  <a:cubicBezTo>
                    <a:pt x="1980499" y="4874690"/>
                    <a:pt x="1992199" y="4877544"/>
                    <a:pt x="2000250" y="4876800"/>
                  </a:cubicBezTo>
                  <a:cubicBezTo>
                    <a:pt x="2009100" y="4876993"/>
                    <a:pt x="2017036" y="4875632"/>
                    <a:pt x="2027615" y="4872781"/>
                  </a:cubicBezTo>
                  <a:cubicBezTo>
                    <a:pt x="3019481" y="4684982"/>
                    <a:pt x="4045912" y="3555628"/>
                    <a:pt x="4000500" y="2221135"/>
                  </a:cubicBezTo>
                  <a:cubicBezTo>
                    <a:pt x="3940630" y="2064859"/>
                    <a:pt x="3988383" y="1401477"/>
                    <a:pt x="4000500" y="666750"/>
                  </a:cubicBezTo>
                  <a:cubicBezTo>
                    <a:pt x="3999951" y="613195"/>
                    <a:pt x="3956336" y="570387"/>
                    <a:pt x="3905250" y="571500"/>
                  </a:cubicBezTo>
                  <a:close/>
                  <a:moveTo>
                    <a:pt x="3810000" y="2221135"/>
                  </a:moveTo>
                  <a:cubicBezTo>
                    <a:pt x="3709930" y="3545274"/>
                    <a:pt x="3245125" y="4382607"/>
                    <a:pt x="2000250" y="4681947"/>
                  </a:cubicBezTo>
                  <a:cubicBezTo>
                    <a:pt x="914010" y="4292278"/>
                    <a:pt x="288463" y="3269837"/>
                    <a:pt x="190500" y="2221135"/>
                  </a:cubicBezTo>
                  <a:cubicBezTo>
                    <a:pt x="66974" y="1958245"/>
                    <a:pt x="168172" y="919376"/>
                    <a:pt x="190500" y="755218"/>
                  </a:cubicBezTo>
                  <a:cubicBezTo>
                    <a:pt x="479676" y="755883"/>
                    <a:pt x="706918" y="493709"/>
                    <a:pt x="755218" y="190500"/>
                  </a:cubicBezTo>
                  <a:cubicBezTo>
                    <a:pt x="1762133" y="266930"/>
                    <a:pt x="2115926" y="322667"/>
                    <a:pt x="3245282" y="190500"/>
                  </a:cubicBezTo>
                  <a:cubicBezTo>
                    <a:pt x="3281319" y="467333"/>
                    <a:pt x="3531095" y="727054"/>
                    <a:pt x="3810000" y="755218"/>
                  </a:cubicBezTo>
                  <a:cubicBezTo>
                    <a:pt x="3934158" y="986494"/>
                    <a:pt x="3755441" y="1613004"/>
                    <a:pt x="3810000" y="222113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3145140486">
                    <a:custGeom>
                      <a:avLst/>
                      <a:gdLst>
                        <a:gd name="connsiteX0" fmla="*/ 3905250 w 4000500"/>
                        <a:gd name="connsiteY0" fmla="*/ 571500 h 4876800"/>
                        <a:gd name="connsiteX1" fmla="*/ 3429000 w 4000500"/>
                        <a:gd name="connsiteY1" fmla="*/ 95250 h 4876800"/>
                        <a:gd name="connsiteX2" fmla="*/ 3333750 w 4000500"/>
                        <a:gd name="connsiteY2" fmla="*/ 0 h 4876800"/>
                        <a:gd name="connsiteX3" fmla="*/ 666750 w 4000500"/>
                        <a:gd name="connsiteY3" fmla="*/ 0 h 4876800"/>
                        <a:gd name="connsiteX4" fmla="*/ 571500 w 4000500"/>
                        <a:gd name="connsiteY4" fmla="*/ 95250 h 4876800"/>
                        <a:gd name="connsiteX5" fmla="*/ 95250 w 4000500"/>
                        <a:gd name="connsiteY5" fmla="*/ 571500 h 4876800"/>
                        <a:gd name="connsiteX6" fmla="*/ 0 w 4000500"/>
                        <a:gd name="connsiteY6" fmla="*/ 666750 h 4876800"/>
                        <a:gd name="connsiteX7" fmla="*/ 0 w 4000500"/>
                        <a:gd name="connsiteY7" fmla="*/ 2221135 h 4876800"/>
                        <a:gd name="connsiteX8" fmla="*/ 1972894 w 4000500"/>
                        <a:gd name="connsiteY8" fmla="*/ 4872790 h 4876800"/>
                        <a:gd name="connsiteX9" fmla="*/ 2000250 w 4000500"/>
                        <a:gd name="connsiteY9" fmla="*/ 4876800 h 4876800"/>
                        <a:gd name="connsiteX10" fmla="*/ 2027615 w 4000500"/>
                        <a:gd name="connsiteY10" fmla="*/ 4872781 h 4876800"/>
                        <a:gd name="connsiteX11" fmla="*/ 4000500 w 4000500"/>
                        <a:gd name="connsiteY11" fmla="*/ 2221135 h 4876800"/>
                        <a:gd name="connsiteX12" fmla="*/ 4000500 w 4000500"/>
                        <a:gd name="connsiteY12" fmla="*/ 666750 h 4876800"/>
                        <a:gd name="connsiteX13" fmla="*/ 3905250 w 4000500"/>
                        <a:gd name="connsiteY13" fmla="*/ 571500 h 4876800"/>
                        <a:gd name="connsiteX14" fmla="*/ 3810000 w 4000500"/>
                        <a:gd name="connsiteY14" fmla="*/ 2221135 h 4876800"/>
                        <a:gd name="connsiteX15" fmla="*/ 2000250 w 4000500"/>
                        <a:gd name="connsiteY15" fmla="*/ 4681947 h 4876800"/>
                        <a:gd name="connsiteX16" fmla="*/ 190500 w 4000500"/>
                        <a:gd name="connsiteY16" fmla="*/ 2221135 h 4876800"/>
                        <a:gd name="connsiteX17" fmla="*/ 190500 w 4000500"/>
                        <a:gd name="connsiteY17" fmla="*/ 755218 h 4876800"/>
                        <a:gd name="connsiteX18" fmla="*/ 755218 w 4000500"/>
                        <a:gd name="connsiteY18" fmla="*/ 190500 h 4876800"/>
                        <a:gd name="connsiteX19" fmla="*/ 3245282 w 4000500"/>
                        <a:gd name="connsiteY19" fmla="*/ 190500 h 4876800"/>
                        <a:gd name="connsiteX20" fmla="*/ 3810000 w 4000500"/>
                        <a:gd name="connsiteY20" fmla="*/ 755218 h 4876800"/>
                        <a:gd name="connsiteX21" fmla="*/ 3810000 w 4000500"/>
                        <a:gd name="connsiteY21" fmla="*/ 2221135 h 48768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</a:cxnLst>
                      <a:rect l="l" t="t" r="r" b="b"/>
                      <a:pathLst>
                        <a:path w="4000500" h="4876800">
                          <a:moveTo>
                            <a:pt x="3905250" y="571500"/>
                          </a:moveTo>
                          <a:cubicBezTo>
                            <a:pt x="3642646" y="571500"/>
                            <a:pt x="3429000" y="357854"/>
                            <a:pt x="3429000" y="95250"/>
                          </a:cubicBezTo>
                          <a:cubicBezTo>
                            <a:pt x="3429000" y="42653"/>
                            <a:pt x="3386347" y="0"/>
                            <a:pt x="3333750" y="0"/>
                          </a:cubicBezTo>
                          <a:lnTo>
                            <a:pt x="666750" y="0"/>
                          </a:lnTo>
                          <a:cubicBezTo>
                            <a:pt x="614153" y="0"/>
                            <a:pt x="571500" y="42653"/>
                            <a:pt x="571500" y="95250"/>
                          </a:cubicBezTo>
                          <a:cubicBezTo>
                            <a:pt x="571500" y="357854"/>
                            <a:pt x="357854" y="571500"/>
                            <a:pt x="95250" y="571500"/>
                          </a:cubicBezTo>
                          <a:cubicBezTo>
                            <a:pt x="42653" y="571500"/>
                            <a:pt x="0" y="614153"/>
                            <a:pt x="0" y="666750"/>
                          </a:cubicBezTo>
                          <a:lnTo>
                            <a:pt x="0" y="2221135"/>
                          </a:lnTo>
                          <a:cubicBezTo>
                            <a:pt x="0" y="3432496"/>
                            <a:pt x="789575" y="4517946"/>
                            <a:pt x="1972894" y="4872790"/>
                          </a:cubicBezTo>
                          <a:cubicBezTo>
                            <a:pt x="1981819" y="4875457"/>
                            <a:pt x="1991030" y="4876800"/>
                            <a:pt x="2000250" y="4876800"/>
                          </a:cubicBezTo>
                          <a:cubicBezTo>
                            <a:pt x="2009470" y="4876800"/>
                            <a:pt x="2018700" y="4875457"/>
                            <a:pt x="2027615" y="4872781"/>
                          </a:cubicBezTo>
                          <a:cubicBezTo>
                            <a:pt x="3185303" y="4525509"/>
                            <a:pt x="4000500" y="3458994"/>
                            <a:pt x="4000500" y="2221135"/>
                          </a:cubicBezTo>
                          <a:lnTo>
                            <a:pt x="4000500" y="666750"/>
                          </a:lnTo>
                          <a:cubicBezTo>
                            <a:pt x="4000500" y="614153"/>
                            <a:pt x="3957847" y="571500"/>
                            <a:pt x="3905250" y="571500"/>
                          </a:cubicBezTo>
                          <a:close/>
                          <a:moveTo>
                            <a:pt x="3810000" y="2221135"/>
                          </a:moveTo>
                          <a:cubicBezTo>
                            <a:pt x="3810000" y="3358877"/>
                            <a:pt x="3083995" y="4344181"/>
                            <a:pt x="2000250" y="4681947"/>
                          </a:cubicBezTo>
                          <a:cubicBezTo>
                            <a:pt x="925144" y="4346877"/>
                            <a:pt x="190500" y="3352648"/>
                            <a:pt x="190500" y="2221135"/>
                          </a:cubicBezTo>
                          <a:lnTo>
                            <a:pt x="190500" y="755218"/>
                          </a:lnTo>
                          <a:cubicBezTo>
                            <a:pt x="482070" y="713327"/>
                            <a:pt x="713327" y="482070"/>
                            <a:pt x="755218" y="190500"/>
                          </a:cubicBezTo>
                          <a:lnTo>
                            <a:pt x="3245282" y="190500"/>
                          </a:lnTo>
                          <a:cubicBezTo>
                            <a:pt x="3287173" y="482070"/>
                            <a:pt x="3518430" y="713327"/>
                            <a:pt x="3810000" y="755218"/>
                          </a:cubicBezTo>
                          <a:lnTo>
                            <a:pt x="3810000" y="2221135"/>
                          </a:ln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AE0F7AA2-B075-4D75-A72C-25E5A1125F20}"/>
                </a:ext>
              </a:extLst>
            </p:cNvPr>
            <p:cNvSpPr/>
            <p:nvPr/>
          </p:nvSpPr>
          <p:spPr>
            <a:xfrm>
              <a:off x="4475956" y="1371600"/>
              <a:ext cx="3238500" cy="4095073"/>
            </a:xfrm>
            <a:custGeom>
              <a:avLst/>
              <a:gdLst>
                <a:gd name="connsiteX0" fmla="*/ 3181464 w 3238500"/>
                <a:gd name="connsiteY0" fmla="*/ 499967 h 4095073"/>
                <a:gd name="connsiteX1" fmla="*/ 2738533 w 3238500"/>
                <a:gd name="connsiteY1" fmla="*/ 57036 h 4095073"/>
                <a:gd name="connsiteX2" fmla="*/ 2651284 w 3238500"/>
                <a:gd name="connsiteY2" fmla="*/ 0 h 4095073"/>
                <a:gd name="connsiteX3" fmla="*/ 2000060 w 3238500"/>
                <a:gd name="connsiteY3" fmla="*/ 0 h 4095073"/>
                <a:gd name="connsiteX4" fmla="*/ 1904810 w 3238500"/>
                <a:gd name="connsiteY4" fmla="*/ 95250 h 4095073"/>
                <a:gd name="connsiteX5" fmla="*/ 2000060 w 3238500"/>
                <a:gd name="connsiteY5" fmla="*/ 190500 h 4095073"/>
                <a:gd name="connsiteX6" fmla="*/ 2591057 w 3238500"/>
                <a:gd name="connsiteY6" fmla="*/ 190500 h 4095073"/>
                <a:gd name="connsiteX7" fmla="*/ 3048000 w 3238500"/>
                <a:gd name="connsiteY7" fmla="*/ 647443 h 4095073"/>
                <a:gd name="connsiteX8" fmla="*/ 3048000 w 3238500"/>
                <a:gd name="connsiteY8" fmla="*/ 1840135 h 4095073"/>
                <a:gd name="connsiteX9" fmla="*/ 1619250 w 3238500"/>
                <a:gd name="connsiteY9" fmla="*/ 3898526 h 4095073"/>
                <a:gd name="connsiteX10" fmla="*/ 190500 w 3238500"/>
                <a:gd name="connsiteY10" fmla="*/ 1840135 h 4095073"/>
                <a:gd name="connsiteX11" fmla="*/ 190500 w 3238500"/>
                <a:gd name="connsiteY11" fmla="*/ 647443 h 4095073"/>
                <a:gd name="connsiteX12" fmla="*/ 647443 w 3238500"/>
                <a:gd name="connsiteY12" fmla="*/ 190500 h 4095073"/>
                <a:gd name="connsiteX13" fmla="*/ 1238441 w 3238500"/>
                <a:gd name="connsiteY13" fmla="*/ 190500 h 4095073"/>
                <a:gd name="connsiteX14" fmla="*/ 1333691 w 3238500"/>
                <a:gd name="connsiteY14" fmla="*/ 95250 h 4095073"/>
                <a:gd name="connsiteX15" fmla="*/ 1238441 w 3238500"/>
                <a:gd name="connsiteY15" fmla="*/ 0 h 4095073"/>
                <a:gd name="connsiteX16" fmla="*/ 587216 w 3238500"/>
                <a:gd name="connsiteY16" fmla="*/ 0 h 4095073"/>
                <a:gd name="connsiteX17" fmla="*/ 499967 w 3238500"/>
                <a:gd name="connsiteY17" fmla="*/ 57036 h 4095073"/>
                <a:gd name="connsiteX18" fmla="*/ 57036 w 3238500"/>
                <a:gd name="connsiteY18" fmla="*/ 499967 h 4095073"/>
                <a:gd name="connsiteX19" fmla="*/ 0 w 3238500"/>
                <a:gd name="connsiteY19" fmla="*/ 587216 h 4095073"/>
                <a:gd name="connsiteX20" fmla="*/ 0 w 3238500"/>
                <a:gd name="connsiteY20" fmla="*/ 1840135 h 4095073"/>
                <a:gd name="connsiteX21" fmla="*/ 1587475 w 3238500"/>
                <a:gd name="connsiteY21" fmla="*/ 4089616 h 4095073"/>
                <a:gd name="connsiteX22" fmla="*/ 1619250 w 3238500"/>
                <a:gd name="connsiteY22" fmla="*/ 4095074 h 4095073"/>
                <a:gd name="connsiteX23" fmla="*/ 1651025 w 3238500"/>
                <a:gd name="connsiteY23" fmla="*/ 4089616 h 4095073"/>
                <a:gd name="connsiteX24" fmla="*/ 3238500 w 3238500"/>
                <a:gd name="connsiteY24" fmla="*/ 1840135 h 4095073"/>
                <a:gd name="connsiteX25" fmla="*/ 3238500 w 3238500"/>
                <a:gd name="connsiteY25" fmla="*/ 587216 h 4095073"/>
                <a:gd name="connsiteX26" fmla="*/ 3181464 w 3238500"/>
                <a:gd name="connsiteY26" fmla="*/ 499967 h 4095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238500" h="4095073" fill="none" extrusionOk="0">
                  <a:moveTo>
                    <a:pt x="3181464" y="499967"/>
                  </a:moveTo>
                  <a:cubicBezTo>
                    <a:pt x="2987744" y="398482"/>
                    <a:pt x="2813068" y="214562"/>
                    <a:pt x="2738533" y="57036"/>
                  </a:cubicBezTo>
                  <a:cubicBezTo>
                    <a:pt x="2720226" y="15821"/>
                    <a:pt x="2687198" y="1592"/>
                    <a:pt x="2651284" y="0"/>
                  </a:cubicBezTo>
                  <a:cubicBezTo>
                    <a:pt x="2477202" y="34783"/>
                    <a:pt x="2225024" y="-16130"/>
                    <a:pt x="2000060" y="0"/>
                  </a:cubicBezTo>
                  <a:cubicBezTo>
                    <a:pt x="1943980" y="-677"/>
                    <a:pt x="1906216" y="39840"/>
                    <a:pt x="1904810" y="95250"/>
                  </a:cubicBezTo>
                  <a:cubicBezTo>
                    <a:pt x="1898102" y="151902"/>
                    <a:pt x="1950033" y="191279"/>
                    <a:pt x="2000060" y="190500"/>
                  </a:cubicBezTo>
                  <a:cubicBezTo>
                    <a:pt x="2099284" y="202419"/>
                    <a:pt x="2321577" y="209666"/>
                    <a:pt x="2591057" y="190500"/>
                  </a:cubicBezTo>
                  <a:cubicBezTo>
                    <a:pt x="2688741" y="389764"/>
                    <a:pt x="2852232" y="511847"/>
                    <a:pt x="3048000" y="647443"/>
                  </a:cubicBezTo>
                  <a:cubicBezTo>
                    <a:pt x="3102122" y="899948"/>
                    <a:pt x="3001433" y="1481752"/>
                    <a:pt x="3048000" y="1840135"/>
                  </a:cubicBezTo>
                  <a:cubicBezTo>
                    <a:pt x="3094950" y="2753239"/>
                    <a:pt x="2554571" y="3495607"/>
                    <a:pt x="1619250" y="3898526"/>
                  </a:cubicBezTo>
                  <a:cubicBezTo>
                    <a:pt x="832583" y="3500532"/>
                    <a:pt x="304371" y="2641307"/>
                    <a:pt x="190500" y="1840135"/>
                  </a:cubicBezTo>
                  <a:cubicBezTo>
                    <a:pt x="126627" y="1263367"/>
                    <a:pt x="113591" y="1211344"/>
                    <a:pt x="190500" y="647443"/>
                  </a:cubicBezTo>
                  <a:cubicBezTo>
                    <a:pt x="365815" y="533737"/>
                    <a:pt x="506729" y="405487"/>
                    <a:pt x="647443" y="190500"/>
                  </a:cubicBezTo>
                  <a:cubicBezTo>
                    <a:pt x="831038" y="179727"/>
                    <a:pt x="974758" y="147370"/>
                    <a:pt x="1238441" y="190500"/>
                  </a:cubicBezTo>
                  <a:cubicBezTo>
                    <a:pt x="1289720" y="188614"/>
                    <a:pt x="1333727" y="150595"/>
                    <a:pt x="1333691" y="95250"/>
                  </a:cubicBezTo>
                  <a:cubicBezTo>
                    <a:pt x="1334363" y="41476"/>
                    <a:pt x="1296052" y="-395"/>
                    <a:pt x="1238441" y="0"/>
                  </a:cubicBezTo>
                  <a:cubicBezTo>
                    <a:pt x="1099079" y="-48951"/>
                    <a:pt x="860450" y="-36616"/>
                    <a:pt x="587216" y="0"/>
                  </a:cubicBezTo>
                  <a:cubicBezTo>
                    <a:pt x="554251" y="-2279"/>
                    <a:pt x="512555" y="16093"/>
                    <a:pt x="499967" y="57036"/>
                  </a:cubicBezTo>
                  <a:cubicBezTo>
                    <a:pt x="409742" y="264290"/>
                    <a:pt x="265418" y="406179"/>
                    <a:pt x="57036" y="499967"/>
                  </a:cubicBezTo>
                  <a:cubicBezTo>
                    <a:pt x="21537" y="522043"/>
                    <a:pt x="984" y="554882"/>
                    <a:pt x="0" y="587216"/>
                  </a:cubicBezTo>
                  <a:cubicBezTo>
                    <a:pt x="-943" y="910432"/>
                    <a:pt x="39370" y="1642474"/>
                    <a:pt x="0" y="1840135"/>
                  </a:cubicBezTo>
                  <a:cubicBezTo>
                    <a:pt x="56769" y="2980867"/>
                    <a:pt x="578665" y="3737543"/>
                    <a:pt x="1587475" y="4089616"/>
                  </a:cubicBezTo>
                  <a:cubicBezTo>
                    <a:pt x="1597441" y="4092657"/>
                    <a:pt x="1607862" y="4095259"/>
                    <a:pt x="1619250" y="4095074"/>
                  </a:cubicBezTo>
                  <a:cubicBezTo>
                    <a:pt x="1629284" y="4094119"/>
                    <a:pt x="1640918" y="4093361"/>
                    <a:pt x="1651025" y="4089616"/>
                  </a:cubicBezTo>
                  <a:cubicBezTo>
                    <a:pt x="2684886" y="3856359"/>
                    <a:pt x="3197919" y="2836732"/>
                    <a:pt x="3238500" y="1840135"/>
                  </a:cubicBezTo>
                  <a:cubicBezTo>
                    <a:pt x="3153963" y="1228802"/>
                    <a:pt x="3131508" y="731180"/>
                    <a:pt x="3238500" y="587216"/>
                  </a:cubicBezTo>
                  <a:cubicBezTo>
                    <a:pt x="3240264" y="556038"/>
                    <a:pt x="3220877" y="512178"/>
                    <a:pt x="3181464" y="499967"/>
                  </a:cubicBezTo>
                  <a:close/>
                </a:path>
                <a:path w="3238500" h="4095073" stroke="0" extrusionOk="0">
                  <a:moveTo>
                    <a:pt x="3181464" y="499967"/>
                  </a:moveTo>
                  <a:cubicBezTo>
                    <a:pt x="3001503" y="397466"/>
                    <a:pt x="2797888" y="241474"/>
                    <a:pt x="2738533" y="57036"/>
                  </a:cubicBezTo>
                  <a:cubicBezTo>
                    <a:pt x="2720911" y="28413"/>
                    <a:pt x="2686373" y="4096"/>
                    <a:pt x="2651284" y="0"/>
                  </a:cubicBezTo>
                  <a:cubicBezTo>
                    <a:pt x="2359009" y="58520"/>
                    <a:pt x="2162845" y="10923"/>
                    <a:pt x="2000060" y="0"/>
                  </a:cubicBezTo>
                  <a:cubicBezTo>
                    <a:pt x="1948812" y="-5697"/>
                    <a:pt x="1901904" y="39536"/>
                    <a:pt x="1904810" y="95250"/>
                  </a:cubicBezTo>
                  <a:cubicBezTo>
                    <a:pt x="1910193" y="139916"/>
                    <a:pt x="1948382" y="195365"/>
                    <a:pt x="2000060" y="190500"/>
                  </a:cubicBezTo>
                  <a:cubicBezTo>
                    <a:pt x="2150888" y="177628"/>
                    <a:pt x="2414529" y="143866"/>
                    <a:pt x="2591057" y="190500"/>
                  </a:cubicBezTo>
                  <a:cubicBezTo>
                    <a:pt x="2678787" y="391853"/>
                    <a:pt x="2879625" y="550697"/>
                    <a:pt x="3048000" y="647443"/>
                  </a:cubicBezTo>
                  <a:cubicBezTo>
                    <a:pt x="3070293" y="1223317"/>
                    <a:pt x="3060630" y="1402411"/>
                    <a:pt x="3048000" y="1840135"/>
                  </a:cubicBezTo>
                  <a:cubicBezTo>
                    <a:pt x="2968490" y="2724353"/>
                    <a:pt x="2618324" y="3631656"/>
                    <a:pt x="1619250" y="3898526"/>
                  </a:cubicBezTo>
                  <a:cubicBezTo>
                    <a:pt x="798272" y="3587170"/>
                    <a:pt x="135179" y="2716016"/>
                    <a:pt x="190500" y="1840135"/>
                  </a:cubicBezTo>
                  <a:cubicBezTo>
                    <a:pt x="100583" y="1307528"/>
                    <a:pt x="229635" y="813550"/>
                    <a:pt x="190500" y="647443"/>
                  </a:cubicBezTo>
                  <a:cubicBezTo>
                    <a:pt x="374475" y="515082"/>
                    <a:pt x="524160" y="423353"/>
                    <a:pt x="647443" y="190500"/>
                  </a:cubicBezTo>
                  <a:cubicBezTo>
                    <a:pt x="768777" y="185876"/>
                    <a:pt x="1081202" y="217493"/>
                    <a:pt x="1238441" y="190500"/>
                  </a:cubicBezTo>
                  <a:cubicBezTo>
                    <a:pt x="1288021" y="200302"/>
                    <a:pt x="1334381" y="144662"/>
                    <a:pt x="1333691" y="95250"/>
                  </a:cubicBezTo>
                  <a:cubicBezTo>
                    <a:pt x="1333262" y="44349"/>
                    <a:pt x="1297299" y="554"/>
                    <a:pt x="1238441" y="0"/>
                  </a:cubicBezTo>
                  <a:cubicBezTo>
                    <a:pt x="1169682" y="-33162"/>
                    <a:pt x="755939" y="-7892"/>
                    <a:pt x="587216" y="0"/>
                  </a:cubicBezTo>
                  <a:cubicBezTo>
                    <a:pt x="553082" y="-2930"/>
                    <a:pt x="520922" y="22251"/>
                    <a:pt x="499967" y="57036"/>
                  </a:cubicBezTo>
                  <a:cubicBezTo>
                    <a:pt x="421087" y="246897"/>
                    <a:pt x="276650" y="389942"/>
                    <a:pt x="57036" y="499967"/>
                  </a:cubicBezTo>
                  <a:cubicBezTo>
                    <a:pt x="21583" y="515034"/>
                    <a:pt x="6521" y="551139"/>
                    <a:pt x="0" y="587216"/>
                  </a:cubicBezTo>
                  <a:cubicBezTo>
                    <a:pt x="-90035" y="984316"/>
                    <a:pt x="42139" y="1502612"/>
                    <a:pt x="0" y="1840135"/>
                  </a:cubicBezTo>
                  <a:cubicBezTo>
                    <a:pt x="-103994" y="2810370"/>
                    <a:pt x="616374" y="3833555"/>
                    <a:pt x="1587475" y="4089616"/>
                  </a:cubicBezTo>
                  <a:cubicBezTo>
                    <a:pt x="1599279" y="4094148"/>
                    <a:pt x="1608258" y="4093311"/>
                    <a:pt x="1619250" y="4095074"/>
                  </a:cubicBezTo>
                  <a:cubicBezTo>
                    <a:pt x="1629182" y="4094999"/>
                    <a:pt x="1641421" y="4092027"/>
                    <a:pt x="1651025" y="4089616"/>
                  </a:cubicBezTo>
                  <a:cubicBezTo>
                    <a:pt x="2477036" y="3798351"/>
                    <a:pt x="3147536" y="2925667"/>
                    <a:pt x="3238500" y="1840135"/>
                  </a:cubicBezTo>
                  <a:cubicBezTo>
                    <a:pt x="3163331" y="1606756"/>
                    <a:pt x="3162920" y="1143220"/>
                    <a:pt x="3238500" y="587216"/>
                  </a:cubicBezTo>
                  <a:cubicBezTo>
                    <a:pt x="3237923" y="547331"/>
                    <a:pt x="3210561" y="517985"/>
                    <a:pt x="3181464" y="49996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2991667938">
                    <a:custGeom>
                      <a:avLst/>
                      <a:gdLst>
                        <a:gd name="connsiteX0" fmla="*/ 3181464 w 3238500"/>
                        <a:gd name="connsiteY0" fmla="*/ 499967 h 4095073"/>
                        <a:gd name="connsiteX1" fmla="*/ 2738533 w 3238500"/>
                        <a:gd name="connsiteY1" fmla="*/ 57036 h 4095073"/>
                        <a:gd name="connsiteX2" fmla="*/ 2651284 w 3238500"/>
                        <a:gd name="connsiteY2" fmla="*/ 0 h 4095073"/>
                        <a:gd name="connsiteX3" fmla="*/ 2000060 w 3238500"/>
                        <a:gd name="connsiteY3" fmla="*/ 0 h 4095073"/>
                        <a:gd name="connsiteX4" fmla="*/ 1904810 w 3238500"/>
                        <a:gd name="connsiteY4" fmla="*/ 95250 h 4095073"/>
                        <a:gd name="connsiteX5" fmla="*/ 2000060 w 3238500"/>
                        <a:gd name="connsiteY5" fmla="*/ 190500 h 4095073"/>
                        <a:gd name="connsiteX6" fmla="*/ 2591057 w 3238500"/>
                        <a:gd name="connsiteY6" fmla="*/ 190500 h 4095073"/>
                        <a:gd name="connsiteX7" fmla="*/ 3048000 w 3238500"/>
                        <a:gd name="connsiteY7" fmla="*/ 647443 h 4095073"/>
                        <a:gd name="connsiteX8" fmla="*/ 3048000 w 3238500"/>
                        <a:gd name="connsiteY8" fmla="*/ 1840135 h 4095073"/>
                        <a:gd name="connsiteX9" fmla="*/ 1619250 w 3238500"/>
                        <a:gd name="connsiteY9" fmla="*/ 3898526 h 4095073"/>
                        <a:gd name="connsiteX10" fmla="*/ 190500 w 3238500"/>
                        <a:gd name="connsiteY10" fmla="*/ 1840135 h 4095073"/>
                        <a:gd name="connsiteX11" fmla="*/ 190500 w 3238500"/>
                        <a:gd name="connsiteY11" fmla="*/ 647443 h 4095073"/>
                        <a:gd name="connsiteX12" fmla="*/ 647443 w 3238500"/>
                        <a:gd name="connsiteY12" fmla="*/ 190500 h 4095073"/>
                        <a:gd name="connsiteX13" fmla="*/ 1238441 w 3238500"/>
                        <a:gd name="connsiteY13" fmla="*/ 190500 h 4095073"/>
                        <a:gd name="connsiteX14" fmla="*/ 1333691 w 3238500"/>
                        <a:gd name="connsiteY14" fmla="*/ 95250 h 4095073"/>
                        <a:gd name="connsiteX15" fmla="*/ 1238441 w 3238500"/>
                        <a:gd name="connsiteY15" fmla="*/ 0 h 4095073"/>
                        <a:gd name="connsiteX16" fmla="*/ 587216 w 3238500"/>
                        <a:gd name="connsiteY16" fmla="*/ 0 h 4095073"/>
                        <a:gd name="connsiteX17" fmla="*/ 499967 w 3238500"/>
                        <a:gd name="connsiteY17" fmla="*/ 57036 h 4095073"/>
                        <a:gd name="connsiteX18" fmla="*/ 57036 w 3238500"/>
                        <a:gd name="connsiteY18" fmla="*/ 499967 h 4095073"/>
                        <a:gd name="connsiteX19" fmla="*/ 0 w 3238500"/>
                        <a:gd name="connsiteY19" fmla="*/ 587216 h 4095073"/>
                        <a:gd name="connsiteX20" fmla="*/ 0 w 3238500"/>
                        <a:gd name="connsiteY20" fmla="*/ 1840135 h 4095073"/>
                        <a:gd name="connsiteX21" fmla="*/ 1587475 w 3238500"/>
                        <a:gd name="connsiteY21" fmla="*/ 4089616 h 4095073"/>
                        <a:gd name="connsiteX22" fmla="*/ 1619250 w 3238500"/>
                        <a:gd name="connsiteY22" fmla="*/ 4095074 h 4095073"/>
                        <a:gd name="connsiteX23" fmla="*/ 1651025 w 3238500"/>
                        <a:gd name="connsiteY23" fmla="*/ 4089616 h 4095073"/>
                        <a:gd name="connsiteX24" fmla="*/ 3238500 w 3238500"/>
                        <a:gd name="connsiteY24" fmla="*/ 1840135 h 4095073"/>
                        <a:gd name="connsiteX25" fmla="*/ 3238500 w 3238500"/>
                        <a:gd name="connsiteY25" fmla="*/ 587216 h 4095073"/>
                        <a:gd name="connsiteX26" fmla="*/ 3181464 w 3238500"/>
                        <a:gd name="connsiteY26" fmla="*/ 499967 h 40950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3238500" h="4095073">
                          <a:moveTo>
                            <a:pt x="3181464" y="499967"/>
                          </a:moveTo>
                          <a:cubicBezTo>
                            <a:pt x="2982830" y="412975"/>
                            <a:pt x="2825525" y="255670"/>
                            <a:pt x="2738533" y="57036"/>
                          </a:cubicBezTo>
                          <a:cubicBezTo>
                            <a:pt x="2723350" y="22384"/>
                            <a:pt x="2689117" y="0"/>
                            <a:pt x="2651284" y="0"/>
                          </a:cubicBezTo>
                          <a:lnTo>
                            <a:pt x="2000060" y="0"/>
                          </a:lnTo>
                          <a:cubicBezTo>
                            <a:pt x="1947463" y="0"/>
                            <a:pt x="1904810" y="42653"/>
                            <a:pt x="1904810" y="95250"/>
                          </a:cubicBezTo>
                          <a:cubicBezTo>
                            <a:pt x="1904810" y="147847"/>
                            <a:pt x="1947463" y="190500"/>
                            <a:pt x="2000060" y="190500"/>
                          </a:cubicBezTo>
                          <a:lnTo>
                            <a:pt x="2591057" y="190500"/>
                          </a:lnTo>
                          <a:cubicBezTo>
                            <a:pt x="2691689" y="387487"/>
                            <a:pt x="2851014" y="546802"/>
                            <a:pt x="3048000" y="647443"/>
                          </a:cubicBezTo>
                          <a:lnTo>
                            <a:pt x="3048000" y="1840135"/>
                          </a:lnTo>
                          <a:cubicBezTo>
                            <a:pt x="3048000" y="2772280"/>
                            <a:pt x="2488416" y="3576571"/>
                            <a:pt x="1619250" y="3898526"/>
                          </a:cubicBezTo>
                          <a:cubicBezTo>
                            <a:pt x="750084" y="3576561"/>
                            <a:pt x="190500" y="2772280"/>
                            <a:pt x="190500" y="1840135"/>
                          </a:cubicBezTo>
                          <a:lnTo>
                            <a:pt x="190500" y="647443"/>
                          </a:lnTo>
                          <a:cubicBezTo>
                            <a:pt x="387487" y="546802"/>
                            <a:pt x="546802" y="387487"/>
                            <a:pt x="647443" y="190500"/>
                          </a:cubicBezTo>
                          <a:lnTo>
                            <a:pt x="1238441" y="190500"/>
                          </a:lnTo>
                          <a:cubicBezTo>
                            <a:pt x="1291038" y="190500"/>
                            <a:pt x="1333691" y="147847"/>
                            <a:pt x="1333691" y="95250"/>
                          </a:cubicBezTo>
                          <a:cubicBezTo>
                            <a:pt x="1333691" y="42653"/>
                            <a:pt x="1291038" y="0"/>
                            <a:pt x="1238441" y="0"/>
                          </a:cubicBezTo>
                          <a:lnTo>
                            <a:pt x="587216" y="0"/>
                          </a:lnTo>
                          <a:cubicBezTo>
                            <a:pt x="549383" y="0"/>
                            <a:pt x="515150" y="22393"/>
                            <a:pt x="499967" y="57036"/>
                          </a:cubicBezTo>
                          <a:cubicBezTo>
                            <a:pt x="412975" y="255670"/>
                            <a:pt x="255670" y="412975"/>
                            <a:pt x="57036" y="499967"/>
                          </a:cubicBezTo>
                          <a:cubicBezTo>
                            <a:pt x="22393" y="515150"/>
                            <a:pt x="0" y="549393"/>
                            <a:pt x="0" y="587216"/>
                          </a:cubicBezTo>
                          <a:lnTo>
                            <a:pt x="0" y="1840135"/>
                          </a:lnTo>
                          <a:cubicBezTo>
                            <a:pt x="0" y="2861339"/>
                            <a:pt x="631612" y="3751355"/>
                            <a:pt x="1587475" y="4089616"/>
                          </a:cubicBezTo>
                          <a:cubicBezTo>
                            <a:pt x="1597752" y="4093255"/>
                            <a:pt x="1608496" y="4095074"/>
                            <a:pt x="1619250" y="4095074"/>
                          </a:cubicBezTo>
                          <a:cubicBezTo>
                            <a:pt x="1630004" y="4095074"/>
                            <a:pt x="1640748" y="4093255"/>
                            <a:pt x="1651025" y="4089616"/>
                          </a:cubicBezTo>
                          <a:cubicBezTo>
                            <a:pt x="2606088" y="3751640"/>
                            <a:pt x="3238500" y="2862167"/>
                            <a:pt x="3238500" y="1840135"/>
                          </a:cubicBezTo>
                          <a:lnTo>
                            <a:pt x="3238500" y="587216"/>
                          </a:lnTo>
                          <a:cubicBezTo>
                            <a:pt x="3238500" y="549383"/>
                            <a:pt x="3216107" y="515150"/>
                            <a:pt x="3181464" y="499967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C48076BD-860A-4725-BB03-6C9C1BAA2624}"/>
                </a:ext>
              </a:extLst>
            </p:cNvPr>
            <p:cNvSpPr/>
            <p:nvPr/>
          </p:nvSpPr>
          <p:spPr>
            <a:xfrm>
              <a:off x="5237956" y="2381250"/>
              <a:ext cx="1714500" cy="1714500"/>
            </a:xfrm>
            <a:custGeom>
              <a:avLst/>
              <a:gdLst>
                <a:gd name="connsiteX0" fmla="*/ 857250 w 1714500"/>
                <a:gd name="connsiteY0" fmla="*/ 0 h 1714500"/>
                <a:gd name="connsiteX1" fmla="*/ 0 w 1714500"/>
                <a:gd name="connsiteY1" fmla="*/ 857250 h 1714500"/>
                <a:gd name="connsiteX2" fmla="*/ 857250 w 1714500"/>
                <a:gd name="connsiteY2" fmla="*/ 1714500 h 1714500"/>
                <a:gd name="connsiteX3" fmla="*/ 1714500 w 1714500"/>
                <a:gd name="connsiteY3" fmla="*/ 857250 h 1714500"/>
                <a:gd name="connsiteX4" fmla="*/ 857250 w 1714500"/>
                <a:gd name="connsiteY4" fmla="*/ 0 h 1714500"/>
                <a:gd name="connsiteX5" fmla="*/ 857250 w 1714500"/>
                <a:gd name="connsiteY5" fmla="*/ 1524000 h 1714500"/>
                <a:gd name="connsiteX6" fmla="*/ 190500 w 1714500"/>
                <a:gd name="connsiteY6" fmla="*/ 857250 h 1714500"/>
                <a:gd name="connsiteX7" fmla="*/ 857250 w 1714500"/>
                <a:gd name="connsiteY7" fmla="*/ 190500 h 1714500"/>
                <a:gd name="connsiteX8" fmla="*/ 1524000 w 1714500"/>
                <a:gd name="connsiteY8" fmla="*/ 857250 h 1714500"/>
                <a:gd name="connsiteX9" fmla="*/ 857250 w 1714500"/>
                <a:gd name="connsiteY9" fmla="*/ 1524000 h 171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14500" h="1714500" fill="none" extrusionOk="0">
                  <a:moveTo>
                    <a:pt x="857250" y="0"/>
                  </a:moveTo>
                  <a:cubicBezTo>
                    <a:pt x="413552" y="4506"/>
                    <a:pt x="-2129" y="349031"/>
                    <a:pt x="0" y="857250"/>
                  </a:cubicBezTo>
                  <a:cubicBezTo>
                    <a:pt x="-89594" y="1303110"/>
                    <a:pt x="398909" y="1802140"/>
                    <a:pt x="857250" y="1714500"/>
                  </a:cubicBezTo>
                  <a:cubicBezTo>
                    <a:pt x="1310188" y="1785377"/>
                    <a:pt x="1724737" y="1327889"/>
                    <a:pt x="1714500" y="857250"/>
                  </a:cubicBezTo>
                  <a:cubicBezTo>
                    <a:pt x="1706619" y="375788"/>
                    <a:pt x="1336117" y="17264"/>
                    <a:pt x="857250" y="0"/>
                  </a:cubicBezTo>
                  <a:close/>
                  <a:moveTo>
                    <a:pt x="857250" y="1524000"/>
                  </a:moveTo>
                  <a:cubicBezTo>
                    <a:pt x="474663" y="1570316"/>
                    <a:pt x="216425" y="1194365"/>
                    <a:pt x="190500" y="857250"/>
                  </a:cubicBezTo>
                  <a:cubicBezTo>
                    <a:pt x="202936" y="503788"/>
                    <a:pt x="442275" y="192852"/>
                    <a:pt x="857250" y="190500"/>
                  </a:cubicBezTo>
                  <a:cubicBezTo>
                    <a:pt x="1218302" y="183213"/>
                    <a:pt x="1551516" y="528322"/>
                    <a:pt x="1524000" y="857250"/>
                  </a:cubicBezTo>
                  <a:cubicBezTo>
                    <a:pt x="1525091" y="1197431"/>
                    <a:pt x="1221412" y="1535979"/>
                    <a:pt x="857250" y="1524000"/>
                  </a:cubicBezTo>
                  <a:close/>
                </a:path>
                <a:path w="1714500" h="1714500" stroke="0" extrusionOk="0">
                  <a:moveTo>
                    <a:pt x="857250" y="0"/>
                  </a:moveTo>
                  <a:cubicBezTo>
                    <a:pt x="363633" y="3364"/>
                    <a:pt x="-42848" y="451277"/>
                    <a:pt x="0" y="857250"/>
                  </a:cubicBezTo>
                  <a:cubicBezTo>
                    <a:pt x="-39284" y="1273221"/>
                    <a:pt x="391365" y="1655083"/>
                    <a:pt x="857250" y="1714500"/>
                  </a:cubicBezTo>
                  <a:cubicBezTo>
                    <a:pt x="1342865" y="1709185"/>
                    <a:pt x="1720624" y="1332415"/>
                    <a:pt x="1714500" y="857250"/>
                  </a:cubicBezTo>
                  <a:cubicBezTo>
                    <a:pt x="1716495" y="349264"/>
                    <a:pt x="1413384" y="3510"/>
                    <a:pt x="857250" y="0"/>
                  </a:cubicBezTo>
                  <a:close/>
                  <a:moveTo>
                    <a:pt x="857250" y="1524000"/>
                  </a:moveTo>
                  <a:cubicBezTo>
                    <a:pt x="494786" y="1544414"/>
                    <a:pt x="208363" y="1216196"/>
                    <a:pt x="190500" y="857250"/>
                  </a:cubicBezTo>
                  <a:cubicBezTo>
                    <a:pt x="193612" y="511803"/>
                    <a:pt x="510206" y="259901"/>
                    <a:pt x="857250" y="190500"/>
                  </a:cubicBezTo>
                  <a:cubicBezTo>
                    <a:pt x="1207352" y="258119"/>
                    <a:pt x="1484504" y="449638"/>
                    <a:pt x="1524000" y="857250"/>
                  </a:cubicBezTo>
                  <a:cubicBezTo>
                    <a:pt x="1551943" y="1260384"/>
                    <a:pt x="1164323" y="1511700"/>
                    <a:pt x="857250" y="152400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3324302225">
                    <a:custGeom>
                      <a:avLst/>
                      <a:gdLst>
                        <a:gd name="connsiteX0" fmla="*/ 857250 w 1714500"/>
                        <a:gd name="connsiteY0" fmla="*/ 0 h 1714500"/>
                        <a:gd name="connsiteX1" fmla="*/ 0 w 1714500"/>
                        <a:gd name="connsiteY1" fmla="*/ 857250 h 1714500"/>
                        <a:gd name="connsiteX2" fmla="*/ 857250 w 1714500"/>
                        <a:gd name="connsiteY2" fmla="*/ 1714500 h 1714500"/>
                        <a:gd name="connsiteX3" fmla="*/ 1714500 w 1714500"/>
                        <a:gd name="connsiteY3" fmla="*/ 857250 h 1714500"/>
                        <a:gd name="connsiteX4" fmla="*/ 857250 w 1714500"/>
                        <a:gd name="connsiteY4" fmla="*/ 0 h 1714500"/>
                        <a:gd name="connsiteX5" fmla="*/ 857250 w 1714500"/>
                        <a:gd name="connsiteY5" fmla="*/ 1524000 h 1714500"/>
                        <a:gd name="connsiteX6" fmla="*/ 190500 w 1714500"/>
                        <a:gd name="connsiteY6" fmla="*/ 857250 h 1714500"/>
                        <a:gd name="connsiteX7" fmla="*/ 857250 w 1714500"/>
                        <a:gd name="connsiteY7" fmla="*/ 190500 h 1714500"/>
                        <a:gd name="connsiteX8" fmla="*/ 1524000 w 1714500"/>
                        <a:gd name="connsiteY8" fmla="*/ 857250 h 1714500"/>
                        <a:gd name="connsiteX9" fmla="*/ 857250 w 1714500"/>
                        <a:gd name="connsiteY9" fmla="*/ 1524000 h 1714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1714500" h="1714500">
                          <a:moveTo>
                            <a:pt x="857250" y="0"/>
                          </a:moveTo>
                          <a:cubicBezTo>
                            <a:pt x="384562" y="0"/>
                            <a:pt x="0" y="384562"/>
                            <a:pt x="0" y="857250"/>
                          </a:cubicBezTo>
                          <a:cubicBezTo>
                            <a:pt x="0" y="1329938"/>
                            <a:pt x="384562" y="1714500"/>
                            <a:pt x="857250" y="1714500"/>
                          </a:cubicBezTo>
                          <a:cubicBezTo>
                            <a:pt x="1329938" y="1714500"/>
                            <a:pt x="1714500" y="1329938"/>
                            <a:pt x="1714500" y="857250"/>
                          </a:cubicBezTo>
                          <a:cubicBezTo>
                            <a:pt x="1714500" y="384562"/>
                            <a:pt x="1329938" y="0"/>
                            <a:pt x="857250" y="0"/>
                          </a:cubicBezTo>
                          <a:close/>
                          <a:moveTo>
                            <a:pt x="857250" y="1524000"/>
                          </a:moveTo>
                          <a:cubicBezTo>
                            <a:pt x="489604" y="1524000"/>
                            <a:pt x="190500" y="1224896"/>
                            <a:pt x="190500" y="857250"/>
                          </a:cubicBezTo>
                          <a:cubicBezTo>
                            <a:pt x="190500" y="489604"/>
                            <a:pt x="489604" y="190500"/>
                            <a:pt x="857250" y="190500"/>
                          </a:cubicBezTo>
                          <a:cubicBezTo>
                            <a:pt x="1224896" y="190500"/>
                            <a:pt x="1524000" y="489604"/>
                            <a:pt x="1524000" y="857250"/>
                          </a:cubicBezTo>
                          <a:cubicBezTo>
                            <a:pt x="1524000" y="1224896"/>
                            <a:pt x="1224896" y="1524000"/>
                            <a:pt x="857250" y="1524000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91F6FEF-ED0C-4499-BE78-B1A0753850BF}"/>
                </a:ext>
              </a:extLst>
            </p:cNvPr>
            <p:cNvSpPr/>
            <p:nvPr/>
          </p:nvSpPr>
          <p:spPr>
            <a:xfrm>
              <a:off x="5714198" y="2952750"/>
              <a:ext cx="857254" cy="666750"/>
            </a:xfrm>
            <a:custGeom>
              <a:avLst/>
              <a:gdLst>
                <a:gd name="connsiteX0" fmla="*/ 829359 w 857254"/>
                <a:gd name="connsiteY0" fmla="*/ 27889 h 666750"/>
                <a:gd name="connsiteX1" fmla="*/ 694647 w 857254"/>
                <a:gd name="connsiteY1" fmla="*/ 27889 h 666750"/>
                <a:gd name="connsiteX2" fmla="*/ 285757 w 857254"/>
                <a:gd name="connsiteY2" fmla="*/ 436788 h 666750"/>
                <a:gd name="connsiteX3" fmla="*/ 162608 w 857254"/>
                <a:gd name="connsiteY3" fmla="*/ 313649 h 666750"/>
                <a:gd name="connsiteX4" fmla="*/ 27896 w 857254"/>
                <a:gd name="connsiteY4" fmla="*/ 313649 h 666750"/>
                <a:gd name="connsiteX5" fmla="*/ 27896 w 857254"/>
                <a:gd name="connsiteY5" fmla="*/ 448361 h 666750"/>
                <a:gd name="connsiteX6" fmla="*/ 218396 w 857254"/>
                <a:gd name="connsiteY6" fmla="*/ 638861 h 666750"/>
                <a:gd name="connsiteX7" fmla="*/ 285757 w 857254"/>
                <a:gd name="connsiteY7" fmla="*/ 666750 h 666750"/>
                <a:gd name="connsiteX8" fmla="*/ 353108 w 857254"/>
                <a:gd name="connsiteY8" fmla="*/ 638851 h 666750"/>
                <a:gd name="connsiteX9" fmla="*/ 829359 w 857254"/>
                <a:gd name="connsiteY9" fmla="*/ 162601 h 666750"/>
                <a:gd name="connsiteX10" fmla="*/ 829359 w 857254"/>
                <a:gd name="connsiteY10" fmla="*/ 27889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7254" h="666750" fill="none" extrusionOk="0">
                  <a:moveTo>
                    <a:pt x="829359" y="27889"/>
                  </a:moveTo>
                  <a:cubicBezTo>
                    <a:pt x="793649" y="-18030"/>
                    <a:pt x="727919" y="-6150"/>
                    <a:pt x="694647" y="27889"/>
                  </a:cubicBezTo>
                  <a:cubicBezTo>
                    <a:pt x="552022" y="214103"/>
                    <a:pt x="386566" y="372386"/>
                    <a:pt x="285757" y="436788"/>
                  </a:cubicBezTo>
                  <a:cubicBezTo>
                    <a:pt x="258305" y="404553"/>
                    <a:pt x="207240" y="370171"/>
                    <a:pt x="162608" y="313649"/>
                  </a:cubicBezTo>
                  <a:cubicBezTo>
                    <a:pt x="116221" y="273666"/>
                    <a:pt x="71365" y="281475"/>
                    <a:pt x="27896" y="313649"/>
                  </a:cubicBezTo>
                  <a:cubicBezTo>
                    <a:pt x="-9924" y="350426"/>
                    <a:pt x="-2189" y="417673"/>
                    <a:pt x="27896" y="448361"/>
                  </a:cubicBezTo>
                  <a:cubicBezTo>
                    <a:pt x="100648" y="505972"/>
                    <a:pt x="188920" y="585685"/>
                    <a:pt x="218396" y="638861"/>
                  </a:cubicBezTo>
                  <a:cubicBezTo>
                    <a:pt x="234102" y="658235"/>
                    <a:pt x="264593" y="667585"/>
                    <a:pt x="285757" y="666750"/>
                  </a:cubicBezTo>
                  <a:cubicBezTo>
                    <a:pt x="310423" y="671546"/>
                    <a:pt x="333830" y="661026"/>
                    <a:pt x="353108" y="638851"/>
                  </a:cubicBezTo>
                  <a:cubicBezTo>
                    <a:pt x="421456" y="606541"/>
                    <a:pt x="690069" y="327254"/>
                    <a:pt x="829359" y="162601"/>
                  </a:cubicBezTo>
                  <a:cubicBezTo>
                    <a:pt x="866146" y="126761"/>
                    <a:pt x="875613" y="66837"/>
                    <a:pt x="829359" y="27889"/>
                  </a:cubicBezTo>
                  <a:close/>
                </a:path>
                <a:path w="857254" h="666750" stroke="0" extrusionOk="0">
                  <a:moveTo>
                    <a:pt x="829359" y="27889"/>
                  </a:moveTo>
                  <a:cubicBezTo>
                    <a:pt x="786598" y="-12541"/>
                    <a:pt x="732615" y="-11170"/>
                    <a:pt x="694647" y="27889"/>
                  </a:cubicBezTo>
                  <a:cubicBezTo>
                    <a:pt x="506830" y="205418"/>
                    <a:pt x="367586" y="372695"/>
                    <a:pt x="285757" y="436788"/>
                  </a:cubicBezTo>
                  <a:cubicBezTo>
                    <a:pt x="251216" y="387530"/>
                    <a:pt x="215052" y="354106"/>
                    <a:pt x="162608" y="313649"/>
                  </a:cubicBezTo>
                  <a:cubicBezTo>
                    <a:pt x="131788" y="277194"/>
                    <a:pt x="68340" y="278477"/>
                    <a:pt x="27896" y="313649"/>
                  </a:cubicBezTo>
                  <a:cubicBezTo>
                    <a:pt x="-15531" y="354128"/>
                    <a:pt x="-12004" y="411301"/>
                    <a:pt x="27896" y="448361"/>
                  </a:cubicBezTo>
                  <a:cubicBezTo>
                    <a:pt x="114229" y="542000"/>
                    <a:pt x="194595" y="585739"/>
                    <a:pt x="218396" y="638861"/>
                  </a:cubicBezTo>
                  <a:cubicBezTo>
                    <a:pt x="241213" y="658493"/>
                    <a:pt x="260818" y="667685"/>
                    <a:pt x="285757" y="666750"/>
                  </a:cubicBezTo>
                  <a:cubicBezTo>
                    <a:pt x="311600" y="671109"/>
                    <a:pt x="335860" y="657540"/>
                    <a:pt x="353108" y="638851"/>
                  </a:cubicBezTo>
                  <a:cubicBezTo>
                    <a:pt x="476996" y="477275"/>
                    <a:pt x="632483" y="365490"/>
                    <a:pt x="829359" y="162601"/>
                  </a:cubicBezTo>
                  <a:cubicBezTo>
                    <a:pt x="872704" y="120687"/>
                    <a:pt x="868389" y="65243"/>
                    <a:pt x="829359" y="2788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1143564089">
                    <a:custGeom>
                      <a:avLst/>
                      <a:gdLst>
                        <a:gd name="connsiteX0" fmla="*/ 829359 w 857254"/>
                        <a:gd name="connsiteY0" fmla="*/ 27889 h 666750"/>
                        <a:gd name="connsiteX1" fmla="*/ 694647 w 857254"/>
                        <a:gd name="connsiteY1" fmla="*/ 27889 h 666750"/>
                        <a:gd name="connsiteX2" fmla="*/ 285757 w 857254"/>
                        <a:gd name="connsiteY2" fmla="*/ 436788 h 666750"/>
                        <a:gd name="connsiteX3" fmla="*/ 162608 w 857254"/>
                        <a:gd name="connsiteY3" fmla="*/ 313649 h 666750"/>
                        <a:gd name="connsiteX4" fmla="*/ 27896 w 857254"/>
                        <a:gd name="connsiteY4" fmla="*/ 313649 h 666750"/>
                        <a:gd name="connsiteX5" fmla="*/ 27896 w 857254"/>
                        <a:gd name="connsiteY5" fmla="*/ 448361 h 666750"/>
                        <a:gd name="connsiteX6" fmla="*/ 218396 w 857254"/>
                        <a:gd name="connsiteY6" fmla="*/ 638861 h 666750"/>
                        <a:gd name="connsiteX7" fmla="*/ 285757 w 857254"/>
                        <a:gd name="connsiteY7" fmla="*/ 666750 h 666750"/>
                        <a:gd name="connsiteX8" fmla="*/ 353108 w 857254"/>
                        <a:gd name="connsiteY8" fmla="*/ 638851 h 666750"/>
                        <a:gd name="connsiteX9" fmla="*/ 829359 w 857254"/>
                        <a:gd name="connsiteY9" fmla="*/ 162601 h 666750"/>
                        <a:gd name="connsiteX10" fmla="*/ 829359 w 857254"/>
                        <a:gd name="connsiteY10" fmla="*/ 27889 h 6667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57254" h="666750">
                          <a:moveTo>
                            <a:pt x="829359" y="27889"/>
                          </a:moveTo>
                          <a:cubicBezTo>
                            <a:pt x="792154" y="-9296"/>
                            <a:pt x="731861" y="-9296"/>
                            <a:pt x="694647" y="27889"/>
                          </a:cubicBezTo>
                          <a:lnTo>
                            <a:pt x="285757" y="436788"/>
                          </a:lnTo>
                          <a:lnTo>
                            <a:pt x="162608" y="313649"/>
                          </a:lnTo>
                          <a:cubicBezTo>
                            <a:pt x="125404" y="276463"/>
                            <a:pt x="65111" y="276463"/>
                            <a:pt x="27896" y="313649"/>
                          </a:cubicBezTo>
                          <a:cubicBezTo>
                            <a:pt x="-9299" y="350844"/>
                            <a:pt x="-9299" y="411156"/>
                            <a:pt x="27896" y="448361"/>
                          </a:cubicBezTo>
                          <a:lnTo>
                            <a:pt x="218396" y="638861"/>
                          </a:lnTo>
                          <a:cubicBezTo>
                            <a:pt x="237008" y="657444"/>
                            <a:pt x="261373" y="666750"/>
                            <a:pt x="285757" y="666750"/>
                          </a:cubicBezTo>
                          <a:cubicBezTo>
                            <a:pt x="310141" y="666750"/>
                            <a:pt x="334506" y="657444"/>
                            <a:pt x="353108" y="638851"/>
                          </a:cubicBezTo>
                          <a:lnTo>
                            <a:pt x="829359" y="162601"/>
                          </a:lnTo>
                          <a:cubicBezTo>
                            <a:pt x="866554" y="125406"/>
                            <a:pt x="866554" y="65094"/>
                            <a:pt x="829359" y="27889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</p:grpSp>
      <p:sp>
        <p:nvSpPr>
          <p:cNvPr id="146" name="Rectangle 145">
            <a:extLst>
              <a:ext uri="{FF2B5EF4-FFF2-40B4-BE49-F238E27FC236}">
                <a16:creationId xmlns:a16="http://schemas.microsoft.com/office/drawing/2014/main" id="{3832C8F9-4AE4-475B-A4E6-3140F1AFC851}"/>
              </a:ext>
            </a:extLst>
          </p:cNvPr>
          <p:cNvSpPr/>
          <p:nvPr/>
        </p:nvSpPr>
        <p:spPr>
          <a:xfrm>
            <a:off x="664864" y="3339714"/>
            <a:ext cx="1871234" cy="12346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/>
            </a:endParaRPr>
          </a:p>
        </p:txBody>
      </p:sp>
      <p:grpSp>
        <p:nvGrpSpPr>
          <p:cNvPr id="150" name="Graphic 609">
            <a:extLst>
              <a:ext uri="{FF2B5EF4-FFF2-40B4-BE49-F238E27FC236}">
                <a16:creationId xmlns:a16="http://schemas.microsoft.com/office/drawing/2014/main" id="{A7FF3EAC-0AF0-4835-BBAF-987292B86443}"/>
              </a:ext>
            </a:extLst>
          </p:cNvPr>
          <p:cNvGrpSpPr/>
          <p:nvPr/>
        </p:nvGrpSpPr>
        <p:grpSpPr>
          <a:xfrm>
            <a:off x="769806" y="3690810"/>
            <a:ext cx="532429" cy="532429"/>
            <a:chOff x="2666206" y="0"/>
            <a:chExt cx="6858000" cy="6858000"/>
          </a:xfrm>
          <a:solidFill>
            <a:schemeClr val="bg1"/>
          </a:solidFill>
        </p:grpSpPr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3FD0BAA2-42FB-485D-892F-3B3B14E5516D}"/>
                </a:ext>
              </a:extLst>
            </p:cNvPr>
            <p:cNvSpPr/>
            <p:nvPr/>
          </p:nvSpPr>
          <p:spPr>
            <a:xfrm>
              <a:off x="3410392" y="423633"/>
              <a:ext cx="1275728" cy="1275723"/>
            </a:xfrm>
            <a:custGeom>
              <a:avLst/>
              <a:gdLst>
                <a:gd name="connsiteX0" fmla="*/ 637860 w 1275728"/>
                <a:gd name="connsiteY0" fmla="*/ 1275723 h 1275723"/>
                <a:gd name="connsiteX1" fmla="*/ 1275729 w 1275728"/>
                <a:gd name="connsiteY1" fmla="*/ 637862 h 1275723"/>
                <a:gd name="connsiteX2" fmla="*/ 637860 w 1275728"/>
                <a:gd name="connsiteY2" fmla="*/ 0 h 1275723"/>
                <a:gd name="connsiteX3" fmla="*/ 0 w 1275728"/>
                <a:gd name="connsiteY3" fmla="*/ 637862 h 1275723"/>
                <a:gd name="connsiteX4" fmla="*/ 637860 w 1275728"/>
                <a:gd name="connsiteY4" fmla="*/ 1275723 h 1275723"/>
                <a:gd name="connsiteX5" fmla="*/ 637860 w 1275728"/>
                <a:gd name="connsiteY5" fmla="*/ 212648 h 1275723"/>
                <a:gd name="connsiteX6" fmla="*/ 1063120 w 1275728"/>
                <a:gd name="connsiteY6" fmla="*/ 637862 h 1275723"/>
                <a:gd name="connsiteX7" fmla="*/ 637860 w 1275728"/>
                <a:gd name="connsiteY7" fmla="*/ 1063115 h 1275723"/>
                <a:gd name="connsiteX8" fmla="*/ 212608 w 1275728"/>
                <a:gd name="connsiteY8" fmla="*/ 637862 h 1275723"/>
                <a:gd name="connsiteX9" fmla="*/ 637860 w 1275728"/>
                <a:gd name="connsiteY9" fmla="*/ 212648 h 1275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5728" h="1275723" fill="none" extrusionOk="0">
                  <a:moveTo>
                    <a:pt x="637860" y="1275723"/>
                  </a:moveTo>
                  <a:cubicBezTo>
                    <a:pt x="970054" y="1299350"/>
                    <a:pt x="1263065" y="981974"/>
                    <a:pt x="1275729" y="637862"/>
                  </a:cubicBezTo>
                  <a:cubicBezTo>
                    <a:pt x="1240392" y="265787"/>
                    <a:pt x="1011517" y="25550"/>
                    <a:pt x="637860" y="0"/>
                  </a:cubicBezTo>
                  <a:cubicBezTo>
                    <a:pt x="303372" y="-6530"/>
                    <a:pt x="31127" y="284538"/>
                    <a:pt x="0" y="637862"/>
                  </a:cubicBezTo>
                  <a:cubicBezTo>
                    <a:pt x="-18657" y="958397"/>
                    <a:pt x="281843" y="1290566"/>
                    <a:pt x="637860" y="1275723"/>
                  </a:cubicBezTo>
                  <a:close/>
                  <a:moveTo>
                    <a:pt x="637860" y="212648"/>
                  </a:moveTo>
                  <a:cubicBezTo>
                    <a:pt x="888850" y="188312"/>
                    <a:pt x="1038274" y="386397"/>
                    <a:pt x="1063120" y="637862"/>
                  </a:cubicBezTo>
                  <a:cubicBezTo>
                    <a:pt x="1080863" y="855237"/>
                    <a:pt x="879139" y="1028022"/>
                    <a:pt x="637860" y="1063115"/>
                  </a:cubicBezTo>
                  <a:cubicBezTo>
                    <a:pt x="393871" y="1089424"/>
                    <a:pt x="207583" y="831119"/>
                    <a:pt x="212608" y="637862"/>
                  </a:cubicBezTo>
                  <a:cubicBezTo>
                    <a:pt x="227996" y="405888"/>
                    <a:pt x="420673" y="188643"/>
                    <a:pt x="637860" y="212648"/>
                  </a:cubicBezTo>
                  <a:close/>
                </a:path>
                <a:path w="1275728" h="1275723" stroke="0" extrusionOk="0">
                  <a:moveTo>
                    <a:pt x="637860" y="1275723"/>
                  </a:moveTo>
                  <a:cubicBezTo>
                    <a:pt x="974385" y="1321447"/>
                    <a:pt x="1277614" y="1007878"/>
                    <a:pt x="1275729" y="637862"/>
                  </a:cubicBezTo>
                  <a:cubicBezTo>
                    <a:pt x="1266609" y="276914"/>
                    <a:pt x="987568" y="-4276"/>
                    <a:pt x="637860" y="0"/>
                  </a:cubicBezTo>
                  <a:cubicBezTo>
                    <a:pt x="288929" y="-5537"/>
                    <a:pt x="-30320" y="312885"/>
                    <a:pt x="0" y="637862"/>
                  </a:cubicBezTo>
                  <a:cubicBezTo>
                    <a:pt x="-37363" y="930857"/>
                    <a:pt x="283528" y="1293822"/>
                    <a:pt x="637860" y="1275723"/>
                  </a:cubicBezTo>
                  <a:close/>
                  <a:moveTo>
                    <a:pt x="637860" y="212648"/>
                  </a:moveTo>
                  <a:cubicBezTo>
                    <a:pt x="857239" y="172476"/>
                    <a:pt x="1064575" y="399327"/>
                    <a:pt x="1063120" y="637862"/>
                  </a:cubicBezTo>
                  <a:cubicBezTo>
                    <a:pt x="1072365" y="861503"/>
                    <a:pt x="865702" y="1109433"/>
                    <a:pt x="637860" y="1063115"/>
                  </a:cubicBezTo>
                  <a:cubicBezTo>
                    <a:pt x="389922" y="1067206"/>
                    <a:pt x="232064" y="909541"/>
                    <a:pt x="212608" y="637862"/>
                  </a:cubicBezTo>
                  <a:cubicBezTo>
                    <a:pt x="213256" y="438098"/>
                    <a:pt x="380182" y="195398"/>
                    <a:pt x="637860" y="21264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3208578127">
                    <a:custGeom>
                      <a:avLst/>
                      <a:gdLst>
                        <a:gd name="connsiteX0" fmla="*/ 637860 w 1275728"/>
                        <a:gd name="connsiteY0" fmla="*/ 1275723 h 1275723"/>
                        <a:gd name="connsiteX1" fmla="*/ 1275729 w 1275728"/>
                        <a:gd name="connsiteY1" fmla="*/ 637862 h 1275723"/>
                        <a:gd name="connsiteX2" fmla="*/ 637860 w 1275728"/>
                        <a:gd name="connsiteY2" fmla="*/ 0 h 1275723"/>
                        <a:gd name="connsiteX3" fmla="*/ 0 w 1275728"/>
                        <a:gd name="connsiteY3" fmla="*/ 637862 h 1275723"/>
                        <a:gd name="connsiteX4" fmla="*/ 637860 w 1275728"/>
                        <a:gd name="connsiteY4" fmla="*/ 1275723 h 1275723"/>
                        <a:gd name="connsiteX5" fmla="*/ 637860 w 1275728"/>
                        <a:gd name="connsiteY5" fmla="*/ 212648 h 1275723"/>
                        <a:gd name="connsiteX6" fmla="*/ 1063120 w 1275728"/>
                        <a:gd name="connsiteY6" fmla="*/ 637862 h 1275723"/>
                        <a:gd name="connsiteX7" fmla="*/ 637860 w 1275728"/>
                        <a:gd name="connsiteY7" fmla="*/ 1063115 h 1275723"/>
                        <a:gd name="connsiteX8" fmla="*/ 212608 w 1275728"/>
                        <a:gd name="connsiteY8" fmla="*/ 637862 h 1275723"/>
                        <a:gd name="connsiteX9" fmla="*/ 637860 w 1275728"/>
                        <a:gd name="connsiteY9" fmla="*/ 212648 h 12757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1275728" h="1275723">
                          <a:moveTo>
                            <a:pt x="637860" y="1275723"/>
                          </a:moveTo>
                          <a:cubicBezTo>
                            <a:pt x="990110" y="1275723"/>
                            <a:pt x="1275729" y="990201"/>
                            <a:pt x="1275729" y="637862"/>
                          </a:cubicBezTo>
                          <a:cubicBezTo>
                            <a:pt x="1275729" y="285611"/>
                            <a:pt x="990110" y="0"/>
                            <a:pt x="637860" y="0"/>
                          </a:cubicBezTo>
                          <a:cubicBezTo>
                            <a:pt x="285611" y="0"/>
                            <a:pt x="0" y="285611"/>
                            <a:pt x="0" y="637862"/>
                          </a:cubicBezTo>
                          <a:cubicBezTo>
                            <a:pt x="375" y="990030"/>
                            <a:pt x="285694" y="1275436"/>
                            <a:pt x="637860" y="1275723"/>
                          </a:cubicBezTo>
                          <a:close/>
                          <a:moveTo>
                            <a:pt x="637860" y="212648"/>
                          </a:moveTo>
                          <a:cubicBezTo>
                            <a:pt x="872683" y="212648"/>
                            <a:pt x="1063120" y="403042"/>
                            <a:pt x="1063120" y="637862"/>
                          </a:cubicBezTo>
                          <a:cubicBezTo>
                            <a:pt x="1063120" y="872763"/>
                            <a:pt x="872683" y="1063115"/>
                            <a:pt x="637860" y="1063115"/>
                          </a:cubicBezTo>
                          <a:cubicBezTo>
                            <a:pt x="403005" y="1063115"/>
                            <a:pt x="212608" y="872763"/>
                            <a:pt x="212608" y="637862"/>
                          </a:cubicBezTo>
                          <a:cubicBezTo>
                            <a:pt x="212608" y="403042"/>
                            <a:pt x="403005" y="212648"/>
                            <a:pt x="637860" y="212648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087BE634-7AB5-45C7-8D82-ECBC7A7CBB3B}"/>
                </a:ext>
              </a:extLst>
            </p:cNvPr>
            <p:cNvSpPr/>
            <p:nvPr/>
          </p:nvSpPr>
          <p:spPr>
            <a:xfrm>
              <a:off x="3941932" y="4357130"/>
              <a:ext cx="212651" cy="2019915"/>
            </a:xfrm>
            <a:custGeom>
              <a:avLst/>
              <a:gdLst>
                <a:gd name="connsiteX0" fmla="*/ 0 w 212651"/>
                <a:gd name="connsiteY0" fmla="*/ 0 h 2019915"/>
                <a:gd name="connsiteX1" fmla="*/ 212651 w 212651"/>
                <a:gd name="connsiteY1" fmla="*/ 0 h 2019915"/>
                <a:gd name="connsiteX2" fmla="*/ 212651 w 212651"/>
                <a:gd name="connsiteY2" fmla="*/ 2019915 h 2019915"/>
                <a:gd name="connsiteX3" fmla="*/ 0 w 212651"/>
                <a:gd name="connsiteY3" fmla="*/ 2019915 h 2019915"/>
                <a:gd name="connsiteX4" fmla="*/ 0 w 212651"/>
                <a:gd name="connsiteY4" fmla="*/ 0 h 201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2651" h="2019915" fill="none" extrusionOk="0">
                  <a:moveTo>
                    <a:pt x="0" y="0"/>
                  </a:moveTo>
                  <a:cubicBezTo>
                    <a:pt x="88460" y="2771"/>
                    <a:pt x="143402" y="18944"/>
                    <a:pt x="212651" y="0"/>
                  </a:cubicBezTo>
                  <a:cubicBezTo>
                    <a:pt x="242736" y="286152"/>
                    <a:pt x="62915" y="1114076"/>
                    <a:pt x="212651" y="2019915"/>
                  </a:cubicBezTo>
                  <a:cubicBezTo>
                    <a:pt x="177527" y="2025315"/>
                    <a:pt x="37552" y="2013676"/>
                    <a:pt x="0" y="2019915"/>
                  </a:cubicBezTo>
                  <a:cubicBezTo>
                    <a:pt x="-78295" y="1757380"/>
                    <a:pt x="86552" y="359346"/>
                    <a:pt x="0" y="0"/>
                  </a:cubicBezTo>
                  <a:close/>
                </a:path>
                <a:path w="212651" h="2019915" stroke="0" extrusionOk="0">
                  <a:moveTo>
                    <a:pt x="0" y="0"/>
                  </a:moveTo>
                  <a:cubicBezTo>
                    <a:pt x="25307" y="8074"/>
                    <a:pt x="152581" y="7065"/>
                    <a:pt x="212651" y="0"/>
                  </a:cubicBezTo>
                  <a:cubicBezTo>
                    <a:pt x="71031" y="479791"/>
                    <a:pt x="341765" y="1232922"/>
                    <a:pt x="212651" y="2019915"/>
                  </a:cubicBezTo>
                  <a:cubicBezTo>
                    <a:pt x="123385" y="2021107"/>
                    <a:pt x="66495" y="2002471"/>
                    <a:pt x="0" y="2019915"/>
                  </a:cubicBezTo>
                  <a:cubicBezTo>
                    <a:pt x="-168908" y="1637208"/>
                    <a:pt x="163216" y="793560"/>
                    <a:pt x="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213528830">
                    <a:custGeom>
                      <a:avLst/>
                      <a:gdLst>
                        <a:gd name="connsiteX0" fmla="*/ 0 w 212651"/>
                        <a:gd name="connsiteY0" fmla="*/ 0 h 2019915"/>
                        <a:gd name="connsiteX1" fmla="*/ 212651 w 212651"/>
                        <a:gd name="connsiteY1" fmla="*/ 0 h 2019915"/>
                        <a:gd name="connsiteX2" fmla="*/ 212651 w 212651"/>
                        <a:gd name="connsiteY2" fmla="*/ 2019915 h 2019915"/>
                        <a:gd name="connsiteX3" fmla="*/ 0 w 212651"/>
                        <a:gd name="connsiteY3" fmla="*/ 2019915 h 201991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12651" h="2019915">
                          <a:moveTo>
                            <a:pt x="0" y="0"/>
                          </a:moveTo>
                          <a:lnTo>
                            <a:pt x="212651" y="0"/>
                          </a:lnTo>
                          <a:lnTo>
                            <a:pt x="212651" y="2019915"/>
                          </a:lnTo>
                          <a:lnTo>
                            <a:pt x="0" y="2019915"/>
                          </a:ln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4BB39500-B85F-435F-BCBE-79AE476D189F}"/>
                </a:ext>
              </a:extLst>
            </p:cNvPr>
            <p:cNvSpPr/>
            <p:nvPr/>
          </p:nvSpPr>
          <p:spPr>
            <a:xfrm>
              <a:off x="2666206" y="-1622"/>
              <a:ext cx="6429375" cy="6378667"/>
            </a:xfrm>
            <a:custGeom>
              <a:avLst/>
              <a:gdLst>
                <a:gd name="connsiteX0" fmla="*/ 6429375 w 6429375"/>
                <a:gd name="connsiteY0" fmla="*/ 744187 h 6378667"/>
                <a:gd name="connsiteX1" fmla="*/ 5209226 w 6429375"/>
                <a:gd name="connsiteY1" fmla="*/ 744187 h 6378667"/>
                <a:gd name="connsiteX2" fmla="*/ 5209226 w 6429375"/>
                <a:gd name="connsiteY2" fmla="*/ 318932 h 6378667"/>
                <a:gd name="connsiteX3" fmla="*/ 3614571 w 6429375"/>
                <a:gd name="connsiteY3" fmla="*/ 318932 h 6378667"/>
                <a:gd name="connsiteX4" fmla="*/ 3614571 w 6429375"/>
                <a:gd name="connsiteY4" fmla="*/ 265811 h 6378667"/>
                <a:gd name="connsiteX5" fmla="*/ 3348802 w 6429375"/>
                <a:gd name="connsiteY5" fmla="*/ 0 h 6378667"/>
                <a:gd name="connsiteX6" fmla="*/ 3083033 w 6429375"/>
                <a:gd name="connsiteY6" fmla="*/ 265811 h 6378667"/>
                <a:gd name="connsiteX7" fmla="*/ 3083033 w 6429375"/>
                <a:gd name="connsiteY7" fmla="*/ 1913631 h 6378667"/>
                <a:gd name="connsiteX8" fmla="*/ 744187 w 6429375"/>
                <a:gd name="connsiteY8" fmla="*/ 1913631 h 6378667"/>
                <a:gd name="connsiteX9" fmla="*/ 0 w 6429375"/>
                <a:gd name="connsiteY9" fmla="*/ 2657777 h 6378667"/>
                <a:gd name="connsiteX10" fmla="*/ 0 w 6429375"/>
                <a:gd name="connsiteY10" fmla="*/ 3720895 h 6378667"/>
                <a:gd name="connsiteX11" fmla="*/ 531539 w 6429375"/>
                <a:gd name="connsiteY11" fmla="*/ 4252475 h 6378667"/>
                <a:gd name="connsiteX12" fmla="*/ 637862 w 6429375"/>
                <a:gd name="connsiteY12" fmla="*/ 4252475 h 6378667"/>
                <a:gd name="connsiteX13" fmla="*/ 637862 w 6429375"/>
                <a:gd name="connsiteY13" fmla="*/ 6378668 h 6378667"/>
                <a:gd name="connsiteX14" fmla="*/ 850470 w 6429375"/>
                <a:gd name="connsiteY14" fmla="*/ 6378668 h 6378667"/>
                <a:gd name="connsiteX15" fmla="*/ 850470 w 6429375"/>
                <a:gd name="connsiteY15" fmla="*/ 2551489 h 6378667"/>
                <a:gd name="connsiteX16" fmla="*/ 637862 w 6429375"/>
                <a:gd name="connsiteY16" fmla="*/ 2551489 h 6378667"/>
                <a:gd name="connsiteX17" fmla="*/ 637862 w 6429375"/>
                <a:gd name="connsiteY17" fmla="*/ 4039824 h 6378667"/>
                <a:gd name="connsiteX18" fmla="*/ 531539 w 6429375"/>
                <a:gd name="connsiteY18" fmla="*/ 4039824 h 6378667"/>
                <a:gd name="connsiteX19" fmla="*/ 212607 w 6429375"/>
                <a:gd name="connsiteY19" fmla="*/ 3720895 h 6378667"/>
                <a:gd name="connsiteX20" fmla="*/ 212607 w 6429375"/>
                <a:gd name="connsiteY20" fmla="*/ 2657777 h 6378667"/>
                <a:gd name="connsiteX21" fmla="*/ 744187 w 6429375"/>
                <a:gd name="connsiteY21" fmla="*/ 2126239 h 6378667"/>
                <a:gd name="connsiteX22" fmla="*/ 3614571 w 6429375"/>
                <a:gd name="connsiteY22" fmla="*/ 2126239 h 6378667"/>
                <a:gd name="connsiteX23" fmla="*/ 3614571 w 6429375"/>
                <a:gd name="connsiteY23" fmla="*/ 2232560 h 6378667"/>
                <a:gd name="connsiteX24" fmla="*/ 3295642 w 6429375"/>
                <a:gd name="connsiteY24" fmla="*/ 2551489 h 6378667"/>
                <a:gd name="connsiteX25" fmla="*/ 1913584 w 6429375"/>
                <a:gd name="connsiteY25" fmla="*/ 2551489 h 6378667"/>
                <a:gd name="connsiteX26" fmla="*/ 1913584 w 6429375"/>
                <a:gd name="connsiteY26" fmla="*/ 6378668 h 6378667"/>
                <a:gd name="connsiteX27" fmla="*/ 2126236 w 6429375"/>
                <a:gd name="connsiteY27" fmla="*/ 6378668 h 6378667"/>
                <a:gd name="connsiteX28" fmla="*/ 2126236 w 6429375"/>
                <a:gd name="connsiteY28" fmla="*/ 2764097 h 6378667"/>
                <a:gd name="connsiteX29" fmla="*/ 3083033 w 6429375"/>
                <a:gd name="connsiteY29" fmla="*/ 2764097 h 6378667"/>
                <a:gd name="connsiteX30" fmla="*/ 3083033 w 6429375"/>
                <a:gd name="connsiteY30" fmla="*/ 6378668 h 6378667"/>
                <a:gd name="connsiteX31" fmla="*/ 3614571 w 6429375"/>
                <a:gd name="connsiteY31" fmla="*/ 6378668 h 6378667"/>
                <a:gd name="connsiteX32" fmla="*/ 3614571 w 6429375"/>
                <a:gd name="connsiteY32" fmla="*/ 2655029 h 6378667"/>
                <a:gd name="connsiteX33" fmla="*/ 3827222 w 6429375"/>
                <a:gd name="connsiteY33" fmla="*/ 2232560 h 6378667"/>
                <a:gd name="connsiteX34" fmla="*/ 3827222 w 6429375"/>
                <a:gd name="connsiteY34" fmla="*/ 1913631 h 6378667"/>
                <a:gd name="connsiteX35" fmla="*/ 3614571 w 6429375"/>
                <a:gd name="connsiteY35" fmla="*/ 1913631 h 6378667"/>
                <a:gd name="connsiteX36" fmla="*/ 3614571 w 6429375"/>
                <a:gd name="connsiteY36" fmla="*/ 1594702 h 6378667"/>
                <a:gd name="connsiteX37" fmla="*/ 4677689 w 6429375"/>
                <a:gd name="connsiteY37" fmla="*/ 1594702 h 6378667"/>
                <a:gd name="connsiteX38" fmla="*/ 4677689 w 6429375"/>
                <a:gd name="connsiteY38" fmla="*/ 2019908 h 6378667"/>
                <a:gd name="connsiteX39" fmla="*/ 6429375 w 6429375"/>
                <a:gd name="connsiteY39" fmla="*/ 2019908 h 6378667"/>
                <a:gd name="connsiteX40" fmla="*/ 6174256 w 6429375"/>
                <a:gd name="connsiteY40" fmla="*/ 1382050 h 6378667"/>
                <a:gd name="connsiteX41" fmla="*/ 6429375 w 6429375"/>
                <a:gd name="connsiteY41" fmla="*/ 744187 h 6378667"/>
                <a:gd name="connsiteX42" fmla="*/ 3401962 w 6429375"/>
                <a:gd name="connsiteY42" fmla="*/ 6166059 h 6378667"/>
                <a:gd name="connsiteX43" fmla="*/ 3295642 w 6429375"/>
                <a:gd name="connsiteY43" fmla="*/ 6166059 h 6378667"/>
                <a:gd name="connsiteX44" fmla="*/ 3295642 w 6429375"/>
                <a:gd name="connsiteY44" fmla="*/ 2764097 h 6378667"/>
                <a:gd name="connsiteX45" fmla="*/ 3401962 w 6429375"/>
                <a:gd name="connsiteY45" fmla="*/ 2753533 h 6378667"/>
                <a:gd name="connsiteX46" fmla="*/ 3401962 w 6429375"/>
                <a:gd name="connsiteY46" fmla="*/ 6166059 h 6378667"/>
                <a:gd name="connsiteX47" fmla="*/ 3401962 w 6429375"/>
                <a:gd name="connsiteY47" fmla="*/ 1913631 h 6378667"/>
                <a:gd name="connsiteX48" fmla="*/ 3295642 w 6429375"/>
                <a:gd name="connsiteY48" fmla="*/ 1913631 h 6378667"/>
                <a:gd name="connsiteX49" fmla="*/ 3295642 w 6429375"/>
                <a:gd name="connsiteY49" fmla="*/ 265811 h 6378667"/>
                <a:gd name="connsiteX50" fmla="*/ 3348802 w 6429375"/>
                <a:gd name="connsiteY50" fmla="*/ 212649 h 6378667"/>
                <a:gd name="connsiteX51" fmla="*/ 3401962 w 6429375"/>
                <a:gd name="connsiteY51" fmla="*/ 265811 h 6378667"/>
                <a:gd name="connsiteX52" fmla="*/ 3401962 w 6429375"/>
                <a:gd name="connsiteY52" fmla="*/ 1913631 h 6378667"/>
                <a:gd name="connsiteX53" fmla="*/ 3614571 w 6429375"/>
                <a:gd name="connsiteY53" fmla="*/ 531580 h 6378667"/>
                <a:gd name="connsiteX54" fmla="*/ 4996618 w 6429375"/>
                <a:gd name="connsiteY54" fmla="*/ 531580 h 6378667"/>
                <a:gd name="connsiteX55" fmla="*/ 4996618 w 6429375"/>
                <a:gd name="connsiteY55" fmla="*/ 1382050 h 6378667"/>
                <a:gd name="connsiteX56" fmla="*/ 3614571 w 6429375"/>
                <a:gd name="connsiteY56" fmla="*/ 1382050 h 6378667"/>
                <a:gd name="connsiteX57" fmla="*/ 3614571 w 6429375"/>
                <a:gd name="connsiteY57" fmla="*/ 531580 h 6378667"/>
                <a:gd name="connsiteX58" fmla="*/ 6115313 w 6429375"/>
                <a:gd name="connsiteY58" fmla="*/ 1807310 h 6378667"/>
                <a:gd name="connsiteX59" fmla="*/ 4890297 w 6429375"/>
                <a:gd name="connsiteY59" fmla="*/ 1807310 h 6378667"/>
                <a:gd name="connsiteX60" fmla="*/ 4890297 w 6429375"/>
                <a:gd name="connsiteY60" fmla="*/ 1594702 h 6378667"/>
                <a:gd name="connsiteX61" fmla="*/ 5209226 w 6429375"/>
                <a:gd name="connsiteY61" fmla="*/ 1594702 h 6378667"/>
                <a:gd name="connsiteX62" fmla="*/ 5209226 w 6429375"/>
                <a:gd name="connsiteY62" fmla="*/ 956835 h 6378667"/>
                <a:gd name="connsiteX63" fmla="*/ 6115313 w 6429375"/>
                <a:gd name="connsiteY63" fmla="*/ 956835 h 6378667"/>
                <a:gd name="connsiteX64" fmla="*/ 5945215 w 6429375"/>
                <a:gd name="connsiteY64" fmla="*/ 1382050 h 6378667"/>
                <a:gd name="connsiteX65" fmla="*/ 6115313 w 6429375"/>
                <a:gd name="connsiteY65" fmla="*/ 1807310 h 6378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6429375" h="6378667" fill="none" extrusionOk="0">
                  <a:moveTo>
                    <a:pt x="6429375" y="744187"/>
                  </a:moveTo>
                  <a:cubicBezTo>
                    <a:pt x="6300727" y="713996"/>
                    <a:pt x="5438619" y="769435"/>
                    <a:pt x="5209226" y="744187"/>
                  </a:cubicBezTo>
                  <a:cubicBezTo>
                    <a:pt x="5242682" y="628028"/>
                    <a:pt x="5211822" y="486731"/>
                    <a:pt x="5209226" y="318932"/>
                  </a:cubicBezTo>
                  <a:cubicBezTo>
                    <a:pt x="4658510" y="312922"/>
                    <a:pt x="4223056" y="240131"/>
                    <a:pt x="3614571" y="318932"/>
                  </a:cubicBezTo>
                  <a:cubicBezTo>
                    <a:pt x="3617367" y="302991"/>
                    <a:pt x="3617801" y="282847"/>
                    <a:pt x="3614571" y="265811"/>
                  </a:cubicBezTo>
                  <a:cubicBezTo>
                    <a:pt x="3636079" y="110739"/>
                    <a:pt x="3476826" y="2533"/>
                    <a:pt x="3348802" y="0"/>
                  </a:cubicBezTo>
                  <a:cubicBezTo>
                    <a:pt x="3201251" y="-6013"/>
                    <a:pt x="3079404" y="90917"/>
                    <a:pt x="3083033" y="265811"/>
                  </a:cubicBezTo>
                  <a:cubicBezTo>
                    <a:pt x="3070783" y="539512"/>
                    <a:pt x="2955593" y="1494570"/>
                    <a:pt x="3083033" y="1913631"/>
                  </a:cubicBezTo>
                  <a:cubicBezTo>
                    <a:pt x="1992497" y="1899285"/>
                    <a:pt x="1785637" y="1763029"/>
                    <a:pt x="744187" y="1913631"/>
                  </a:cubicBezTo>
                  <a:cubicBezTo>
                    <a:pt x="326474" y="1927321"/>
                    <a:pt x="-18084" y="2314610"/>
                    <a:pt x="0" y="2657777"/>
                  </a:cubicBezTo>
                  <a:cubicBezTo>
                    <a:pt x="-65053" y="3027242"/>
                    <a:pt x="-13642" y="3208335"/>
                    <a:pt x="0" y="3720895"/>
                  </a:cubicBezTo>
                  <a:cubicBezTo>
                    <a:pt x="-52747" y="3991949"/>
                    <a:pt x="224961" y="4246603"/>
                    <a:pt x="531539" y="4252475"/>
                  </a:cubicBezTo>
                  <a:cubicBezTo>
                    <a:pt x="580889" y="4253310"/>
                    <a:pt x="587821" y="4257569"/>
                    <a:pt x="637862" y="4252475"/>
                  </a:cubicBezTo>
                  <a:cubicBezTo>
                    <a:pt x="529272" y="5216135"/>
                    <a:pt x="760972" y="5978082"/>
                    <a:pt x="637862" y="6378668"/>
                  </a:cubicBezTo>
                  <a:cubicBezTo>
                    <a:pt x="659795" y="6364768"/>
                    <a:pt x="756645" y="6389013"/>
                    <a:pt x="850470" y="6378668"/>
                  </a:cubicBezTo>
                  <a:cubicBezTo>
                    <a:pt x="822755" y="4725675"/>
                    <a:pt x="893718" y="4098150"/>
                    <a:pt x="850470" y="2551489"/>
                  </a:cubicBezTo>
                  <a:cubicBezTo>
                    <a:pt x="771472" y="2539710"/>
                    <a:pt x="744109" y="2537235"/>
                    <a:pt x="637862" y="2551489"/>
                  </a:cubicBezTo>
                  <a:cubicBezTo>
                    <a:pt x="601981" y="3089981"/>
                    <a:pt x="707084" y="3748350"/>
                    <a:pt x="637862" y="4039824"/>
                  </a:cubicBezTo>
                  <a:cubicBezTo>
                    <a:pt x="624221" y="4041517"/>
                    <a:pt x="568948" y="4034412"/>
                    <a:pt x="531539" y="4039824"/>
                  </a:cubicBezTo>
                  <a:cubicBezTo>
                    <a:pt x="375827" y="4045282"/>
                    <a:pt x="221100" y="3907958"/>
                    <a:pt x="212607" y="3720895"/>
                  </a:cubicBezTo>
                  <a:cubicBezTo>
                    <a:pt x="178477" y="3377663"/>
                    <a:pt x="136932" y="2912106"/>
                    <a:pt x="212607" y="2657777"/>
                  </a:cubicBezTo>
                  <a:cubicBezTo>
                    <a:pt x="228446" y="2331842"/>
                    <a:pt x="421069" y="2162039"/>
                    <a:pt x="744187" y="2126239"/>
                  </a:cubicBezTo>
                  <a:cubicBezTo>
                    <a:pt x="1196550" y="2228427"/>
                    <a:pt x="2640123" y="2091655"/>
                    <a:pt x="3614571" y="2126239"/>
                  </a:cubicBezTo>
                  <a:cubicBezTo>
                    <a:pt x="3608998" y="2146732"/>
                    <a:pt x="3617903" y="2192213"/>
                    <a:pt x="3614571" y="2232560"/>
                  </a:cubicBezTo>
                  <a:cubicBezTo>
                    <a:pt x="3611925" y="2409153"/>
                    <a:pt x="3471869" y="2548466"/>
                    <a:pt x="3295642" y="2551489"/>
                  </a:cubicBezTo>
                  <a:cubicBezTo>
                    <a:pt x="3006163" y="2594466"/>
                    <a:pt x="2590587" y="2556076"/>
                    <a:pt x="1913584" y="2551489"/>
                  </a:cubicBezTo>
                  <a:cubicBezTo>
                    <a:pt x="1986927" y="3489158"/>
                    <a:pt x="1776313" y="4750714"/>
                    <a:pt x="1913584" y="6378668"/>
                  </a:cubicBezTo>
                  <a:cubicBezTo>
                    <a:pt x="1945248" y="6375046"/>
                    <a:pt x="2081934" y="6363709"/>
                    <a:pt x="2126236" y="6378668"/>
                  </a:cubicBezTo>
                  <a:cubicBezTo>
                    <a:pt x="2030064" y="5119184"/>
                    <a:pt x="2114418" y="3527073"/>
                    <a:pt x="2126236" y="2764097"/>
                  </a:cubicBezTo>
                  <a:cubicBezTo>
                    <a:pt x="2438957" y="2764927"/>
                    <a:pt x="2975274" y="2749137"/>
                    <a:pt x="3083033" y="2764097"/>
                  </a:cubicBezTo>
                  <a:cubicBezTo>
                    <a:pt x="3038692" y="3422663"/>
                    <a:pt x="3150641" y="5616591"/>
                    <a:pt x="3083033" y="6378668"/>
                  </a:cubicBezTo>
                  <a:cubicBezTo>
                    <a:pt x="3193614" y="6349742"/>
                    <a:pt x="3506653" y="6340975"/>
                    <a:pt x="3614571" y="6378668"/>
                  </a:cubicBezTo>
                  <a:cubicBezTo>
                    <a:pt x="3705729" y="5729969"/>
                    <a:pt x="3489656" y="4368528"/>
                    <a:pt x="3614571" y="2655029"/>
                  </a:cubicBezTo>
                  <a:cubicBezTo>
                    <a:pt x="3755241" y="2564619"/>
                    <a:pt x="3826983" y="2401250"/>
                    <a:pt x="3827222" y="2232560"/>
                  </a:cubicBezTo>
                  <a:cubicBezTo>
                    <a:pt x="3832872" y="2151177"/>
                    <a:pt x="3846933" y="1992129"/>
                    <a:pt x="3827222" y="1913631"/>
                  </a:cubicBezTo>
                  <a:cubicBezTo>
                    <a:pt x="3786388" y="1908654"/>
                    <a:pt x="3658615" y="1896729"/>
                    <a:pt x="3614571" y="1913631"/>
                  </a:cubicBezTo>
                  <a:cubicBezTo>
                    <a:pt x="3612764" y="1859835"/>
                    <a:pt x="3598851" y="1730058"/>
                    <a:pt x="3614571" y="1594702"/>
                  </a:cubicBezTo>
                  <a:cubicBezTo>
                    <a:pt x="4052587" y="1545002"/>
                    <a:pt x="4177494" y="1662607"/>
                    <a:pt x="4677689" y="1594702"/>
                  </a:cubicBezTo>
                  <a:cubicBezTo>
                    <a:pt x="4653412" y="1731027"/>
                    <a:pt x="4666950" y="1856577"/>
                    <a:pt x="4677689" y="2019908"/>
                  </a:cubicBezTo>
                  <a:cubicBezTo>
                    <a:pt x="5526247" y="2075276"/>
                    <a:pt x="5687016" y="1968448"/>
                    <a:pt x="6429375" y="2019908"/>
                  </a:cubicBezTo>
                  <a:cubicBezTo>
                    <a:pt x="6277150" y="1789300"/>
                    <a:pt x="6224331" y="1631991"/>
                    <a:pt x="6174256" y="1382050"/>
                  </a:cubicBezTo>
                  <a:cubicBezTo>
                    <a:pt x="6272408" y="1156563"/>
                    <a:pt x="6376180" y="1036927"/>
                    <a:pt x="6429375" y="744187"/>
                  </a:cubicBezTo>
                  <a:close/>
                  <a:moveTo>
                    <a:pt x="3401962" y="6166059"/>
                  </a:moveTo>
                  <a:cubicBezTo>
                    <a:pt x="3362000" y="6165225"/>
                    <a:pt x="3326696" y="6166751"/>
                    <a:pt x="3295642" y="6166059"/>
                  </a:cubicBezTo>
                  <a:cubicBezTo>
                    <a:pt x="3279639" y="4695232"/>
                    <a:pt x="3377668" y="4246719"/>
                    <a:pt x="3295642" y="2764097"/>
                  </a:cubicBezTo>
                  <a:cubicBezTo>
                    <a:pt x="3331695" y="2763589"/>
                    <a:pt x="3369307" y="2754930"/>
                    <a:pt x="3401962" y="2753533"/>
                  </a:cubicBezTo>
                  <a:cubicBezTo>
                    <a:pt x="3485287" y="4380976"/>
                    <a:pt x="3551894" y="4925734"/>
                    <a:pt x="3401962" y="6166059"/>
                  </a:cubicBezTo>
                  <a:close/>
                  <a:moveTo>
                    <a:pt x="3401962" y="1913631"/>
                  </a:moveTo>
                  <a:cubicBezTo>
                    <a:pt x="3380426" y="1905971"/>
                    <a:pt x="3325743" y="1907329"/>
                    <a:pt x="3295642" y="1913631"/>
                  </a:cubicBezTo>
                  <a:cubicBezTo>
                    <a:pt x="3343015" y="1154163"/>
                    <a:pt x="3295598" y="1027503"/>
                    <a:pt x="3295642" y="265811"/>
                  </a:cubicBezTo>
                  <a:cubicBezTo>
                    <a:pt x="3300547" y="234084"/>
                    <a:pt x="3318771" y="213047"/>
                    <a:pt x="3348802" y="212649"/>
                  </a:cubicBezTo>
                  <a:cubicBezTo>
                    <a:pt x="3376046" y="209060"/>
                    <a:pt x="3402755" y="236270"/>
                    <a:pt x="3401962" y="265811"/>
                  </a:cubicBezTo>
                  <a:cubicBezTo>
                    <a:pt x="3384425" y="907232"/>
                    <a:pt x="3389896" y="1527435"/>
                    <a:pt x="3401962" y="1913631"/>
                  </a:cubicBezTo>
                  <a:close/>
                  <a:moveTo>
                    <a:pt x="3614571" y="531580"/>
                  </a:moveTo>
                  <a:cubicBezTo>
                    <a:pt x="3929561" y="496069"/>
                    <a:pt x="4330020" y="466241"/>
                    <a:pt x="4996618" y="531580"/>
                  </a:cubicBezTo>
                  <a:cubicBezTo>
                    <a:pt x="4982114" y="863036"/>
                    <a:pt x="4928646" y="1121498"/>
                    <a:pt x="4996618" y="1382050"/>
                  </a:cubicBezTo>
                  <a:cubicBezTo>
                    <a:pt x="4666829" y="1482836"/>
                    <a:pt x="4101526" y="1302712"/>
                    <a:pt x="3614571" y="1382050"/>
                  </a:cubicBezTo>
                  <a:cubicBezTo>
                    <a:pt x="3631135" y="1086441"/>
                    <a:pt x="3658195" y="925763"/>
                    <a:pt x="3614571" y="531580"/>
                  </a:cubicBezTo>
                  <a:close/>
                  <a:moveTo>
                    <a:pt x="6115313" y="1807310"/>
                  </a:moveTo>
                  <a:cubicBezTo>
                    <a:pt x="5579582" y="1828016"/>
                    <a:pt x="5471971" y="1817278"/>
                    <a:pt x="4890297" y="1807310"/>
                  </a:cubicBezTo>
                  <a:cubicBezTo>
                    <a:pt x="4873129" y="1753003"/>
                    <a:pt x="4899470" y="1640900"/>
                    <a:pt x="4890297" y="1594702"/>
                  </a:cubicBezTo>
                  <a:cubicBezTo>
                    <a:pt x="4927679" y="1600232"/>
                    <a:pt x="5145877" y="1568770"/>
                    <a:pt x="5209226" y="1594702"/>
                  </a:cubicBezTo>
                  <a:cubicBezTo>
                    <a:pt x="5168703" y="1282974"/>
                    <a:pt x="5225362" y="1261905"/>
                    <a:pt x="5209226" y="956835"/>
                  </a:cubicBezTo>
                  <a:cubicBezTo>
                    <a:pt x="5374899" y="925390"/>
                    <a:pt x="5727300" y="1018748"/>
                    <a:pt x="6115313" y="956835"/>
                  </a:cubicBezTo>
                  <a:cubicBezTo>
                    <a:pt x="6039530" y="1125879"/>
                    <a:pt x="5989870" y="1211043"/>
                    <a:pt x="5945215" y="1382050"/>
                  </a:cubicBezTo>
                  <a:cubicBezTo>
                    <a:pt x="6006149" y="1525102"/>
                    <a:pt x="6056346" y="1754870"/>
                    <a:pt x="6115313" y="1807310"/>
                  </a:cubicBezTo>
                  <a:close/>
                </a:path>
                <a:path w="6429375" h="6378667" stroke="0" extrusionOk="0">
                  <a:moveTo>
                    <a:pt x="6429375" y="744187"/>
                  </a:moveTo>
                  <a:cubicBezTo>
                    <a:pt x="5953034" y="768027"/>
                    <a:pt x="5532385" y="832495"/>
                    <a:pt x="5209226" y="744187"/>
                  </a:cubicBezTo>
                  <a:cubicBezTo>
                    <a:pt x="5177425" y="635637"/>
                    <a:pt x="5226278" y="375502"/>
                    <a:pt x="5209226" y="318932"/>
                  </a:cubicBezTo>
                  <a:cubicBezTo>
                    <a:pt x="4515347" y="353319"/>
                    <a:pt x="4045826" y="297309"/>
                    <a:pt x="3614571" y="318932"/>
                  </a:cubicBezTo>
                  <a:cubicBezTo>
                    <a:pt x="3614835" y="313361"/>
                    <a:pt x="3616746" y="290249"/>
                    <a:pt x="3614571" y="265811"/>
                  </a:cubicBezTo>
                  <a:cubicBezTo>
                    <a:pt x="3607299" y="94863"/>
                    <a:pt x="3503587" y="2994"/>
                    <a:pt x="3348802" y="0"/>
                  </a:cubicBezTo>
                  <a:cubicBezTo>
                    <a:pt x="3202546" y="7317"/>
                    <a:pt x="3085997" y="120340"/>
                    <a:pt x="3083033" y="265811"/>
                  </a:cubicBezTo>
                  <a:cubicBezTo>
                    <a:pt x="3010137" y="521814"/>
                    <a:pt x="3099799" y="1154891"/>
                    <a:pt x="3083033" y="1913631"/>
                  </a:cubicBezTo>
                  <a:cubicBezTo>
                    <a:pt x="2575667" y="1992776"/>
                    <a:pt x="1176603" y="1904020"/>
                    <a:pt x="744187" y="1913631"/>
                  </a:cubicBezTo>
                  <a:cubicBezTo>
                    <a:pt x="360284" y="1902960"/>
                    <a:pt x="-27236" y="2233885"/>
                    <a:pt x="0" y="2657777"/>
                  </a:cubicBezTo>
                  <a:cubicBezTo>
                    <a:pt x="-30786" y="2840737"/>
                    <a:pt x="-21781" y="3296268"/>
                    <a:pt x="0" y="3720895"/>
                  </a:cubicBezTo>
                  <a:cubicBezTo>
                    <a:pt x="-16879" y="3998253"/>
                    <a:pt x="268214" y="4267329"/>
                    <a:pt x="531539" y="4252475"/>
                  </a:cubicBezTo>
                  <a:cubicBezTo>
                    <a:pt x="559046" y="4260466"/>
                    <a:pt x="593888" y="4256035"/>
                    <a:pt x="637862" y="4252475"/>
                  </a:cubicBezTo>
                  <a:cubicBezTo>
                    <a:pt x="584474" y="4946532"/>
                    <a:pt x="636092" y="5954421"/>
                    <a:pt x="637862" y="6378668"/>
                  </a:cubicBezTo>
                  <a:cubicBezTo>
                    <a:pt x="729139" y="6394916"/>
                    <a:pt x="784037" y="6384158"/>
                    <a:pt x="850470" y="6378668"/>
                  </a:cubicBezTo>
                  <a:cubicBezTo>
                    <a:pt x="727365" y="5866940"/>
                    <a:pt x="891511" y="4136098"/>
                    <a:pt x="850470" y="2551489"/>
                  </a:cubicBezTo>
                  <a:cubicBezTo>
                    <a:pt x="816380" y="2548703"/>
                    <a:pt x="725409" y="2557063"/>
                    <a:pt x="637862" y="2551489"/>
                  </a:cubicBezTo>
                  <a:cubicBezTo>
                    <a:pt x="713208" y="3154332"/>
                    <a:pt x="554290" y="3344783"/>
                    <a:pt x="637862" y="4039824"/>
                  </a:cubicBezTo>
                  <a:cubicBezTo>
                    <a:pt x="618758" y="4046242"/>
                    <a:pt x="575907" y="4042260"/>
                    <a:pt x="531539" y="4039824"/>
                  </a:cubicBezTo>
                  <a:cubicBezTo>
                    <a:pt x="360296" y="4030911"/>
                    <a:pt x="204789" y="3915188"/>
                    <a:pt x="212607" y="3720895"/>
                  </a:cubicBezTo>
                  <a:cubicBezTo>
                    <a:pt x="265997" y="3506301"/>
                    <a:pt x="304684" y="3143434"/>
                    <a:pt x="212607" y="2657777"/>
                  </a:cubicBezTo>
                  <a:cubicBezTo>
                    <a:pt x="198313" y="2335964"/>
                    <a:pt x="490391" y="2105667"/>
                    <a:pt x="744187" y="2126239"/>
                  </a:cubicBezTo>
                  <a:cubicBezTo>
                    <a:pt x="1733642" y="1998271"/>
                    <a:pt x="2253814" y="2146628"/>
                    <a:pt x="3614571" y="2126239"/>
                  </a:cubicBezTo>
                  <a:cubicBezTo>
                    <a:pt x="3607619" y="2148110"/>
                    <a:pt x="3612150" y="2195599"/>
                    <a:pt x="3614571" y="2232560"/>
                  </a:cubicBezTo>
                  <a:cubicBezTo>
                    <a:pt x="3613401" y="2423278"/>
                    <a:pt x="3479222" y="2547325"/>
                    <a:pt x="3295642" y="2551489"/>
                  </a:cubicBezTo>
                  <a:cubicBezTo>
                    <a:pt x="2905492" y="2661507"/>
                    <a:pt x="2193147" y="2645336"/>
                    <a:pt x="1913584" y="2551489"/>
                  </a:cubicBezTo>
                  <a:cubicBezTo>
                    <a:pt x="2029429" y="3561752"/>
                    <a:pt x="1842481" y="5234371"/>
                    <a:pt x="1913584" y="6378668"/>
                  </a:cubicBezTo>
                  <a:cubicBezTo>
                    <a:pt x="2000328" y="6384762"/>
                    <a:pt x="2096667" y="6396992"/>
                    <a:pt x="2126236" y="6378668"/>
                  </a:cubicBezTo>
                  <a:cubicBezTo>
                    <a:pt x="2038389" y="4643984"/>
                    <a:pt x="1956726" y="3464363"/>
                    <a:pt x="2126236" y="2764097"/>
                  </a:cubicBezTo>
                  <a:cubicBezTo>
                    <a:pt x="2429149" y="2784192"/>
                    <a:pt x="2625098" y="2738527"/>
                    <a:pt x="3083033" y="2764097"/>
                  </a:cubicBezTo>
                  <a:cubicBezTo>
                    <a:pt x="3129283" y="3558215"/>
                    <a:pt x="2999169" y="4945751"/>
                    <a:pt x="3083033" y="6378668"/>
                  </a:cubicBezTo>
                  <a:cubicBezTo>
                    <a:pt x="3206575" y="6414075"/>
                    <a:pt x="3387522" y="6347230"/>
                    <a:pt x="3614571" y="6378668"/>
                  </a:cubicBezTo>
                  <a:cubicBezTo>
                    <a:pt x="3482646" y="4671563"/>
                    <a:pt x="3737622" y="4274402"/>
                    <a:pt x="3614571" y="2655029"/>
                  </a:cubicBezTo>
                  <a:cubicBezTo>
                    <a:pt x="3741817" y="2564513"/>
                    <a:pt x="3799443" y="2381864"/>
                    <a:pt x="3827222" y="2232560"/>
                  </a:cubicBezTo>
                  <a:cubicBezTo>
                    <a:pt x="3849493" y="2086646"/>
                    <a:pt x="3805860" y="2007675"/>
                    <a:pt x="3827222" y="1913631"/>
                  </a:cubicBezTo>
                  <a:cubicBezTo>
                    <a:pt x="3785007" y="1901237"/>
                    <a:pt x="3665659" y="1922706"/>
                    <a:pt x="3614571" y="1913631"/>
                  </a:cubicBezTo>
                  <a:cubicBezTo>
                    <a:pt x="3619397" y="1837481"/>
                    <a:pt x="3595028" y="1689442"/>
                    <a:pt x="3614571" y="1594702"/>
                  </a:cubicBezTo>
                  <a:cubicBezTo>
                    <a:pt x="4104347" y="1637219"/>
                    <a:pt x="4421040" y="1544268"/>
                    <a:pt x="4677689" y="1594702"/>
                  </a:cubicBezTo>
                  <a:cubicBezTo>
                    <a:pt x="4677688" y="1744939"/>
                    <a:pt x="4673563" y="1948734"/>
                    <a:pt x="4677689" y="2019908"/>
                  </a:cubicBezTo>
                  <a:cubicBezTo>
                    <a:pt x="5419527" y="1922473"/>
                    <a:pt x="5643355" y="1991886"/>
                    <a:pt x="6429375" y="2019908"/>
                  </a:cubicBezTo>
                  <a:cubicBezTo>
                    <a:pt x="6249009" y="1725953"/>
                    <a:pt x="6305775" y="1647889"/>
                    <a:pt x="6174256" y="1382050"/>
                  </a:cubicBezTo>
                  <a:cubicBezTo>
                    <a:pt x="6241002" y="1174983"/>
                    <a:pt x="6406748" y="880871"/>
                    <a:pt x="6429375" y="744187"/>
                  </a:cubicBezTo>
                  <a:close/>
                  <a:moveTo>
                    <a:pt x="3401962" y="6166059"/>
                  </a:moveTo>
                  <a:cubicBezTo>
                    <a:pt x="3388263" y="6164689"/>
                    <a:pt x="3339072" y="6173873"/>
                    <a:pt x="3295642" y="6166059"/>
                  </a:cubicBezTo>
                  <a:cubicBezTo>
                    <a:pt x="3190333" y="5642242"/>
                    <a:pt x="3155951" y="4069111"/>
                    <a:pt x="3295642" y="2764097"/>
                  </a:cubicBezTo>
                  <a:cubicBezTo>
                    <a:pt x="3331386" y="2768564"/>
                    <a:pt x="3370312" y="2755893"/>
                    <a:pt x="3401962" y="2753533"/>
                  </a:cubicBezTo>
                  <a:cubicBezTo>
                    <a:pt x="3531472" y="4169256"/>
                    <a:pt x="3384363" y="5085647"/>
                    <a:pt x="3401962" y="6166059"/>
                  </a:cubicBezTo>
                  <a:close/>
                  <a:moveTo>
                    <a:pt x="3401962" y="1913631"/>
                  </a:moveTo>
                  <a:cubicBezTo>
                    <a:pt x="3353863" y="1911148"/>
                    <a:pt x="3324302" y="1907685"/>
                    <a:pt x="3295642" y="1913631"/>
                  </a:cubicBezTo>
                  <a:cubicBezTo>
                    <a:pt x="3218204" y="1210567"/>
                    <a:pt x="3325433" y="1058445"/>
                    <a:pt x="3295642" y="265811"/>
                  </a:cubicBezTo>
                  <a:cubicBezTo>
                    <a:pt x="3295768" y="235559"/>
                    <a:pt x="3318865" y="214350"/>
                    <a:pt x="3348802" y="212649"/>
                  </a:cubicBezTo>
                  <a:cubicBezTo>
                    <a:pt x="3375193" y="212842"/>
                    <a:pt x="3404209" y="232983"/>
                    <a:pt x="3401962" y="265811"/>
                  </a:cubicBezTo>
                  <a:cubicBezTo>
                    <a:pt x="3388156" y="803437"/>
                    <a:pt x="3477777" y="1482865"/>
                    <a:pt x="3401962" y="1913631"/>
                  </a:cubicBezTo>
                  <a:close/>
                  <a:moveTo>
                    <a:pt x="3614571" y="531580"/>
                  </a:moveTo>
                  <a:cubicBezTo>
                    <a:pt x="3798102" y="411027"/>
                    <a:pt x="4831409" y="644924"/>
                    <a:pt x="4996618" y="531580"/>
                  </a:cubicBezTo>
                  <a:cubicBezTo>
                    <a:pt x="4981329" y="657038"/>
                    <a:pt x="4983841" y="991773"/>
                    <a:pt x="4996618" y="1382050"/>
                  </a:cubicBezTo>
                  <a:cubicBezTo>
                    <a:pt x="4827218" y="1437435"/>
                    <a:pt x="3796033" y="1271460"/>
                    <a:pt x="3614571" y="1382050"/>
                  </a:cubicBezTo>
                  <a:cubicBezTo>
                    <a:pt x="3554455" y="1291623"/>
                    <a:pt x="3540086" y="803671"/>
                    <a:pt x="3614571" y="531580"/>
                  </a:cubicBezTo>
                  <a:close/>
                  <a:moveTo>
                    <a:pt x="6115313" y="1807310"/>
                  </a:moveTo>
                  <a:cubicBezTo>
                    <a:pt x="5754058" y="1728349"/>
                    <a:pt x="5122264" y="1758638"/>
                    <a:pt x="4890297" y="1807310"/>
                  </a:cubicBezTo>
                  <a:cubicBezTo>
                    <a:pt x="4899139" y="1760689"/>
                    <a:pt x="4873201" y="1699908"/>
                    <a:pt x="4890297" y="1594702"/>
                  </a:cubicBezTo>
                  <a:cubicBezTo>
                    <a:pt x="5027449" y="1612551"/>
                    <a:pt x="5173007" y="1572797"/>
                    <a:pt x="5209226" y="1594702"/>
                  </a:cubicBezTo>
                  <a:cubicBezTo>
                    <a:pt x="5168154" y="1279461"/>
                    <a:pt x="5220024" y="1173212"/>
                    <a:pt x="5209226" y="956835"/>
                  </a:cubicBezTo>
                  <a:cubicBezTo>
                    <a:pt x="5653551" y="965498"/>
                    <a:pt x="5742545" y="933087"/>
                    <a:pt x="6115313" y="956835"/>
                  </a:cubicBezTo>
                  <a:cubicBezTo>
                    <a:pt x="6112281" y="1070214"/>
                    <a:pt x="6001640" y="1295846"/>
                    <a:pt x="5945215" y="1382050"/>
                  </a:cubicBezTo>
                  <a:cubicBezTo>
                    <a:pt x="5987788" y="1595801"/>
                    <a:pt x="6091009" y="1658004"/>
                    <a:pt x="6115313" y="180731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2151296677">
                    <a:custGeom>
                      <a:avLst/>
                      <a:gdLst>
                        <a:gd name="connsiteX0" fmla="*/ 6429375 w 6429375"/>
                        <a:gd name="connsiteY0" fmla="*/ 744187 h 6378667"/>
                        <a:gd name="connsiteX1" fmla="*/ 5209226 w 6429375"/>
                        <a:gd name="connsiteY1" fmla="*/ 744187 h 6378667"/>
                        <a:gd name="connsiteX2" fmla="*/ 5209226 w 6429375"/>
                        <a:gd name="connsiteY2" fmla="*/ 318932 h 6378667"/>
                        <a:gd name="connsiteX3" fmla="*/ 3614571 w 6429375"/>
                        <a:gd name="connsiteY3" fmla="*/ 318932 h 6378667"/>
                        <a:gd name="connsiteX4" fmla="*/ 3614571 w 6429375"/>
                        <a:gd name="connsiteY4" fmla="*/ 265811 h 6378667"/>
                        <a:gd name="connsiteX5" fmla="*/ 3348802 w 6429375"/>
                        <a:gd name="connsiteY5" fmla="*/ 0 h 6378667"/>
                        <a:gd name="connsiteX6" fmla="*/ 3083033 w 6429375"/>
                        <a:gd name="connsiteY6" fmla="*/ 265811 h 6378667"/>
                        <a:gd name="connsiteX7" fmla="*/ 3083033 w 6429375"/>
                        <a:gd name="connsiteY7" fmla="*/ 1913631 h 6378667"/>
                        <a:gd name="connsiteX8" fmla="*/ 744187 w 6429375"/>
                        <a:gd name="connsiteY8" fmla="*/ 1913631 h 6378667"/>
                        <a:gd name="connsiteX9" fmla="*/ 0 w 6429375"/>
                        <a:gd name="connsiteY9" fmla="*/ 2657777 h 6378667"/>
                        <a:gd name="connsiteX10" fmla="*/ 0 w 6429375"/>
                        <a:gd name="connsiteY10" fmla="*/ 3720895 h 6378667"/>
                        <a:gd name="connsiteX11" fmla="*/ 531539 w 6429375"/>
                        <a:gd name="connsiteY11" fmla="*/ 4252475 h 6378667"/>
                        <a:gd name="connsiteX12" fmla="*/ 637862 w 6429375"/>
                        <a:gd name="connsiteY12" fmla="*/ 4252475 h 6378667"/>
                        <a:gd name="connsiteX13" fmla="*/ 637862 w 6429375"/>
                        <a:gd name="connsiteY13" fmla="*/ 6378668 h 6378667"/>
                        <a:gd name="connsiteX14" fmla="*/ 850470 w 6429375"/>
                        <a:gd name="connsiteY14" fmla="*/ 6378668 h 6378667"/>
                        <a:gd name="connsiteX15" fmla="*/ 850470 w 6429375"/>
                        <a:gd name="connsiteY15" fmla="*/ 2551489 h 6378667"/>
                        <a:gd name="connsiteX16" fmla="*/ 637862 w 6429375"/>
                        <a:gd name="connsiteY16" fmla="*/ 2551489 h 6378667"/>
                        <a:gd name="connsiteX17" fmla="*/ 637862 w 6429375"/>
                        <a:gd name="connsiteY17" fmla="*/ 4039824 h 6378667"/>
                        <a:gd name="connsiteX18" fmla="*/ 531539 w 6429375"/>
                        <a:gd name="connsiteY18" fmla="*/ 4039824 h 6378667"/>
                        <a:gd name="connsiteX19" fmla="*/ 212607 w 6429375"/>
                        <a:gd name="connsiteY19" fmla="*/ 3720895 h 6378667"/>
                        <a:gd name="connsiteX20" fmla="*/ 212607 w 6429375"/>
                        <a:gd name="connsiteY20" fmla="*/ 2657777 h 6378667"/>
                        <a:gd name="connsiteX21" fmla="*/ 744187 w 6429375"/>
                        <a:gd name="connsiteY21" fmla="*/ 2126239 h 6378667"/>
                        <a:gd name="connsiteX22" fmla="*/ 3614571 w 6429375"/>
                        <a:gd name="connsiteY22" fmla="*/ 2126239 h 6378667"/>
                        <a:gd name="connsiteX23" fmla="*/ 3614571 w 6429375"/>
                        <a:gd name="connsiteY23" fmla="*/ 2232560 h 6378667"/>
                        <a:gd name="connsiteX24" fmla="*/ 3295642 w 6429375"/>
                        <a:gd name="connsiteY24" fmla="*/ 2551489 h 6378667"/>
                        <a:gd name="connsiteX25" fmla="*/ 1913584 w 6429375"/>
                        <a:gd name="connsiteY25" fmla="*/ 2551489 h 6378667"/>
                        <a:gd name="connsiteX26" fmla="*/ 1913584 w 6429375"/>
                        <a:gd name="connsiteY26" fmla="*/ 6378668 h 6378667"/>
                        <a:gd name="connsiteX27" fmla="*/ 2126236 w 6429375"/>
                        <a:gd name="connsiteY27" fmla="*/ 6378668 h 6378667"/>
                        <a:gd name="connsiteX28" fmla="*/ 2126236 w 6429375"/>
                        <a:gd name="connsiteY28" fmla="*/ 2764097 h 6378667"/>
                        <a:gd name="connsiteX29" fmla="*/ 3083033 w 6429375"/>
                        <a:gd name="connsiteY29" fmla="*/ 2764097 h 6378667"/>
                        <a:gd name="connsiteX30" fmla="*/ 3083033 w 6429375"/>
                        <a:gd name="connsiteY30" fmla="*/ 6378668 h 6378667"/>
                        <a:gd name="connsiteX31" fmla="*/ 3614571 w 6429375"/>
                        <a:gd name="connsiteY31" fmla="*/ 6378668 h 6378667"/>
                        <a:gd name="connsiteX32" fmla="*/ 3614571 w 6429375"/>
                        <a:gd name="connsiteY32" fmla="*/ 2655029 h 6378667"/>
                        <a:gd name="connsiteX33" fmla="*/ 3827222 w 6429375"/>
                        <a:gd name="connsiteY33" fmla="*/ 2232560 h 6378667"/>
                        <a:gd name="connsiteX34" fmla="*/ 3827222 w 6429375"/>
                        <a:gd name="connsiteY34" fmla="*/ 1913631 h 6378667"/>
                        <a:gd name="connsiteX35" fmla="*/ 3614571 w 6429375"/>
                        <a:gd name="connsiteY35" fmla="*/ 1913631 h 6378667"/>
                        <a:gd name="connsiteX36" fmla="*/ 3614571 w 6429375"/>
                        <a:gd name="connsiteY36" fmla="*/ 1594702 h 6378667"/>
                        <a:gd name="connsiteX37" fmla="*/ 4677689 w 6429375"/>
                        <a:gd name="connsiteY37" fmla="*/ 1594702 h 6378667"/>
                        <a:gd name="connsiteX38" fmla="*/ 4677689 w 6429375"/>
                        <a:gd name="connsiteY38" fmla="*/ 2019908 h 6378667"/>
                        <a:gd name="connsiteX39" fmla="*/ 6429375 w 6429375"/>
                        <a:gd name="connsiteY39" fmla="*/ 2019908 h 6378667"/>
                        <a:gd name="connsiteX40" fmla="*/ 6174256 w 6429375"/>
                        <a:gd name="connsiteY40" fmla="*/ 1382050 h 6378667"/>
                        <a:gd name="connsiteX41" fmla="*/ 3401962 w 6429375"/>
                        <a:gd name="connsiteY41" fmla="*/ 6166059 h 6378667"/>
                        <a:gd name="connsiteX42" fmla="*/ 3295642 w 6429375"/>
                        <a:gd name="connsiteY42" fmla="*/ 6166059 h 6378667"/>
                        <a:gd name="connsiteX43" fmla="*/ 3295642 w 6429375"/>
                        <a:gd name="connsiteY43" fmla="*/ 2764097 h 6378667"/>
                        <a:gd name="connsiteX44" fmla="*/ 3401962 w 6429375"/>
                        <a:gd name="connsiteY44" fmla="*/ 2753533 h 6378667"/>
                        <a:gd name="connsiteX45" fmla="*/ 3401962 w 6429375"/>
                        <a:gd name="connsiteY45" fmla="*/ 1913631 h 6378667"/>
                        <a:gd name="connsiteX46" fmla="*/ 3295642 w 6429375"/>
                        <a:gd name="connsiteY46" fmla="*/ 1913631 h 6378667"/>
                        <a:gd name="connsiteX47" fmla="*/ 3295642 w 6429375"/>
                        <a:gd name="connsiteY47" fmla="*/ 265811 h 6378667"/>
                        <a:gd name="connsiteX48" fmla="*/ 3348802 w 6429375"/>
                        <a:gd name="connsiteY48" fmla="*/ 212649 h 6378667"/>
                        <a:gd name="connsiteX49" fmla="*/ 3401962 w 6429375"/>
                        <a:gd name="connsiteY49" fmla="*/ 265811 h 6378667"/>
                        <a:gd name="connsiteX50" fmla="*/ 3614571 w 6429375"/>
                        <a:gd name="connsiteY50" fmla="*/ 531580 h 6378667"/>
                        <a:gd name="connsiteX51" fmla="*/ 4996618 w 6429375"/>
                        <a:gd name="connsiteY51" fmla="*/ 531580 h 6378667"/>
                        <a:gd name="connsiteX52" fmla="*/ 4996618 w 6429375"/>
                        <a:gd name="connsiteY52" fmla="*/ 1382050 h 6378667"/>
                        <a:gd name="connsiteX53" fmla="*/ 3614571 w 6429375"/>
                        <a:gd name="connsiteY53" fmla="*/ 1382050 h 6378667"/>
                        <a:gd name="connsiteX54" fmla="*/ 6115313 w 6429375"/>
                        <a:gd name="connsiteY54" fmla="*/ 1807310 h 6378667"/>
                        <a:gd name="connsiteX55" fmla="*/ 4890297 w 6429375"/>
                        <a:gd name="connsiteY55" fmla="*/ 1807310 h 6378667"/>
                        <a:gd name="connsiteX56" fmla="*/ 4890297 w 6429375"/>
                        <a:gd name="connsiteY56" fmla="*/ 1594702 h 6378667"/>
                        <a:gd name="connsiteX57" fmla="*/ 5209226 w 6429375"/>
                        <a:gd name="connsiteY57" fmla="*/ 1594702 h 6378667"/>
                        <a:gd name="connsiteX58" fmla="*/ 5209226 w 6429375"/>
                        <a:gd name="connsiteY58" fmla="*/ 956835 h 6378667"/>
                        <a:gd name="connsiteX59" fmla="*/ 6115313 w 6429375"/>
                        <a:gd name="connsiteY59" fmla="*/ 956835 h 6378667"/>
                        <a:gd name="connsiteX60" fmla="*/ 5945215 w 6429375"/>
                        <a:gd name="connsiteY60" fmla="*/ 1382050 h 63786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</a:cxnLst>
                      <a:rect l="l" t="t" r="r" b="b"/>
                      <a:pathLst>
                        <a:path w="6429375" h="6378667">
                          <a:moveTo>
                            <a:pt x="6429375" y="744187"/>
                          </a:moveTo>
                          <a:lnTo>
                            <a:pt x="5209226" y="744187"/>
                          </a:lnTo>
                          <a:lnTo>
                            <a:pt x="5209226" y="318932"/>
                          </a:lnTo>
                          <a:lnTo>
                            <a:pt x="3614571" y="318932"/>
                          </a:lnTo>
                          <a:lnTo>
                            <a:pt x="3614571" y="265811"/>
                          </a:lnTo>
                          <a:cubicBezTo>
                            <a:pt x="3614571" y="119053"/>
                            <a:pt x="3495599" y="0"/>
                            <a:pt x="3348802" y="0"/>
                          </a:cubicBezTo>
                          <a:cubicBezTo>
                            <a:pt x="3202004" y="0"/>
                            <a:pt x="3083033" y="119053"/>
                            <a:pt x="3083033" y="265811"/>
                          </a:cubicBezTo>
                          <a:lnTo>
                            <a:pt x="3083033" y="1913631"/>
                          </a:lnTo>
                          <a:lnTo>
                            <a:pt x="744187" y="1913631"/>
                          </a:lnTo>
                          <a:cubicBezTo>
                            <a:pt x="333366" y="1914089"/>
                            <a:pt x="458" y="2247032"/>
                            <a:pt x="0" y="2657777"/>
                          </a:cubicBezTo>
                          <a:lnTo>
                            <a:pt x="0" y="3720895"/>
                          </a:lnTo>
                          <a:cubicBezTo>
                            <a:pt x="374" y="4014362"/>
                            <a:pt x="238107" y="4252145"/>
                            <a:pt x="531539" y="4252475"/>
                          </a:cubicBezTo>
                          <a:lnTo>
                            <a:pt x="637862" y="4252475"/>
                          </a:lnTo>
                          <a:lnTo>
                            <a:pt x="637862" y="6378668"/>
                          </a:lnTo>
                          <a:lnTo>
                            <a:pt x="850470" y="6378668"/>
                          </a:lnTo>
                          <a:lnTo>
                            <a:pt x="850470" y="2551489"/>
                          </a:lnTo>
                          <a:lnTo>
                            <a:pt x="637862" y="2551489"/>
                          </a:lnTo>
                          <a:lnTo>
                            <a:pt x="637862" y="4039824"/>
                          </a:lnTo>
                          <a:lnTo>
                            <a:pt x="531539" y="4039824"/>
                          </a:lnTo>
                          <a:cubicBezTo>
                            <a:pt x="355413" y="4039824"/>
                            <a:pt x="212607" y="3897105"/>
                            <a:pt x="212607" y="3720895"/>
                          </a:cubicBezTo>
                          <a:lnTo>
                            <a:pt x="212607" y="2657777"/>
                          </a:lnTo>
                          <a:cubicBezTo>
                            <a:pt x="212981" y="2364384"/>
                            <a:pt x="450713" y="2126612"/>
                            <a:pt x="744187" y="2126239"/>
                          </a:cubicBezTo>
                          <a:lnTo>
                            <a:pt x="3614571" y="2126239"/>
                          </a:lnTo>
                          <a:lnTo>
                            <a:pt x="3614571" y="2232560"/>
                          </a:lnTo>
                          <a:cubicBezTo>
                            <a:pt x="3614571" y="2408727"/>
                            <a:pt x="3471767" y="2551489"/>
                            <a:pt x="3295642" y="2551489"/>
                          </a:cubicBezTo>
                          <a:lnTo>
                            <a:pt x="1913584" y="2551489"/>
                          </a:lnTo>
                          <a:lnTo>
                            <a:pt x="1913584" y="6378668"/>
                          </a:lnTo>
                          <a:lnTo>
                            <a:pt x="2126236" y="6378668"/>
                          </a:lnTo>
                          <a:lnTo>
                            <a:pt x="2126236" y="2764097"/>
                          </a:lnTo>
                          <a:lnTo>
                            <a:pt x="3083033" y="2764097"/>
                          </a:lnTo>
                          <a:lnTo>
                            <a:pt x="3083033" y="6378668"/>
                          </a:lnTo>
                          <a:lnTo>
                            <a:pt x="3614571" y="6378668"/>
                          </a:lnTo>
                          <a:lnTo>
                            <a:pt x="3614571" y="2655029"/>
                          </a:lnTo>
                          <a:cubicBezTo>
                            <a:pt x="3747929" y="2555482"/>
                            <a:pt x="3826721" y="2399037"/>
                            <a:pt x="3827222" y="2232560"/>
                          </a:cubicBezTo>
                          <a:lnTo>
                            <a:pt x="3827222" y="1913631"/>
                          </a:lnTo>
                          <a:lnTo>
                            <a:pt x="3614571" y="1913631"/>
                          </a:lnTo>
                          <a:lnTo>
                            <a:pt x="3614571" y="1594702"/>
                          </a:lnTo>
                          <a:lnTo>
                            <a:pt x="4677689" y="1594702"/>
                          </a:lnTo>
                          <a:lnTo>
                            <a:pt x="4677689" y="2019908"/>
                          </a:lnTo>
                          <a:lnTo>
                            <a:pt x="6429375" y="2019908"/>
                          </a:lnTo>
                          <a:lnTo>
                            <a:pt x="6174256" y="1382050"/>
                          </a:lnTo>
                          <a:close/>
                          <a:moveTo>
                            <a:pt x="3401962" y="6166059"/>
                          </a:moveTo>
                          <a:lnTo>
                            <a:pt x="3295642" y="6166059"/>
                          </a:lnTo>
                          <a:lnTo>
                            <a:pt x="3295642" y="2764097"/>
                          </a:lnTo>
                          <a:cubicBezTo>
                            <a:pt x="3331369" y="2764140"/>
                            <a:pt x="3366980" y="2760647"/>
                            <a:pt x="3401962" y="2753533"/>
                          </a:cubicBezTo>
                          <a:close/>
                          <a:moveTo>
                            <a:pt x="3401962" y="1913631"/>
                          </a:moveTo>
                          <a:lnTo>
                            <a:pt x="3295642" y="1913631"/>
                          </a:lnTo>
                          <a:lnTo>
                            <a:pt x="3295642" y="265811"/>
                          </a:lnTo>
                          <a:cubicBezTo>
                            <a:pt x="3295642" y="236484"/>
                            <a:pt x="3319432" y="212649"/>
                            <a:pt x="3348802" y="212649"/>
                          </a:cubicBezTo>
                          <a:cubicBezTo>
                            <a:pt x="3378172" y="212649"/>
                            <a:pt x="3401962" y="236484"/>
                            <a:pt x="3401962" y="265811"/>
                          </a:cubicBezTo>
                          <a:close/>
                          <a:moveTo>
                            <a:pt x="3614571" y="531580"/>
                          </a:moveTo>
                          <a:lnTo>
                            <a:pt x="4996618" y="531580"/>
                          </a:lnTo>
                          <a:lnTo>
                            <a:pt x="4996618" y="1382050"/>
                          </a:lnTo>
                          <a:lnTo>
                            <a:pt x="3614571" y="1382050"/>
                          </a:lnTo>
                          <a:close/>
                          <a:moveTo>
                            <a:pt x="6115313" y="1807310"/>
                          </a:moveTo>
                          <a:lnTo>
                            <a:pt x="4890297" y="1807310"/>
                          </a:lnTo>
                          <a:lnTo>
                            <a:pt x="4890297" y="1594702"/>
                          </a:lnTo>
                          <a:lnTo>
                            <a:pt x="5209226" y="1594702"/>
                          </a:lnTo>
                          <a:lnTo>
                            <a:pt x="5209226" y="956835"/>
                          </a:lnTo>
                          <a:lnTo>
                            <a:pt x="6115313" y="956835"/>
                          </a:lnTo>
                          <a:lnTo>
                            <a:pt x="5945215" y="1382050"/>
                          </a:ln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id="{E4F04B1C-ED5F-4380-ABBF-7631A7AC83B8}"/>
              </a:ext>
            </a:extLst>
          </p:cNvPr>
          <p:cNvSpPr/>
          <p:nvPr/>
        </p:nvSpPr>
        <p:spPr>
          <a:xfrm>
            <a:off x="664863" y="4689475"/>
            <a:ext cx="1871235" cy="12346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/>
            </a:endParaRPr>
          </a:p>
        </p:txBody>
      </p:sp>
      <p:grpSp>
        <p:nvGrpSpPr>
          <p:cNvPr id="159" name="Graphic 616">
            <a:extLst>
              <a:ext uri="{FF2B5EF4-FFF2-40B4-BE49-F238E27FC236}">
                <a16:creationId xmlns:a16="http://schemas.microsoft.com/office/drawing/2014/main" id="{96170250-0CC9-4D75-BD46-C59AA50ED882}"/>
              </a:ext>
            </a:extLst>
          </p:cNvPr>
          <p:cNvGrpSpPr/>
          <p:nvPr/>
        </p:nvGrpSpPr>
        <p:grpSpPr>
          <a:xfrm>
            <a:off x="777243" y="5064182"/>
            <a:ext cx="517554" cy="485207"/>
            <a:chOff x="3656806" y="1143000"/>
            <a:chExt cx="4876800" cy="4572000"/>
          </a:xfrm>
          <a:solidFill>
            <a:schemeClr val="bg1"/>
          </a:solidFill>
        </p:grpSpPr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2164D661-024F-401A-9CBF-5E85C6445CCB}"/>
                </a:ext>
              </a:extLst>
            </p:cNvPr>
            <p:cNvSpPr/>
            <p:nvPr/>
          </p:nvSpPr>
          <p:spPr>
            <a:xfrm>
              <a:off x="5523706" y="1143000"/>
              <a:ext cx="1143000" cy="1143000"/>
            </a:xfrm>
            <a:custGeom>
              <a:avLst/>
              <a:gdLst>
                <a:gd name="connsiteX0" fmla="*/ 1143000 w 1143000"/>
                <a:gd name="connsiteY0" fmla="*/ 571500 h 1143000"/>
                <a:gd name="connsiteX1" fmla="*/ 571500 w 1143000"/>
                <a:gd name="connsiteY1" fmla="*/ 0 h 1143000"/>
                <a:gd name="connsiteX2" fmla="*/ 0 w 1143000"/>
                <a:gd name="connsiteY2" fmla="*/ 571500 h 1143000"/>
                <a:gd name="connsiteX3" fmla="*/ 571500 w 1143000"/>
                <a:gd name="connsiteY3" fmla="*/ 1143000 h 1143000"/>
                <a:gd name="connsiteX4" fmla="*/ 1143000 w 1143000"/>
                <a:gd name="connsiteY4" fmla="*/ 571500 h 1143000"/>
                <a:gd name="connsiteX5" fmla="*/ 571500 w 1143000"/>
                <a:gd name="connsiteY5" fmla="*/ 952500 h 1143000"/>
                <a:gd name="connsiteX6" fmla="*/ 190500 w 1143000"/>
                <a:gd name="connsiteY6" fmla="*/ 571500 h 1143000"/>
                <a:gd name="connsiteX7" fmla="*/ 571500 w 1143000"/>
                <a:gd name="connsiteY7" fmla="*/ 190500 h 1143000"/>
                <a:gd name="connsiteX8" fmla="*/ 952500 w 1143000"/>
                <a:gd name="connsiteY8" fmla="*/ 571500 h 1143000"/>
                <a:gd name="connsiteX9" fmla="*/ 571500 w 1143000"/>
                <a:gd name="connsiteY9" fmla="*/ 95250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43000" h="1143000" fill="none" extrusionOk="0">
                  <a:moveTo>
                    <a:pt x="1143000" y="571500"/>
                  </a:moveTo>
                  <a:cubicBezTo>
                    <a:pt x="1135798" y="257631"/>
                    <a:pt x="894544" y="1461"/>
                    <a:pt x="571500" y="0"/>
                  </a:cubicBezTo>
                  <a:cubicBezTo>
                    <a:pt x="271583" y="44309"/>
                    <a:pt x="-28939" y="241527"/>
                    <a:pt x="0" y="571500"/>
                  </a:cubicBezTo>
                  <a:cubicBezTo>
                    <a:pt x="56253" y="860491"/>
                    <a:pt x="239508" y="1140079"/>
                    <a:pt x="571500" y="1143000"/>
                  </a:cubicBezTo>
                  <a:cubicBezTo>
                    <a:pt x="840345" y="1126727"/>
                    <a:pt x="1119702" y="932906"/>
                    <a:pt x="1143000" y="571500"/>
                  </a:cubicBezTo>
                  <a:close/>
                  <a:moveTo>
                    <a:pt x="571500" y="952500"/>
                  </a:moveTo>
                  <a:cubicBezTo>
                    <a:pt x="346404" y="973774"/>
                    <a:pt x="189291" y="744942"/>
                    <a:pt x="190500" y="571500"/>
                  </a:cubicBezTo>
                  <a:cubicBezTo>
                    <a:pt x="199035" y="386484"/>
                    <a:pt x="353144" y="181427"/>
                    <a:pt x="571500" y="190500"/>
                  </a:cubicBezTo>
                  <a:cubicBezTo>
                    <a:pt x="768714" y="209532"/>
                    <a:pt x="960108" y="327450"/>
                    <a:pt x="952500" y="571500"/>
                  </a:cubicBezTo>
                  <a:cubicBezTo>
                    <a:pt x="957930" y="784126"/>
                    <a:pt x="800271" y="952636"/>
                    <a:pt x="571500" y="952500"/>
                  </a:cubicBezTo>
                  <a:close/>
                </a:path>
                <a:path w="1143000" h="1143000" stroke="0" extrusionOk="0">
                  <a:moveTo>
                    <a:pt x="1143000" y="571500"/>
                  </a:moveTo>
                  <a:cubicBezTo>
                    <a:pt x="1164860" y="285379"/>
                    <a:pt x="892318" y="5930"/>
                    <a:pt x="571500" y="0"/>
                  </a:cubicBezTo>
                  <a:cubicBezTo>
                    <a:pt x="231382" y="-11416"/>
                    <a:pt x="-23425" y="259487"/>
                    <a:pt x="0" y="571500"/>
                  </a:cubicBezTo>
                  <a:cubicBezTo>
                    <a:pt x="39447" y="845161"/>
                    <a:pt x="275797" y="1149184"/>
                    <a:pt x="571500" y="1143000"/>
                  </a:cubicBezTo>
                  <a:cubicBezTo>
                    <a:pt x="904246" y="1135940"/>
                    <a:pt x="1159905" y="829506"/>
                    <a:pt x="1143000" y="571500"/>
                  </a:cubicBezTo>
                  <a:close/>
                  <a:moveTo>
                    <a:pt x="571500" y="952500"/>
                  </a:moveTo>
                  <a:cubicBezTo>
                    <a:pt x="331946" y="955463"/>
                    <a:pt x="189693" y="766958"/>
                    <a:pt x="190500" y="571500"/>
                  </a:cubicBezTo>
                  <a:cubicBezTo>
                    <a:pt x="198920" y="363370"/>
                    <a:pt x="363062" y="218043"/>
                    <a:pt x="571500" y="190500"/>
                  </a:cubicBezTo>
                  <a:cubicBezTo>
                    <a:pt x="752748" y="219427"/>
                    <a:pt x="953690" y="366054"/>
                    <a:pt x="952500" y="571500"/>
                  </a:cubicBezTo>
                  <a:cubicBezTo>
                    <a:pt x="927650" y="763121"/>
                    <a:pt x="794465" y="952283"/>
                    <a:pt x="571500" y="95250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1298929385">
                    <a:custGeom>
                      <a:avLst/>
                      <a:gdLst>
                        <a:gd name="connsiteX0" fmla="*/ 1143000 w 1143000"/>
                        <a:gd name="connsiteY0" fmla="*/ 571500 h 1143000"/>
                        <a:gd name="connsiteX1" fmla="*/ 571500 w 1143000"/>
                        <a:gd name="connsiteY1" fmla="*/ 0 h 1143000"/>
                        <a:gd name="connsiteX2" fmla="*/ 0 w 1143000"/>
                        <a:gd name="connsiteY2" fmla="*/ 571500 h 1143000"/>
                        <a:gd name="connsiteX3" fmla="*/ 571500 w 1143000"/>
                        <a:gd name="connsiteY3" fmla="*/ 1143000 h 1143000"/>
                        <a:gd name="connsiteX4" fmla="*/ 1143000 w 1143000"/>
                        <a:gd name="connsiteY4" fmla="*/ 571500 h 1143000"/>
                        <a:gd name="connsiteX5" fmla="*/ 571500 w 1143000"/>
                        <a:gd name="connsiteY5" fmla="*/ 952500 h 1143000"/>
                        <a:gd name="connsiteX6" fmla="*/ 190500 w 1143000"/>
                        <a:gd name="connsiteY6" fmla="*/ 571500 h 1143000"/>
                        <a:gd name="connsiteX7" fmla="*/ 571500 w 1143000"/>
                        <a:gd name="connsiteY7" fmla="*/ 190500 h 1143000"/>
                        <a:gd name="connsiteX8" fmla="*/ 952500 w 1143000"/>
                        <a:gd name="connsiteY8" fmla="*/ 571500 h 1143000"/>
                        <a:gd name="connsiteX9" fmla="*/ 571500 w 1143000"/>
                        <a:gd name="connsiteY9" fmla="*/ 952500 h 1143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1143000" h="1143000">
                          <a:moveTo>
                            <a:pt x="1143000" y="571500"/>
                          </a:moveTo>
                          <a:cubicBezTo>
                            <a:pt x="1143000" y="256375"/>
                            <a:pt x="886625" y="0"/>
                            <a:pt x="571500" y="0"/>
                          </a:cubicBezTo>
                          <a:cubicBezTo>
                            <a:pt x="256375" y="0"/>
                            <a:pt x="0" y="256375"/>
                            <a:pt x="0" y="571500"/>
                          </a:cubicBezTo>
                          <a:cubicBezTo>
                            <a:pt x="0" y="886625"/>
                            <a:pt x="256375" y="1143000"/>
                            <a:pt x="571500" y="1143000"/>
                          </a:cubicBezTo>
                          <a:cubicBezTo>
                            <a:pt x="886625" y="1143000"/>
                            <a:pt x="1143000" y="886625"/>
                            <a:pt x="1143000" y="571500"/>
                          </a:cubicBezTo>
                          <a:close/>
                          <a:moveTo>
                            <a:pt x="571500" y="952500"/>
                          </a:moveTo>
                          <a:cubicBezTo>
                            <a:pt x="361417" y="952500"/>
                            <a:pt x="190500" y="781583"/>
                            <a:pt x="190500" y="571500"/>
                          </a:cubicBezTo>
                          <a:cubicBezTo>
                            <a:pt x="190500" y="361417"/>
                            <a:pt x="361417" y="190500"/>
                            <a:pt x="571500" y="190500"/>
                          </a:cubicBezTo>
                          <a:cubicBezTo>
                            <a:pt x="781583" y="190500"/>
                            <a:pt x="952500" y="361417"/>
                            <a:pt x="952500" y="571500"/>
                          </a:cubicBezTo>
                          <a:cubicBezTo>
                            <a:pt x="952500" y="781583"/>
                            <a:pt x="781583" y="952500"/>
                            <a:pt x="571500" y="952500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1E0B3FB2-51C0-4D52-A392-7F7F564EB26C}"/>
                </a:ext>
              </a:extLst>
            </p:cNvPr>
            <p:cNvSpPr/>
            <p:nvPr/>
          </p:nvSpPr>
          <p:spPr>
            <a:xfrm>
              <a:off x="5237956" y="2286000"/>
              <a:ext cx="1714500" cy="1333500"/>
            </a:xfrm>
            <a:custGeom>
              <a:avLst/>
              <a:gdLst>
                <a:gd name="connsiteX0" fmla="*/ 1714500 w 1714500"/>
                <a:gd name="connsiteY0" fmla="*/ 1238250 h 1333500"/>
                <a:gd name="connsiteX1" fmla="*/ 1714500 w 1714500"/>
                <a:gd name="connsiteY1" fmla="*/ 857250 h 1333500"/>
                <a:gd name="connsiteX2" fmla="*/ 857250 w 1714500"/>
                <a:gd name="connsiteY2" fmla="*/ 0 h 1333500"/>
                <a:gd name="connsiteX3" fmla="*/ 0 w 1714500"/>
                <a:gd name="connsiteY3" fmla="*/ 857250 h 1333500"/>
                <a:gd name="connsiteX4" fmla="*/ 0 w 1714500"/>
                <a:gd name="connsiteY4" fmla="*/ 1238250 h 1333500"/>
                <a:gd name="connsiteX5" fmla="*/ 95250 w 1714500"/>
                <a:gd name="connsiteY5" fmla="*/ 1333500 h 1333500"/>
                <a:gd name="connsiteX6" fmla="*/ 1619250 w 1714500"/>
                <a:gd name="connsiteY6" fmla="*/ 1333500 h 1333500"/>
                <a:gd name="connsiteX7" fmla="*/ 1714500 w 1714500"/>
                <a:gd name="connsiteY7" fmla="*/ 1238250 h 1333500"/>
                <a:gd name="connsiteX8" fmla="*/ 1524000 w 1714500"/>
                <a:gd name="connsiteY8" fmla="*/ 1143000 h 1333500"/>
                <a:gd name="connsiteX9" fmla="*/ 190500 w 1714500"/>
                <a:gd name="connsiteY9" fmla="*/ 1143000 h 1333500"/>
                <a:gd name="connsiteX10" fmla="*/ 190500 w 1714500"/>
                <a:gd name="connsiteY10" fmla="*/ 857250 h 1333500"/>
                <a:gd name="connsiteX11" fmla="*/ 857250 w 1714500"/>
                <a:gd name="connsiteY11" fmla="*/ 190500 h 1333500"/>
                <a:gd name="connsiteX12" fmla="*/ 1524000 w 1714500"/>
                <a:gd name="connsiteY12" fmla="*/ 857250 h 1333500"/>
                <a:gd name="connsiteX13" fmla="*/ 1524000 w 1714500"/>
                <a:gd name="connsiteY13" fmla="*/ 1143000 h 133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14500" h="1333500" fill="none" extrusionOk="0">
                  <a:moveTo>
                    <a:pt x="1714500" y="1238250"/>
                  </a:moveTo>
                  <a:cubicBezTo>
                    <a:pt x="1742386" y="1109198"/>
                    <a:pt x="1682595" y="1038907"/>
                    <a:pt x="1714500" y="857250"/>
                  </a:cubicBezTo>
                  <a:cubicBezTo>
                    <a:pt x="1736418" y="382947"/>
                    <a:pt x="1347284" y="39530"/>
                    <a:pt x="857250" y="0"/>
                  </a:cubicBezTo>
                  <a:cubicBezTo>
                    <a:pt x="394122" y="-21267"/>
                    <a:pt x="-49020" y="310386"/>
                    <a:pt x="0" y="857250"/>
                  </a:cubicBezTo>
                  <a:cubicBezTo>
                    <a:pt x="26485" y="983626"/>
                    <a:pt x="-23275" y="1078091"/>
                    <a:pt x="0" y="1238250"/>
                  </a:cubicBezTo>
                  <a:cubicBezTo>
                    <a:pt x="611" y="1289894"/>
                    <a:pt x="47132" y="1332184"/>
                    <a:pt x="95250" y="1333500"/>
                  </a:cubicBezTo>
                  <a:cubicBezTo>
                    <a:pt x="348347" y="1208087"/>
                    <a:pt x="1207709" y="1247781"/>
                    <a:pt x="1619250" y="1333500"/>
                  </a:cubicBezTo>
                  <a:cubicBezTo>
                    <a:pt x="1674907" y="1337243"/>
                    <a:pt x="1719142" y="1296396"/>
                    <a:pt x="1714500" y="1238250"/>
                  </a:cubicBezTo>
                  <a:close/>
                  <a:moveTo>
                    <a:pt x="1524000" y="1143000"/>
                  </a:moveTo>
                  <a:cubicBezTo>
                    <a:pt x="1328645" y="1195577"/>
                    <a:pt x="550004" y="1147162"/>
                    <a:pt x="190500" y="1143000"/>
                  </a:cubicBezTo>
                  <a:cubicBezTo>
                    <a:pt x="194440" y="1053254"/>
                    <a:pt x="171476" y="976721"/>
                    <a:pt x="190500" y="857250"/>
                  </a:cubicBezTo>
                  <a:cubicBezTo>
                    <a:pt x="163048" y="540705"/>
                    <a:pt x="512389" y="191485"/>
                    <a:pt x="857250" y="190500"/>
                  </a:cubicBezTo>
                  <a:cubicBezTo>
                    <a:pt x="1272754" y="137485"/>
                    <a:pt x="1503946" y="520780"/>
                    <a:pt x="1524000" y="857250"/>
                  </a:cubicBezTo>
                  <a:cubicBezTo>
                    <a:pt x="1513929" y="913670"/>
                    <a:pt x="1537476" y="1060615"/>
                    <a:pt x="1524000" y="1143000"/>
                  </a:cubicBezTo>
                  <a:close/>
                </a:path>
                <a:path w="1714500" h="1333500" stroke="0" extrusionOk="0">
                  <a:moveTo>
                    <a:pt x="1714500" y="1238250"/>
                  </a:moveTo>
                  <a:cubicBezTo>
                    <a:pt x="1742812" y="1092589"/>
                    <a:pt x="1684228" y="1041369"/>
                    <a:pt x="1714500" y="857250"/>
                  </a:cubicBezTo>
                  <a:cubicBezTo>
                    <a:pt x="1722941" y="387955"/>
                    <a:pt x="1368781" y="61837"/>
                    <a:pt x="857250" y="0"/>
                  </a:cubicBezTo>
                  <a:cubicBezTo>
                    <a:pt x="383989" y="58933"/>
                    <a:pt x="28165" y="384943"/>
                    <a:pt x="0" y="857250"/>
                  </a:cubicBezTo>
                  <a:cubicBezTo>
                    <a:pt x="-13179" y="906562"/>
                    <a:pt x="-7730" y="1066983"/>
                    <a:pt x="0" y="1238250"/>
                  </a:cubicBezTo>
                  <a:cubicBezTo>
                    <a:pt x="3635" y="1293959"/>
                    <a:pt x="41379" y="1333629"/>
                    <a:pt x="95250" y="1333500"/>
                  </a:cubicBezTo>
                  <a:cubicBezTo>
                    <a:pt x="547541" y="1241970"/>
                    <a:pt x="1261012" y="1312347"/>
                    <a:pt x="1619250" y="1333500"/>
                  </a:cubicBezTo>
                  <a:cubicBezTo>
                    <a:pt x="1673467" y="1332098"/>
                    <a:pt x="1715124" y="1291160"/>
                    <a:pt x="1714500" y="1238250"/>
                  </a:cubicBezTo>
                  <a:close/>
                  <a:moveTo>
                    <a:pt x="1524000" y="1143000"/>
                  </a:moveTo>
                  <a:cubicBezTo>
                    <a:pt x="961295" y="1036476"/>
                    <a:pt x="526152" y="1216507"/>
                    <a:pt x="190500" y="1143000"/>
                  </a:cubicBezTo>
                  <a:cubicBezTo>
                    <a:pt x="186355" y="1047812"/>
                    <a:pt x="213632" y="979133"/>
                    <a:pt x="190500" y="857250"/>
                  </a:cubicBezTo>
                  <a:cubicBezTo>
                    <a:pt x="136905" y="479555"/>
                    <a:pt x="497494" y="170589"/>
                    <a:pt x="857250" y="190500"/>
                  </a:cubicBezTo>
                  <a:cubicBezTo>
                    <a:pt x="1231892" y="206430"/>
                    <a:pt x="1596069" y="485123"/>
                    <a:pt x="1524000" y="857250"/>
                  </a:cubicBezTo>
                  <a:cubicBezTo>
                    <a:pt x="1509311" y="964124"/>
                    <a:pt x="1514212" y="1053882"/>
                    <a:pt x="1524000" y="114300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2027438759">
                    <a:custGeom>
                      <a:avLst/>
                      <a:gdLst>
                        <a:gd name="connsiteX0" fmla="*/ 1714500 w 1714500"/>
                        <a:gd name="connsiteY0" fmla="*/ 1238250 h 1333500"/>
                        <a:gd name="connsiteX1" fmla="*/ 1714500 w 1714500"/>
                        <a:gd name="connsiteY1" fmla="*/ 857250 h 1333500"/>
                        <a:gd name="connsiteX2" fmla="*/ 857250 w 1714500"/>
                        <a:gd name="connsiteY2" fmla="*/ 0 h 1333500"/>
                        <a:gd name="connsiteX3" fmla="*/ 0 w 1714500"/>
                        <a:gd name="connsiteY3" fmla="*/ 857250 h 1333500"/>
                        <a:gd name="connsiteX4" fmla="*/ 0 w 1714500"/>
                        <a:gd name="connsiteY4" fmla="*/ 1238250 h 1333500"/>
                        <a:gd name="connsiteX5" fmla="*/ 95250 w 1714500"/>
                        <a:gd name="connsiteY5" fmla="*/ 1333500 h 1333500"/>
                        <a:gd name="connsiteX6" fmla="*/ 1619250 w 1714500"/>
                        <a:gd name="connsiteY6" fmla="*/ 1333500 h 1333500"/>
                        <a:gd name="connsiteX7" fmla="*/ 1714500 w 1714500"/>
                        <a:gd name="connsiteY7" fmla="*/ 1238250 h 1333500"/>
                        <a:gd name="connsiteX8" fmla="*/ 1524000 w 1714500"/>
                        <a:gd name="connsiteY8" fmla="*/ 1143000 h 1333500"/>
                        <a:gd name="connsiteX9" fmla="*/ 190500 w 1714500"/>
                        <a:gd name="connsiteY9" fmla="*/ 1143000 h 1333500"/>
                        <a:gd name="connsiteX10" fmla="*/ 190500 w 1714500"/>
                        <a:gd name="connsiteY10" fmla="*/ 857250 h 1333500"/>
                        <a:gd name="connsiteX11" fmla="*/ 857250 w 1714500"/>
                        <a:gd name="connsiteY11" fmla="*/ 190500 h 1333500"/>
                        <a:gd name="connsiteX12" fmla="*/ 1524000 w 1714500"/>
                        <a:gd name="connsiteY12" fmla="*/ 857250 h 1333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1714500" h="1333500">
                          <a:moveTo>
                            <a:pt x="1714500" y="1238250"/>
                          </a:moveTo>
                          <a:lnTo>
                            <a:pt x="1714500" y="857250"/>
                          </a:lnTo>
                          <a:cubicBezTo>
                            <a:pt x="1714500" y="384562"/>
                            <a:pt x="1329938" y="0"/>
                            <a:pt x="857250" y="0"/>
                          </a:cubicBezTo>
                          <a:cubicBezTo>
                            <a:pt x="384562" y="0"/>
                            <a:pt x="0" y="384562"/>
                            <a:pt x="0" y="857250"/>
                          </a:cubicBezTo>
                          <a:lnTo>
                            <a:pt x="0" y="1238250"/>
                          </a:lnTo>
                          <a:cubicBezTo>
                            <a:pt x="0" y="1290857"/>
                            <a:pt x="42653" y="1333500"/>
                            <a:pt x="95250" y="1333500"/>
                          </a:cubicBezTo>
                          <a:lnTo>
                            <a:pt x="1619250" y="1333500"/>
                          </a:lnTo>
                          <a:cubicBezTo>
                            <a:pt x="1671847" y="1333500"/>
                            <a:pt x="1714500" y="1290857"/>
                            <a:pt x="1714500" y="1238250"/>
                          </a:cubicBezTo>
                          <a:close/>
                          <a:moveTo>
                            <a:pt x="1524000" y="1143000"/>
                          </a:moveTo>
                          <a:lnTo>
                            <a:pt x="190500" y="1143000"/>
                          </a:lnTo>
                          <a:lnTo>
                            <a:pt x="190500" y="857250"/>
                          </a:lnTo>
                          <a:cubicBezTo>
                            <a:pt x="190500" y="489604"/>
                            <a:pt x="489604" y="190500"/>
                            <a:pt x="857250" y="190500"/>
                          </a:cubicBezTo>
                          <a:cubicBezTo>
                            <a:pt x="1224896" y="190500"/>
                            <a:pt x="1524000" y="489604"/>
                            <a:pt x="1524000" y="857250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1B78CA30-C806-45DE-B6D4-E6E2C2376B63}"/>
                </a:ext>
              </a:extLst>
            </p:cNvPr>
            <p:cNvSpPr/>
            <p:nvPr/>
          </p:nvSpPr>
          <p:spPr>
            <a:xfrm>
              <a:off x="3656806" y="2095500"/>
              <a:ext cx="2343150" cy="3619500"/>
            </a:xfrm>
            <a:custGeom>
              <a:avLst/>
              <a:gdLst>
                <a:gd name="connsiteX0" fmla="*/ 684447 w 2343150"/>
                <a:gd name="connsiteY0" fmla="*/ 2782386 h 3619500"/>
                <a:gd name="connsiteX1" fmla="*/ 1143000 w 2343150"/>
                <a:gd name="connsiteY1" fmla="*/ 3011624 h 3619500"/>
                <a:gd name="connsiteX2" fmla="*/ 1143000 w 2343150"/>
                <a:gd name="connsiteY2" fmla="*/ 3524250 h 3619500"/>
                <a:gd name="connsiteX3" fmla="*/ 1238250 w 2343150"/>
                <a:gd name="connsiteY3" fmla="*/ 3619500 h 3619500"/>
                <a:gd name="connsiteX4" fmla="*/ 2247900 w 2343150"/>
                <a:gd name="connsiteY4" fmla="*/ 3619500 h 3619500"/>
                <a:gd name="connsiteX5" fmla="*/ 2343150 w 2343150"/>
                <a:gd name="connsiteY5" fmla="*/ 3524250 h 3619500"/>
                <a:gd name="connsiteX6" fmla="*/ 2343150 w 2343150"/>
                <a:gd name="connsiteY6" fmla="*/ 2312480 h 3619500"/>
                <a:gd name="connsiteX7" fmla="*/ 1834601 w 2343150"/>
                <a:gd name="connsiteY7" fmla="*/ 1717900 h 3619500"/>
                <a:gd name="connsiteX8" fmla="*/ 1292171 w 2343150"/>
                <a:gd name="connsiteY8" fmla="*/ 1515418 h 3619500"/>
                <a:gd name="connsiteX9" fmla="*/ 1031377 w 2343150"/>
                <a:gd name="connsiteY9" fmla="*/ 1254633 h 3619500"/>
                <a:gd name="connsiteX10" fmla="*/ 762000 w 2343150"/>
                <a:gd name="connsiteY10" fmla="*/ 1143000 h 3619500"/>
                <a:gd name="connsiteX11" fmla="*/ 762000 w 2343150"/>
                <a:gd name="connsiteY11" fmla="*/ 381000 h 3619500"/>
                <a:gd name="connsiteX12" fmla="*/ 381000 w 2343150"/>
                <a:gd name="connsiteY12" fmla="*/ 0 h 3619500"/>
                <a:gd name="connsiteX13" fmla="*/ 0 w 2343150"/>
                <a:gd name="connsiteY13" fmla="*/ 381000 h 3619500"/>
                <a:gd name="connsiteX14" fmla="*/ 0 w 2343150"/>
                <a:gd name="connsiteY14" fmla="*/ 1674876 h 3619500"/>
                <a:gd name="connsiteX15" fmla="*/ 684447 w 2343150"/>
                <a:gd name="connsiteY15" fmla="*/ 2782386 h 3619500"/>
                <a:gd name="connsiteX16" fmla="*/ 190500 w 2343150"/>
                <a:gd name="connsiteY16" fmla="*/ 381000 h 3619500"/>
                <a:gd name="connsiteX17" fmla="*/ 381000 w 2343150"/>
                <a:gd name="connsiteY17" fmla="*/ 190500 h 3619500"/>
                <a:gd name="connsiteX18" fmla="*/ 571500 w 2343150"/>
                <a:gd name="connsiteY18" fmla="*/ 381000 h 3619500"/>
                <a:gd name="connsiteX19" fmla="*/ 571500 w 2343150"/>
                <a:gd name="connsiteY19" fmla="*/ 1194064 h 3619500"/>
                <a:gd name="connsiteX20" fmla="*/ 381000 w 2343150"/>
                <a:gd name="connsiteY20" fmla="*/ 1524000 h 3619500"/>
                <a:gd name="connsiteX21" fmla="*/ 492624 w 2343150"/>
                <a:gd name="connsiteY21" fmla="*/ 1793367 h 3619500"/>
                <a:gd name="connsiteX22" fmla="*/ 980399 w 2343150"/>
                <a:gd name="connsiteY22" fmla="*/ 2281238 h 3619500"/>
                <a:gd name="connsiteX23" fmla="*/ 1115101 w 2343150"/>
                <a:gd name="connsiteY23" fmla="*/ 2281247 h 3619500"/>
                <a:gd name="connsiteX24" fmla="*/ 1115111 w 2343150"/>
                <a:gd name="connsiteY24" fmla="*/ 2146545 h 3619500"/>
                <a:gd name="connsiteX25" fmla="*/ 627336 w 2343150"/>
                <a:gd name="connsiteY25" fmla="*/ 1658665 h 3619500"/>
                <a:gd name="connsiteX26" fmla="*/ 571500 w 2343150"/>
                <a:gd name="connsiteY26" fmla="*/ 1524000 h 3619500"/>
                <a:gd name="connsiteX27" fmla="*/ 698487 w 2343150"/>
                <a:gd name="connsiteY27" fmla="*/ 1344349 h 3619500"/>
                <a:gd name="connsiteX28" fmla="*/ 698573 w 2343150"/>
                <a:gd name="connsiteY28" fmla="*/ 1344311 h 3619500"/>
                <a:gd name="connsiteX29" fmla="*/ 698583 w 2343150"/>
                <a:gd name="connsiteY29" fmla="*/ 1344311 h 3619500"/>
                <a:gd name="connsiteX30" fmla="*/ 896674 w 2343150"/>
                <a:gd name="connsiteY30" fmla="*/ 1389326 h 3619500"/>
                <a:gd name="connsiteX31" fmla="*/ 1157497 w 2343150"/>
                <a:gd name="connsiteY31" fmla="*/ 1650149 h 3619500"/>
                <a:gd name="connsiteX32" fmla="*/ 1813160 w 2343150"/>
                <a:gd name="connsiteY32" fmla="*/ 1907191 h 3619500"/>
                <a:gd name="connsiteX33" fmla="*/ 1814236 w 2343150"/>
                <a:gd name="connsiteY33" fmla="*/ 1907315 h 3619500"/>
                <a:gd name="connsiteX34" fmla="*/ 2152650 w 2343150"/>
                <a:gd name="connsiteY34" fmla="*/ 2312480 h 3619500"/>
                <a:gd name="connsiteX35" fmla="*/ 2152650 w 2343150"/>
                <a:gd name="connsiteY35" fmla="*/ 3429000 h 3619500"/>
                <a:gd name="connsiteX36" fmla="*/ 1333500 w 2343150"/>
                <a:gd name="connsiteY36" fmla="*/ 3429000 h 3619500"/>
                <a:gd name="connsiteX37" fmla="*/ 1333500 w 2343150"/>
                <a:gd name="connsiteY37" fmla="*/ 2952750 h 3619500"/>
                <a:gd name="connsiteX38" fmla="*/ 1280846 w 2343150"/>
                <a:gd name="connsiteY38" fmla="*/ 2867559 h 3619500"/>
                <a:gd name="connsiteX39" fmla="*/ 769649 w 2343150"/>
                <a:gd name="connsiteY39" fmla="*/ 2612003 h 3619500"/>
                <a:gd name="connsiteX40" fmla="*/ 190500 w 2343150"/>
                <a:gd name="connsiteY40" fmla="*/ 1674876 h 3619500"/>
                <a:gd name="connsiteX41" fmla="*/ 190500 w 2343150"/>
                <a:gd name="connsiteY41" fmla="*/ 381000 h 3619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43150" h="3619500" fill="none" extrusionOk="0">
                  <a:moveTo>
                    <a:pt x="684447" y="2782386"/>
                  </a:moveTo>
                  <a:cubicBezTo>
                    <a:pt x="862786" y="2913759"/>
                    <a:pt x="1022304" y="2941433"/>
                    <a:pt x="1143000" y="3011624"/>
                  </a:cubicBezTo>
                  <a:cubicBezTo>
                    <a:pt x="1188300" y="3165259"/>
                    <a:pt x="1111723" y="3404157"/>
                    <a:pt x="1143000" y="3524250"/>
                  </a:cubicBezTo>
                  <a:cubicBezTo>
                    <a:pt x="1142257" y="3578553"/>
                    <a:pt x="1176037" y="3615803"/>
                    <a:pt x="1238250" y="3619500"/>
                  </a:cubicBezTo>
                  <a:cubicBezTo>
                    <a:pt x="1463657" y="3576600"/>
                    <a:pt x="2146565" y="3677411"/>
                    <a:pt x="2247900" y="3619500"/>
                  </a:cubicBezTo>
                  <a:cubicBezTo>
                    <a:pt x="2298761" y="3619331"/>
                    <a:pt x="2341284" y="3576065"/>
                    <a:pt x="2343150" y="3524250"/>
                  </a:cubicBezTo>
                  <a:cubicBezTo>
                    <a:pt x="2399895" y="3105247"/>
                    <a:pt x="2243614" y="2902036"/>
                    <a:pt x="2343150" y="2312480"/>
                  </a:cubicBezTo>
                  <a:cubicBezTo>
                    <a:pt x="2351355" y="2053604"/>
                    <a:pt x="2116117" y="1768896"/>
                    <a:pt x="1834601" y="1717900"/>
                  </a:cubicBezTo>
                  <a:cubicBezTo>
                    <a:pt x="1827464" y="1721171"/>
                    <a:pt x="1448555" y="1691270"/>
                    <a:pt x="1292171" y="1515418"/>
                  </a:cubicBezTo>
                  <a:cubicBezTo>
                    <a:pt x="1264067" y="1488997"/>
                    <a:pt x="1105870" y="1319342"/>
                    <a:pt x="1031377" y="1254633"/>
                  </a:cubicBezTo>
                  <a:cubicBezTo>
                    <a:pt x="963299" y="1178075"/>
                    <a:pt x="860201" y="1143579"/>
                    <a:pt x="762000" y="1143000"/>
                  </a:cubicBezTo>
                  <a:cubicBezTo>
                    <a:pt x="714345" y="850640"/>
                    <a:pt x="796394" y="742122"/>
                    <a:pt x="762000" y="381000"/>
                  </a:cubicBezTo>
                  <a:cubicBezTo>
                    <a:pt x="752559" y="140509"/>
                    <a:pt x="590112" y="-8212"/>
                    <a:pt x="381000" y="0"/>
                  </a:cubicBezTo>
                  <a:cubicBezTo>
                    <a:pt x="173176" y="-5335"/>
                    <a:pt x="10263" y="165813"/>
                    <a:pt x="0" y="381000"/>
                  </a:cubicBezTo>
                  <a:cubicBezTo>
                    <a:pt x="45517" y="947821"/>
                    <a:pt x="86617" y="1135755"/>
                    <a:pt x="0" y="1674876"/>
                  </a:cubicBezTo>
                  <a:cubicBezTo>
                    <a:pt x="43643" y="2168729"/>
                    <a:pt x="209345" y="2582727"/>
                    <a:pt x="684447" y="2782386"/>
                  </a:cubicBezTo>
                  <a:close/>
                  <a:moveTo>
                    <a:pt x="190500" y="381000"/>
                  </a:moveTo>
                  <a:cubicBezTo>
                    <a:pt x="171153" y="268950"/>
                    <a:pt x="269155" y="197695"/>
                    <a:pt x="381000" y="190500"/>
                  </a:cubicBezTo>
                  <a:cubicBezTo>
                    <a:pt x="490379" y="196106"/>
                    <a:pt x="586143" y="280392"/>
                    <a:pt x="571500" y="381000"/>
                  </a:cubicBezTo>
                  <a:cubicBezTo>
                    <a:pt x="534384" y="556581"/>
                    <a:pt x="565598" y="1060286"/>
                    <a:pt x="571500" y="1194064"/>
                  </a:cubicBezTo>
                  <a:cubicBezTo>
                    <a:pt x="454403" y="1273384"/>
                    <a:pt x="401453" y="1370392"/>
                    <a:pt x="381000" y="1524000"/>
                  </a:cubicBezTo>
                  <a:cubicBezTo>
                    <a:pt x="392673" y="1635387"/>
                    <a:pt x="422818" y="1714723"/>
                    <a:pt x="492624" y="1793367"/>
                  </a:cubicBezTo>
                  <a:cubicBezTo>
                    <a:pt x="645958" y="1978773"/>
                    <a:pt x="906219" y="2235513"/>
                    <a:pt x="980399" y="2281238"/>
                  </a:cubicBezTo>
                  <a:cubicBezTo>
                    <a:pt x="1013187" y="2321998"/>
                    <a:pt x="1080408" y="2320521"/>
                    <a:pt x="1115101" y="2281247"/>
                  </a:cubicBezTo>
                  <a:cubicBezTo>
                    <a:pt x="1152141" y="2246831"/>
                    <a:pt x="1156419" y="2174441"/>
                    <a:pt x="1115111" y="2146545"/>
                  </a:cubicBezTo>
                  <a:cubicBezTo>
                    <a:pt x="952646" y="1945369"/>
                    <a:pt x="810502" y="1842674"/>
                    <a:pt x="627336" y="1658665"/>
                  </a:cubicBezTo>
                  <a:cubicBezTo>
                    <a:pt x="589646" y="1618466"/>
                    <a:pt x="569961" y="1573166"/>
                    <a:pt x="571500" y="1524000"/>
                  </a:cubicBezTo>
                  <a:cubicBezTo>
                    <a:pt x="571329" y="1438327"/>
                    <a:pt x="625941" y="1377990"/>
                    <a:pt x="698487" y="1344349"/>
                  </a:cubicBezTo>
                  <a:cubicBezTo>
                    <a:pt x="698515" y="1344339"/>
                    <a:pt x="698543" y="1344322"/>
                    <a:pt x="698573" y="1344311"/>
                  </a:cubicBezTo>
                  <a:cubicBezTo>
                    <a:pt x="698574" y="1344312"/>
                    <a:pt x="698582" y="1344311"/>
                    <a:pt x="698583" y="1344311"/>
                  </a:cubicBezTo>
                  <a:cubicBezTo>
                    <a:pt x="754136" y="1332398"/>
                    <a:pt x="835251" y="1323398"/>
                    <a:pt x="896674" y="1389326"/>
                  </a:cubicBezTo>
                  <a:cubicBezTo>
                    <a:pt x="1041309" y="1497883"/>
                    <a:pt x="1078235" y="1572780"/>
                    <a:pt x="1157497" y="1650149"/>
                  </a:cubicBezTo>
                  <a:cubicBezTo>
                    <a:pt x="1356013" y="1856146"/>
                    <a:pt x="1613000" y="1871002"/>
                    <a:pt x="1813160" y="1907191"/>
                  </a:cubicBezTo>
                  <a:cubicBezTo>
                    <a:pt x="1813683" y="1907282"/>
                    <a:pt x="1813794" y="1907195"/>
                    <a:pt x="1814236" y="1907315"/>
                  </a:cubicBezTo>
                  <a:cubicBezTo>
                    <a:pt x="2010037" y="1910413"/>
                    <a:pt x="2162021" y="2106249"/>
                    <a:pt x="2152650" y="2312480"/>
                  </a:cubicBezTo>
                  <a:cubicBezTo>
                    <a:pt x="2223732" y="2825006"/>
                    <a:pt x="2239819" y="2939652"/>
                    <a:pt x="2152650" y="3429000"/>
                  </a:cubicBezTo>
                  <a:cubicBezTo>
                    <a:pt x="1995040" y="3437542"/>
                    <a:pt x="1517084" y="3426927"/>
                    <a:pt x="1333500" y="3429000"/>
                  </a:cubicBezTo>
                  <a:cubicBezTo>
                    <a:pt x="1294168" y="3331932"/>
                    <a:pt x="1322418" y="3163386"/>
                    <a:pt x="1333500" y="2952750"/>
                  </a:cubicBezTo>
                  <a:cubicBezTo>
                    <a:pt x="1338893" y="2912915"/>
                    <a:pt x="1311648" y="2882889"/>
                    <a:pt x="1280846" y="2867559"/>
                  </a:cubicBezTo>
                  <a:cubicBezTo>
                    <a:pt x="1044319" y="2722151"/>
                    <a:pt x="860682" y="2670747"/>
                    <a:pt x="769649" y="2612003"/>
                  </a:cubicBezTo>
                  <a:cubicBezTo>
                    <a:pt x="417716" y="2464166"/>
                    <a:pt x="221086" y="2019504"/>
                    <a:pt x="190500" y="1674876"/>
                  </a:cubicBezTo>
                  <a:cubicBezTo>
                    <a:pt x="143668" y="1209416"/>
                    <a:pt x="157722" y="952132"/>
                    <a:pt x="190500" y="381000"/>
                  </a:cubicBezTo>
                  <a:close/>
                </a:path>
                <a:path w="2343150" h="3619500" stroke="0" extrusionOk="0">
                  <a:moveTo>
                    <a:pt x="684447" y="2782386"/>
                  </a:moveTo>
                  <a:cubicBezTo>
                    <a:pt x="796616" y="2835371"/>
                    <a:pt x="1100057" y="2981021"/>
                    <a:pt x="1143000" y="3011624"/>
                  </a:cubicBezTo>
                  <a:cubicBezTo>
                    <a:pt x="1157943" y="3121483"/>
                    <a:pt x="1147732" y="3398295"/>
                    <a:pt x="1143000" y="3524250"/>
                  </a:cubicBezTo>
                  <a:cubicBezTo>
                    <a:pt x="1137928" y="3572612"/>
                    <a:pt x="1188027" y="3610530"/>
                    <a:pt x="1238250" y="3619500"/>
                  </a:cubicBezTo>
                  <a:cubicBezTo>
                    <a:pt x="1400632" y="3619781"/>
                    <a:pt x="1847539" y="3594182"/>
                    <a:pt x="2247900" y="3619500"/>
                  </a:cubicBezTo>
                  <a:cubicBezTo>
                    <a:pt x="2305765" y="3614371"/>
                    <a:pt x="2343833" y="3576482"/>
                    <a:pt x="2343150" y="3524250"/>
                  </a:cubicBezTo>
                  <a:cubicBezTo>
                    <a:pt x="2433722" y="3345239"/>
                    <a:pt x="2416937" y="2746431"/>
                    <a:pt x="2343150" y="2312480"/>
                  </a:cubicBezTo>
                  <a:cubicBezTo>
                    <a:pt x="2388980" y="1998317"/>
                    <a:pt x="2145949" y="1744683"/>
                    <a:pt x="1834601" y="1717900"/>
                  </a:cubicBezTo>
                  <a:cubicBezTo>
                    <a:pt x="1817117" y="1707705"/>
                    <a:pt x="1438597" y="1704513"/>
                    <a:pt x="1292171" y="1515418"/>
                  </a:cubicBezTo>
                  <a:cubicBezTo>
                    <a:pt x="1191685" y="1375377"/>
                    <a:pt x="1072171" y="1318497"/>
                    <a:pt x="1031377" y="1254633"/>
                  </a:cubicBezTo>
                  <a:cubicBezTo>
                    <a:pt x="953014" y="1168299"/>
                    <a:pt x="863733" y="1144421"/>
                    <a:pt x="762000" y="1143000"/>
                  </a:cubicBezTo>
                  <a:cubicBezTo>
                    <a:pt x="759919" y="824355"/>
                    <a:pt x="762012" y="644710"/>
                    <a:pt x="762000" y="381000"/>
                  </a:cubicBezTo>
                  <a:cubicBezTo>
                    <a:pt x="782638" y="174853"/>
                    <a:pt x="570486" y="-378"/>
                    <a:pt x="381000" y="0"/>
                  </a:cubicBezTo>
                  <a:cubicBezTo>
                    <a:pt x="172847" y="11736"/>
                    <a:pt x="-8117" y="165132"/>
                    <a:pt x="0" y="381000"/>
                  </a:cubicBezTo>
                  <a:cubicBezTo>
                    <a:pt x="46012" y="910611"/>
                    <a:pt x="107562" y="1482405"/>
                    <a:pt x="0" y="1674876"/>
                  </a:cubicBezTo>
                  <a:cubicBezTo>
                    <a:pt x="-41636" y="2170587"/>
                    <a:pt x="286262" y="2568966"/>
                    <a:pt x="684447" y="2782386"/>
                  </a:cubicBezTo>
                  <a:close/>
                  <a:moveTo>
                    <a:pt x="190500" y="381000"/>
                  </a:moveTo>
                  <a:cubicBezTo>
                    <a:pt x="199891" y="275828"/>
                    <a:pt x="272143" y="193415"/>
                    <a:pt x="381000" y="190500"/>
                  </a:cubicBezTo>
                  <a:cubicBezTo>
                    <a:pt x="483943" y="200394"/>
                    <a:pt x="575528" y="280945"/>
                    <a:pt x="571500" y="381000"/>
                  </a:cubicBezTo>
                  <a:cubicBezTo>
                    <a:pt x="584439" y="610120"/>
                    <a:pt x="570131" y="1004849"/>
                    <a:pt x="571500" y="1194064"/>
                  </a:cubicBezTo>
                  <a:cubicBezTo>
                    <a:pt x="479467" y="1259416"/>
                    <a:pt x="377259" y="1390174"/>
                    <a:pt x="381000" y="1524000"/>
                  </a:cubicBezTo>
                  <a:cubicBezTo>
                    <a:pt x="385314" y="1608564"/>
                    <a:pt x="421056" y="1725218"/>
                    <a:pt x="492624" y="1793367"/>
                  </a:cubicBezTo>
                  <a:cubicBezTo>
                    <a:pt x="725035" y="2029199"/>
                    <a:pt x="864842" y="2151421"/>
                    <a:pt x="980399" y="2281238"/>
                  </a:cubicBezTo>
                  <a:cubicBezTo>
                    <a:pt x="1015567" y="2316389"/>
                    <a:pt x="1075669" y="2312353"/>
                    <a:pt x="1115101" y="2281247"/>
                  </a:cubicBezTo>
                  <a:cubicBezTo>
                    <a:pt x="1155287" y="2239046"/>
                    <a:pt x="1153574" y="2192539"/>
                    <a:pt x="1115111" y="2146545"/>
                  </a:cubicBezTo>
                  <a:cubicBezTo>
                    <a:pt x="980565" y="1955503"/>
                    <a:pt x="838305" y="1873291"/>
                    <a:pt x="627336" y="1658665"/>
                  </a:cubicBezTo>
                  <a:cubicBezTo>
                    <a:pt x="592404" y="1624712"/>
                    <a:pt x="577394" y="1572261"/>
                    <a:pt x="571500" y="1524000"/>
                  </a:cubicBezTo>
                  <a:cubicBezTo>
                    <a:pt x="575899" y="1438177"/>
                    <a:pt x="638403" y="1373893"/>
                    <a:pt x="698487" y="1344349"/>
                  </a:cubicBezTo>
                  <a:cubicBezTo>
                    <a:pt x="698513" y="1344343"/>
                    <a:pt x="698543" y="1344325"/>
                    <a:pt x="698573" y="1344311"/>
                  </a:cubicBezTo>
                  <a:cubicBezTo>
                    <a:pt x="698574" y="1344310"/>
                    <a:pt x="698582" y="1344310"/>
                    <a:pt x="698583" y="1344311"/>
                  </a:cubicBezTo>
                  <a:cubicBezTo>
                    <a:pt x="768612" y="1316896"/>
                    <a:pt x="836740" y="1347764"/>
                    <a:pt x="896674" y="1389326"/>
                  </a:cubicBezTo>
                  <a:cubicBezTo>
                    <a:pt x="1027861" y="1510312"/>
                    <a:pt x="1065985" y="1523661"/>
                    <a:pt x="1157497" y="1650149"/>
                  </a:cubicBezTo>
                  <a:cubicBezTo>
                    <a:pt x="1344786" y="1829799"/>
                    <a:pt x="1592139" y="1888045"/>
                    <a:pt x="1813160" y="1907191"/>
                  </a:cubicBezTo>
                  <a:cubicBezTo>
                    <a:pt x="1813609" y="1907250"/>
                    <a:pt x="1813960" y="1907253"/>
                    <a:pt x="1814236" y="1907315"/>
                  </a:cubicBezTo>
                  <a:cubicBezTo>
                    <a:pt x="1976017" y="1947953"/>
                    <a:pt x="2119714" y="2089241"/>
                    <a:pt x="2152650" y="2312480"/>
                  </a:cubicBezTo>
                  <a:cubicBezTo>
                    <a:pt x="2234829" y="2496273"/>
                    <a:pt x="2076302" y="3049093"/>
                    <a:pt x="2152650" y="3429000"/>
                  </a:cubicBezTo>
                  <a:cubicBezTo>
                    <a:pt x="1863706" y="3375871"/>
                    <a:pt x="1578166" y="3472534"/>
                    <a:pt x="1333500" y="3429000"/>
                  </a:cubicBezTo>
                  <a:cubicBezTo>
                    <a:pt x="1310713" y="3272317"/>
                    <a:pt x="1350067" y="3041840"/>
                    <a:pt x="1333500" y="2952750"/>
                  </a:cubicBezTo>
                  <a:cubicBezTo>
                    <a:pt x="1328297" y="2915968"/>
                    <a:pt x="1306553" y="2885482"/>
                    <a:pt x="1280846" y="2867559"/>
                  </a:cubicBezTo>
                  <a:cubicBezTo>
                    <a:pt x="1157521" y="2829159"/>
                    <a:pt x="983222" y="2745270"/>
                    <a:pt x="769649" y="2612003"/>
                  </a:cubicBezTo>
                  <a:cubicBezTo>
                    <a:pt x="417466" y="2445358"/>
                    <a:pt x="253117" y="2032213"/>
                    <a:pt x="190500" y="1674876"/>
                  </a:cubicBezTo>
                  <a:cubicBezTo>
                    <a:pt x="259078" y="1196917"/>
                    <a:pt x="242852" y="856907"/>
                    <a:pt x="190500" y="38100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3065913895">
                    <a:custGeom>
                      <a:avLst/>
                      <a:gdLst>
                        <a:gd name="connsiteX0" fmla="*/ 684447 w 2343150"/>
                        <a:gd name="connsiteY0" fmla="*/ 2782386 h 3619500"/>
                        <a:gd name="connsiteX1" fmla="*/ 1143000 w 2343150"/>
                        <a:gd name="connsiteY1" fmla="*/ 3011624 h 3619500"/>
                        <a:gd name="connsiteX2" fmla="*/ 1143000 w 2343150"/>
                        <a:gd name="connsiteY2" fmla="*/ 3524250 h 3619500"/>
                        <a:gd name="connsiteX3" fmla="*/ 1238250 w 2343150"/>
                        <a:gd name="connsiteY3" fmla="*/ 3619500 h 3619500"/>
                        <a:gd name="connsiteX4" fmla="*/ 2247900 w 2343150"/>
                        <a:gd name="connsiteY4" fmla="*/ 3619500 h 3619500"/>
                        <a:gd name="connsiteX5" fmla="*/ 2343150 w 2343150"/>
                        <a:gd name="connsiteY5" fmla="*/ 3524250 h 3619500"/>
                        <a:gd name="connsiteX6" fmla="*/ 2343150 w 2343150"/>
                        <a:gd name="connsiteY6" fmla="*/ 2312480 h 3619500"/>
                        <a:gd name="connsiteX7" fmla="*/ 1834601 w 2343150"/>
                        <a:gd name="connsiteY7" fmla="*/ 1717900 h 3619500"/>
                        <a:gd name="connsiteX8" fmla="*/ 1292171 w 2343150"/>
                        <a:gd name="connsiteY8" fmla="*/ 1515418 h 3619500"/>
                        <a:gd name="connsiteX9" fmla="*/ 1031377 w 2343150"/>
                        <a:gd name="connsiteY9" fmla="*/ 1254633 h 3619500"/>
                        <a:gd name="connsiteX10" fmla="*/ 762000 w 2343150"/>
                        <a:gd name="connsiteY10" fmla="*/ 1143000 h 3619500"/>
                        <a:gd name="connsiteX11" fmla="*/ 762000 w 2343150"/>
                        <a:gd name="connsiteY11" fmla="*/ 381000 h 3619500"/>
                        <a:gd name="connsiteX12" fmla="*/ 381000 w 2343150"/>
                        <a:gd name="connsiteY12" fmla="*/ 0 h 3619500"/>
                        <a:gd name="connsiteX13" fmla="*/ 0 w 2343150"/>
                        <a:gd name="connsiteY13" fmla="*/ 381000 h 3619500"/>
                        <a:gd name="connsiteX14" fmla="*/ 0 w 2343150"/>
                        <a:gd name="connsiteY14" fmla="*/ 1674876 h 3619500"/>
                        <a:gd name="connsiteX15" fmla="*/ 684447 w 2343150"/>
                        <a:gd name="connsiteY15" fmla="*/ 2782386 h 3619500"/>
                        <a:gd name="connsiteX16" fmla="*/ 190500 w 2343150"/>
                        <a:gd name="connsiteY16" fmla="*/ 381000 h 3619500"/>
                        <a:gd name="connsiteX17" fmla="*/ 381000 w 2343150"/>
                        <a:gd name="connsiteY17" fmla="*/ 190500 h 3619500"/>
                        <a:gd name="connsiteX18" fmla="*/ 571500 w 2343150"/>
                        <a:gd name="connsiteY18" fmla="*/ 381000 h 3619500"/>
                        <a:gd name="connsiteX19" fmla="*/ 571500 w 2343150"/>
                        <a:gd name="connsiteY19" fmla="*/ 1194064 h 3619500"/>
                        <a:gd name="connsiteX20" fmla="*/ 381000 w 2343150"/>
                        <a:gd name="connsiteY20" fmla="*/ 1524000 h 3619500"/>
                        <a:gd name="connsiteX21" fmla="*/ 492624 w 2343150"/>
                        <a:gd name="connsiteY21" fmla="*/ 1793367 h 3619500"/>
                        <a:gd name="connsiteX22" fmla="*/ 980399 w 2343150"/>
                        <a:gd name="connsiteY22" fmla="*/ 2281238 h 3619500"/>
                        <a:gd name="connsiteX23" fmla="*/ 1115101 w 2343150"/>
                        <a:gd name="connsiteY23" fmla="*/ 2281247 h 3619500"/>
                        <a:gd name="connsiteX24" fmla="*/ 1115111 w 2343150"/>
                        <a:gd name="connsiteY24" fmla="*/ 2146545 h 3619500"/>
                        <a:gd name="connsiteX25" fmla="*/ 627336 w 2343150"/>
                        <a:gd name="connsiteY25" fmla="*/ 1658665 h 3619500"/>
                        <a:gd name="connsiteX26" fmla="*/ 571500 w 2343150"/>
                        <a:gd name="connsiteY26" fmla="*/ 1524000 h 3619500"/>
                        <a:gd name="connsiteX27" fmla="*/ 698487 w 2343150"/>
                        <a:gd name="connsiteY27" fmla="*/ 1344349 h 3619500"/>
                        <a:gd name="connsiteX28" fmla="*/ 698573 w 2343150"/>
                        <a:gd name="connsiteY28" fmla="*/ 1344311 h 3619500"/>
                        <a:gd name="connsiteX29" fmla="*/ 698583 w 2343150"/>
                        <a:gd name="connsiteY29" fmla="*/ 1344311 h 3619500"/>
                        <a:gd name="connsiteX30" fmla="*/ 896674 w 2343150"/>
                        <a:gd name="connsiteY30" fmla="*/ 1389326 h 3619500"/>
                        <a:gd name="connsiteX31" fmla="*/ 1157497 w 2343150"/>
                        <a:gd name="connsiteY31" fmla="*/ 1650149 h 3619500"/>
                        <a:gd name="connsiteX32" fmla="*/ 1813160 w 2343150"/>
                        <a:gd name="connsiteY32" fmla="*/ 1907191 h 3619500"/>
                        <a:gd name="connsiteX33" fmla="*/ 1814236 w 2343150"/>
                        <a:gd name="connsiteY33" fmla="*/ 1907315 h 3619500"/>
                        <a:gd name="connsiteX34" fmla="*/ 2152650 w 2343150"/>
                        <a:gd name="connsiteY34" fmla="*/ 2312480 h 3619500"/>
                        <a:gd name="connsiteX35" fmla="*/ 2152650 w 2343150"/>
                        <a:gd name="connsiteY35" fmla="*/ 3429000 h 3619500"/>
                        <a:gd name="connsiteX36" fmla="*/ 1333500 w 2343150"/>
                        <a:gd name="connsiteY36" fmla="*/ 3429000 h 3619500"/>
                        <a:gd name="connsiteX37" fmla="*/ 1333500 w 2343150"/>
                        <a:gd name="connsiteY37" fmla="*/ 2952750 h 3619500"/>
                        <a:gd name="connsiteX38" fmla="*/ 1280846 w 2343150"/>
                        <a:gd name="connsiteY38" fmla="*/ 2867559 h 3619500"/>
                        <a:gd name="connsiteX39" fmla="*/ 769649 w 2343150"/>
                        <a:gd name="connsiteY39" fmla="*/ 2612003 h 3619500"/>
                        <a:gd name="connsiteX40" fmla="*/ 190500 w 2343150"/>
                        <a:gd name="connsiteY40" fmla="*/ 1674876 h 361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</a:cxnLst>
                      <a:rect l="l" t="t" r="r" b="b"/>
                      <a:pathLst>
                        <a:path w="2343150" h="3619500">
                          <a:moveTo>
                            <a:pt x="684447" y="2782386"/>
                          </a:moveTo>
                          <a:lnTo>
                            <a:pt x="1143000" y="3011624"/>
                          </a:lnTo>
                          <a:lnTo>
                            <a:pt x="1143000" y="3524250"/>
                          </a:lnTo>
                          <a:cubicBezTo>
                            <a:pt x="1143000" y="3576857"/>
                            <a:pt x="1185653" y="3619500"/>
                            <a:pt x="1238250" y="3619500"/>
                          </a:cubicBezTo>
                          <a:lnTo>
                            <a:pt x="2247900" y="3619500"/>
                          </a:lnTo>
                          <a:cubicBezTo>
                            <a:pt x="2300497" y="3619500"/>
                            <a:pt x="2343150" y="3576857"/>
                            <a:pt x="2343150" y="3524250"/>
                          </a:cubicBezTo>
                          <a:lnTo>
                            <a:pt x="2343150" y="2312480"/>
                          </a:lnTo>
                          <a:cubicBezTo>
                            <a:pt x="2343150" y="2009747"/>
                            <a:pt x="2119770" y="1748571"/>
                            <a:pt x="1834601" y="1717900"/>
                          </a:cubicBezTo>
                          <a:cubicBezTo>
                            <a:pt x="1827028" y="1716472"/>
                            <a:pt x="1466469" y="1689602"/>
                            <a:pt x="1292171" y="1515418"/>
                          </a:cubicBezTo>
                          <a:lnTo>
                            <a:pt x="1031377" y="1254633"/>
                          </a:lnTo>
                          <a:cubicBezTo>
                            <a:pt x="959406" y="1182643"/>
                            <a:pt x="863737" y="1143000"/>
                            <a:pt x="762000" y="1143000"/>
                          </a:cubicBezTo>
                          <a:lnTo>
                            <a:pt x="762000" y="381000"/>
                          </a:lnTo>
                          <a:cubicBezTo>
                            <a:pt x="762000" y="170917"/>
                            <a:pt x="591083" y="0"/>
                            <a:pt x="381000" y="0"/>
                          </a:cubicBezTo>
                          <a:cubicBezTo>
                            <a:pt x="170917" y="0"/>
                            <a:pt x="0" y="170917"/>
                            <a:pt x="0" y="381000"/>
                          </a:cubicBezTo>
                          <a:lnTo>
                            <a:pt x="0" y="1674876"/>
                          </a:lnTo>
                          <a:cubicBezTo>
                            <a:pt x="0" y="2143620"/>
                            <a:pt x="264776" y="2572503"/>
                            <a:pt x="684447" y="2782386"/>
                          </a:cubicBezTo>
                          <a:close/>
                          <a:moveTo>
                            <a:pt x="190500" y="381000"/>
                          </a:moveTo>
                          <a:cubicBezTo>
                            <a:pt x="190500" y="275958"/>
                            <a:pt x="275958" y="190500"/>
                            <a:pt x="381000" y="190500"/>
                          </a:cubicBezTo>
                          <a:cubicBezTo>
                            <a:pt x="486042" y="190500"/>
                            <a:pt x="571500" y="275958"/>
                            <a:pt x="571500" y="381000"/>
                          </a:cubicBezTo>
                          <a:lnTo>
                            <a:pt x="571500" y="1194064"/>
                          </a:lnTo>
                          <a:cubicBezTo>
                            <a:pt x="455333" y="1261234"/>
                            <a:pt x="381000" y="1386469"/>
                            <a:pt x="381000" y="1524000"/>
                          </a:cubicBezTo>
                          <a:cubicBezTo>
                            <a:pt x="381000" y="1625727"/>
                            <a:pt x="420643" y="1721387"/>
                            <a:pt x="492624" y="1793367"/>
                          </a:cubicBezTo>
                          <a:lnTo>
                            <a:pt x="980399" y="2281238"/>
                          </a:lnTo>
                          <a:cubicBezTo>
                            <a:pt x="1017575" y="2318433"/>
                            <a:pt x="1077897" y="2318452"/>
                            <a:pt x="1115101" y="2281247"/>
                          </a:cubicBezTo>
                          <a:cubicBezTo>
                            <a:pt x="1152296" y="2244052"/>
                            <a:pt x="1152306" y="2183749"/>
                            <a:pt x="1115111" y="2146545"/>
                          </a:cubicBezTo>
                          <a:lnTo>
                            <a:pt x="627336" y="1658665"/>
                          </a:lnTo>
                          <a:cubicBezTo>
                            <a:pt x="591331" y="1622670"/>
                            <a:pt x="571500" y="1574845"/>
                            <a:pt x="571500" y="1524000"/>
                          </a:cubicBezTo>
                          <a:cubicBezTo>
                            <a:pt x="571500" y="1443381"/>
                            <a:pt x="622525" y="1371181"/>
                            <a:pt x="698487" y="1344349"/>
                          </a:cubicBezTo>
                          <a:cubicBezTo>
                            <a:pt x="698516" y="1344340"/>
                            <a:pt x="698544" y="1344320"/>
                            <a:pt x="698573" y="1344311"/>
                          </a:cubicBezTo>
                          <a:lnTo>
                            <a:pt x="698583" y="1344311"/>
                          </a:lnTo>
                          <a:cubicBezTo>
                            <a:pt x="764115" y="1321079"/>
                            <a:pt x="842086" y="1334738"/>
                            <a:pt x="896674" y="1389326"/>
                          </a:cubicBezTo>
                          <a:lnTo>
                            <a:pt x="1157497" y="1650149"/>
                          </a:lnTo>
                          <a:cubicBezTo>
                            <a:pt x="1335138" y="1827667"/>
                            <a:pt x="1594037" y="1877597"/>
                            <a:pt x="1813160" y="1907191"/>
                          </a:cubicBezTo>
                          <a:cubicBezTo>
                            <a:pt x="1813512" y="1907229"/>
                            <a:pt x="1813874" y="1907277"/>
                            <a:pt x="1814236" y="1907315"/>
                          </a:cubicBezTo>
                          <a:cubicBezTo>
                            <a:pt x="2004003" y="1927717"/>
                            <a:pt x="2152650" y="2105692"/>
                            <a:pt x="2152650" y="2312480"/>
                          </a:cubicBezTo>
                          <a:lnTo>
                            <a:pt x="2152650" y="3429000"/>
                          </a:lnTo>
                          <a:lnTo>
                            <a:pt x="1333500" y="3429000"/>
                          </a:lnTo>
                          <a:lnTo>
                            <a:pt x="1333500" y="2952750"/>
                          </a:lnTo>
                          <a:cubicBezTo>
                            <a:pt x="1333500" y="2916669"/>
                            <a:pt x="1313107" y="2883684"/>
                            <a:pt x="1280846" y="2867559"/>
                          </a:cubicBezTo>
                          <a:lnTo>
                            <a:pt x="769649" y="2612003"/>
                          </a:lnTo>
                          <a:cubicBezTo>
                            <a:pt x="412423" y="2433342"/>
                            <a:pt x="190500" y="2074259"/>
                            <a:pt x="190500" y="1674876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209D4127-3ADE-497D-BA63-D2BCC7FCB799}"/>
                </a:ext>
              </a:extLst>
            </p:cNvPr>
            <p:cNvSpPr/>
            <p:nvPr/>
          </p:nvSpPr>
          <p:spPr>
            <a:xfrm>
              <a:off x="7933531" y="4552950"/>
              <a:ext cx="190500" cy="190500"/>
            </a:xfrm>
            <a:custGeom>
              <a:avLst/>
              <a:gdLst>
                <a:gd name="connsiteX0" fmla="*/ 190500 w 190500"/>
                <a:gd name="connsiteY0" fmla="*/ 95250 h 190500"/>
                <a:gd name="connsiteX1" fmla="*/ 95250 w 190500"/>
                <a:gd name="connsiteY1" fmla="*/ 190500 h 190500"/>
                <a:gd name="connsiteX2" fmla="*/ 0 w 190500"/>
                <a:gd name="connsiteY2" fmla="*/ 95250 h 190500"/>
                <a:gd name="connsiteX3" fmla="*/ 95250 w 190500"/>
                <a:gd name="connsiteY3" fmla="*/ 0 h 190500"/>
                <a:gd name="connsiteX4" fmla="*/ 190500 w 190500"/>
                <a:gd name="connsiteY4" fmla="*/ 9525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90500" fill="none" extrusionOk="0">
                  <a:moveTo>
                    <a:pt x="190500" y="95250"/>
                  </a:moveTo>
                  <a:cubicBezTo>
                    <a:pt x="190079" y="146845"/>
                    <a:pt x="146565" y="198542"/>
                    <a:pt x="95250" y="190500"/>
                  </a:cubicBezTo>
                  <a:cubicBezTo>
                    <a:pt x="46149" y="182066"/>
                    <a:pt x="-2720" y="148598"/>
                    <a:pt x="0" y="95250"/>
                  </a:cubicBezTo>
                  <a:cubicBezTo>
                    <a:pt x="627" y="42129"/>
                    <a:pt x="33453" y="1533"/>
                    <a:pt x="95250" y="0"/>
                  </a:cubicBezTo>
                  <a:cubicBezTo>
                    <a:pt x="142281" y="-261"/>
                    <a:pt x="183180" y="45417"/>
                    <a:pt x="190500" y="95250"/>
                  </a:cubicBezTo>
                  <a:close/>
                </a:path>
                <a:path w="190500" h="190500" stroke="0" extrusionOk="0">
                  <a:moveTo>
                    <a:pt x="190500" y="95250"/>
                  </a:moveTo>
                  <a:cubicBezTo>
                    <a:pt x="185971" y="152571"/>
                    <a:pt x="149010" y="198441"/>
                    <a:pt x="95250" y="190500"/>
                  </a:cubicBezTo>
                  <a:cubicBezTo>
                    <a:pt x="41491" y="191583"/>
                    <a:pt x="8163" y="141307"/>
                    <a:pt x="0" y="95250"/>
                  </a:cubicBezTo>
                  <a:cubicBezTo>
                    <a:pt x="-1377" y="38666"/>
                    <a:pt x="39846" y="-1712"/>
                    <a:pt x="95250" y="0"/>
                  </a:cubicBezTo>
                  <a:cubicBezTo>
                    <a:pt x="143201" y="2987"/>
                    <a:pt x="185147" y="40217"/>
                    <a:pt x="190500" y="9525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3346808762">
                    <a:custGeom>
                      <a:avLst/>
                      <a:gdLst>
                        <a:gd name="connsiteX0" fmla="*/ 190500 w 190500"/>
                        <a:gd name="connsiteY0" fmla="*/ 95250 h 190500"/>
                        <a:gd name="connsiteX1" fmla="*/ 95250 w 190500"/>
                        <a:gd name="connsiteY1" fmla="*/ 190500 h 190500"/>
                        <a:gd name="connsiteX2" fmla="*/ 0 w 190500"/>
                        <a:gd name="connsiteY2" fmla="*/ 95250 h 190500"/>
                        <a:gd name="connsiteX3" fmla="*/ 95250 w 190500"/>
                        <a:gd name="connsiteY3" fmla="*/ 0 h 190500"/>
                        <a:gd name="connsiteX4" fmla="*/ 190500 w 190500"/>
                        <a:gd name="connsiteY4" fmla="*/ 95250 h 190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0500" h="190500">
                          <a:moveTo>
                            <a:pt x="190500" y="95250"/>
                          </a:moveTo>
                          <a:cubicBezTo>
                            <a:pt x="190500" y="147855"/>
                            <a:pt x="147855" y="190500"/>
                            <a:pt x="95250" y="190500"/>
                          </a:cubicBezTo>
                          <a:cubicBezTo>
                            <a:pt x="42645" y="190500"/>
                            <a:pt x="0" y="147855"/>
                            <a:pt x="0" y="95250"/>
                          </a:cubicBezTo>
                          <a:cubicBezTo>
                            <a:pt x="0" y="42645"/>
                            <a:pt x="42645" y="0"/>
                            <a:pt x="95250" y="0"/>
                          </a:cubicBezTo>
                          <a:cubicBezTo>
                            <a:pt x="147855" y="0"/>
                            <a:pt x="190500" y="42645"/>
                            <a:pt x="190500" y="95250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D2EFEC84-82D1-4554-95A4-8DD837FCCC9A}"/>
                </a:ext>
              </a:extLst>
            </p:cNvPr>
            <p:cNvSpPr/>
            <p:nvPr/>
          </p:nvSpPr>
          <p:spPr>
            <a:xfrm>
              <a:off x="6190456" y="2095500"/>
              <a:ext cx="2343150" cy="3619500"/>
            </a:xfrm>
            <a:custGeom>
              <a:avLst/>
              <a:gdLst>
                <a:gd name="connsiteX0" fmla="*/ 1962150 w 2343150"/>
                <a:gd name="connsiteY0" fmla="*/ 0 h 3619500"/>
                <a:gd name="connsiteX1" fmla="*/ 1581150 w 2343150"/>
                <a:gd name="connsiteY1" fmla="*/ 381000 h 3619500"/>
                <a:gd name="connsiteX2" fmla="*/ 1581150 w 2343150"/>
                <a:gd name="connsiteY2" fmla="*/ 1143000 h 3619500"/>
                <a:gd name="connsiteX3" fmla="*/ 1311773 w 2343150"/>
                <a:gd name="connsiteY3" fmla="*/ 1254623 h 3619500"/>
                <a:gd name="connsiteX4" fmla="*/ 1051008 w 2343150"/>
                <a:gd name="connsiteY4" fmla="*/ 1515390 h 3619500"/>
                <a:gd name="connsiteX5" fmla="*/ 508549 w 2343150"/>
                <a:gd name="connsiteY5" fmla="*/ 1717910 h 3619500"/>
                <a:gd name="connsiteX6" fmla="*/ 0 w 2343150"/>
                <a:gd name="connsiteY6" fmla="*/ 2312480 h 3619500"/>
                <a:gd name="connsiteX7" fmla="*/ 0 w 2343150"/>
                <a:gd name="connsiteY7" fmla="*/ 3524250 h 3619500"/>
                <a:gd name="connsiteX8" fmla="*/ 95250 w 2343150"/>
                <a:gd name="connsiteY8" fmla="*/ 3619500 h 3619500"/>
                <a:gd name="connsiteX9" fmla="*/ 1104900 w 2343150"/>
                <a:gd name="connsiteY9" fmla="*/ 3619500 h 3619500"/>
                <a:gd name="connsiteX10" fmla="*/ 1200150 w 2343150"/>
                <a:gd name="connsiteY10" fmla="*/ 3524250 h 3619500"/>
                <a:gd name="connsiteX11" fmla="*/ 1200150 w 2343150"/>
                <a:gd name="connsiteY11" fmla="*/ 3011624 h 3619500"/>
                <a:gd name="connsiteX12" fmla="*/ 1511903 w 2343150"/>
                <a:gd name="connsiteY12" fmla="*/ 2855776 h 3619500"/>
                <a:gd name="connsiteX13" fmla="*/ 1554509 w 2343150"/>
                <a:gd name="connsiteY13" fmla="*/ 2727979 h 3619500"/>
                <a:gd name="connsiteX14" fmla="*/ 1426721 w 2343150"/>
                <a:gd name="connsiteY14" fmla="*/ 2685374 h 3619500"/>
                <a:gd name="connsiteX15" fmla="*/ 1062304 w 2343150"/>
                <a:gd name="connsiteY15" fmla="*/ 2867539 h 3619500"/>
                <a:gd name="connsiteX16" fmla="*/ 1009650 w 2343150"/>
                <a:gd name="connsiteY16" fmla="*/ 2952750 h 3619500"/>
                <a:gd name="connsiteX17" fmla="*/ 1009650 w 2343150"/>
                <a:gd name="connsiteY17" fmla="*/ 3429000 h 3619500"/>
                <a:gd name="connsiteX18" fmla="*/ 190500 w 2343150"/>
                <a:gd name="connsiteY18" fmla="*/ 3429000 h 3619500"/>
                <a:gd name="connsiteX19" fmla="*/ 190500 w 2343150"/>
                <a:gd name="connsiteY19" fmla="*/ 2312480 h 3619500"/>
                <a:gd name="connsiteX20" fmla="*/ 528914 w 2343150"/>
                <a:gd name="connsiteY20" fmla="*/ 1907305 h 3619500"/>
                <a:gd name="connsiteX21" fmla="*/ 529990 w 2343150"/>
                <a:gd name="connsiteY21" fmla="*/ 1907181 h 3619500"/>
                <a:gd name="connsiteX22" fmla="*/ 1185681 w 2343150"/>
                <a:gd name="connsiteY22" fmla="*/ 1650121 h 3619500"/>
                <a:gd name="connsiteX23" fmla="*/ 1446476 w 2343150"/>
                <a:gd name="connsiteY23" fmla="*/ 1389326 h 3619500"/>
                <a:gd name="connsiteX24" fmla="*/ 1644567 w 2343150"/>
                <a:gd name="connsiteY24" fmla="*/ 1344311 h 3619500"/>
                <a:gd name="connsiteX25" fmla="*/ 1644577 w 2343150"/>
                <a:gd name="connsiteY25" fmla="*/ 1344311 h 3619500"/>
                <a:gd name="connsiteX26" fmla="*/ 1644663 w 2343150"/>
                <a:gd name="connsiteY26" fmla="*/ 1344349 h 3619500"/>
                <a:gd name="connsiteX27" fmla="*/ 1771650 w 2343150"/>
                <a:gd name="connsiteY27" fmla="*/ 1524000 h 3619500"/>
                <a:gd name="connsiteX28" fmla="*/ 1715824 w 2343150"/>
                <a:gd name="connsiteY28" fmla="*/ 1658684 h 3619500"/>
                <a:gd name="connsiteX29" fmla="*/ 1228049 w 2343150"/>
                <a:gd name="connsiteY29" fmla="*/ 2146554 h 3619500"/>
                <a:gd name="connsiteX30" fmla="*/ 1228058 w 2343150"/>
                <a:gd name="connsiteY30" fmla="*/ 2281257 h 3619500"/>
                <a:gd name="connsiteX31" fmla="*/ 1362761 w 2343150"/>
                <a:gd name="connsiteY31" fmla="*/ 2281247 h 3619500"/>
                <a:gd name="connsiteX32" fmla="*/ 1850536 w 2343150"/>
                <a:gd name="connsiteY32" fmla="*/ 1793377 h 3619500"/>
                <a:gd name="connsiteX33" fmla="*/ 1962150 w 2343150"/>
                <a:gd name="connsiteY33" fmla="*/ 1524000 h 3619500"/>
                <a:gd name="connsiteX34" fmla="*/ 1771650 w 2343150"/>
                <a:gd name="connsiteY34" fmla="*/ 1194064 h 3619500"/>
                <a:gd name="connsiteX35" fmla="*/ 1771650 w 2343150"/>
                <a:gd name="connsiteY35" fmla="*/ 381000 h 3619500"/>
                <a:gd name="connsiteX36" fmla="*/ 1962150 w 2343150"/>
                <a:gd name="connsiteY36" fmla="*/ 190500 h 3619500"/>
                <a:gd name="connsiteX37" fmla="*/ 2152650 w 2343150"/>
                <a:gd name="connsiteY37" fmla="*/ 381000 h 3619500"/>
                <a:gd name="connsiteX38" fmla="*/ 2152650 w 2343150"/>
                <a:gd name="connsiteY38" fmla="*/ 1674876 h 3619500"/>
                <a:gd name="connsiteX39" fmla="*/ 2025463 w 2343150"/>
                <a:gd name="connsiteY39" fmla="*/ 2175205 h 3619500"/>
                <a:gd name="connsiteX40" fmla="*/ 2063649 w 2343150"/>
                <a:gd name="connsiteY40" fmla="*/ 2304383 h 3619500"/>
                <a:gd name="connsiteX41" fmla="*/ 2192826 w 2343150"/>
                <a:gd name="connsiteY41" fmla="*/ 2266198 h 3619500"/>
                <a:gd name="connsiteX42" fmla="*/ 2343150 w 2343150"/>
                <a:gd name="connsiteY42" fmla="*/ 1674876 h 3619500"/>
                <a:gd name="connsiteX43" fmla="*/ 2343150 w 2343150"/>
                <a:gd name="connsiteY43" fmla="*/ 381000 h 3619500"/>
                <a:gd name="connsiteX44" fmla="*/ 1962150 w 2343150"/>
                <a:gd name="connsiteY44" fmla="*/ 0 h 3619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343150" h="3619500" fill="none" extrusionOk="0">
                  <a:moveTo>
                    <a:pt x="1962150" y="0"/>
                  </a:moveTo>
                  <a:cubicBezTo>
                    <a:pt x="1756875" y="-8929"/>
                    <a:pt x="1555025" y="170819"/>
                    <a:pt x="1581150" y="381000"/>
                  </a:cubicBezTo>
                  <a:cubicBezTo>
                    <a:pt x="1537035" y="525532"/>
                    <a:pt x="1562773" y="999248"/>
                    <a:pt x="1581150" y="1143000"/>
                  </a:cubicBezTo>
                  <a:cubicBezTo>
                    <a:pt x="1476065" y="1140221"/>
                    <a:pt x="1381154" y="1198142"/>
                    <a:pt x="1311773" y="1254623"/>
                  </a:cubicBezTo>
                  <a:cubicBezTo>
                    <a:pt x="1213254" y="1359658"/>
                    <a:pt x="1171458" y="1434803"/>
                    <a:pt x="1051008" y="1515390"/>
                  </a:cubicBezTo>
                  <a:cubicBezTo>
                    <a:pt x="904841" y="1648119"/>
                    <a:pt x="651207" y="1695314"/>
                    <a:pt x="508549" y="1717910"/>
                  </a:cubicBezTo>
                  <a:cubicBezTo>
                    <a:pt x="224015" y="1742355"/>
                    <a:pt x="-8136" y="2021808"/>
                    <a:pt x="0" y="2312480"/>
                  </a:cubicBezTo>
                  <a:cubicBezTo>
                    <a:pt x="-61291" y="2652351"/>
                    <a:pt x="-103967" y="3107833"/>
                    <a:pt x="0" y="3524250"/>
                  </a:cubicBezTo>
                  <a:cubicBezTo>
                    <a:pt x="1470" y="3576576"/>
                    <a:pt x="43626" y="3610730"/>
                    <a:pt x="95250" y="3619500"/>
                  </a:cubicBezTo>
                  <a:cubicBezTo>
                    <a:pt x="365143" y="3685650"/>
                    <a:pt x="625787" y="3597811"/>
                    <a:pt x="1104900" y="3619500"/>
                  </a:cubicBezTo>
                  <a:cubicBezTo>
                    <a:pt x="1153143" y="3624940"/>
                    <a:pt x="1194179" y="3580745"/>
                    <a:pt x="1200150" y="3524250"/>
                  </a:cubicBezTo>
                  <a:cubicBezTo>
                    <a:pt x="1156052" y="3394966"/>
                    <a:pt x="1201130" y="3197153"/>
                    <a:pt x="1200150" y="3011624"/>
                  </a:cubicBezTo>
                  <a:cubicBezTo>
                    <a:pt x="1244188" y="2973852"/>
                    <a:pt x="1424947" y="2921280"/>
                    <a:pt x="1511903" y="2855776"/>
                  </a:cubicBezTo>
                  <a:cubicBezTo>
                    <a:pt x="1565445" y="2828009"/>
                    <a:pt x="1581025" y="2778593"/>
                    <a:pt x="1554509" y="2727979"/>
                  </a:cubicBezTo>
                  <a:cubicBezTo>
                    <a:pt x="1528021" y="2681601"/>
                    <a:pt x="1480000" y="2662360"/>
                    <a:pt x="1426721" y="2685374"/>
                  </a:cubicBezTo>
                  <a:cubicBezTo>
                    <a:pt x="1345632" y="2739691"/>
                    <a:pt x="1229087" y="2810887"/>
                    <a:pt x="1062304" y="2867539"/>
                  </a:cubicBezTo>
                  <a:cubicBezTo>
                    <a:pt x="1032177" y="2890493"/>
                    <a:pt x="1009437" y="2917159"/>
                    <a:pt x="1009650" y="2952750"/>
                  </a:cubicBezTo>
                  <a:cubicBezTo>
                    <a:pt x="972478" y="3036547"/>
                    <a:pt x="983183" y="3356758"/>
                    <a:pt x="1009650" y="3429000"/>
                  </a:cubicBezTo>
                  <a:cubicBezTo>
                    <a:pt x="739231" y="3444152"/>
                    <a:pt x="309449" y="3476915"/>
                    <a:pt x="190500" y="3429000"/>
                  </a:cubicBezTo>
                  <a:cubicBezTo>
                    <a:pt x="219922" y="3069491"/>
                    <a:pt x="224123" y="2850751"/>
                    <a:pt x="190500" y="2312480"/>
                  </a:cubicBezTo>
                  <a:cubicBezTo>
                    <a:pt x="165722" y="2113489"/>
                    <a:pt x="349526" y="1926250"/>
                    <a:pt x="528914" y="1907305"/>
                  </a:cubicBezTo>
                  <a:cubicBezTo>
                    <a:pt x="529274" y="1907279"/>
                    <a:pt x="529624" y="1907239"/>
                    <a:pt x="529990" y="1907181"/>
                  </a:cubicBezTo>
                  <a:cubicBezTo>
                    <a:pt x="737681" y="1861273"/>
                    <a:pt x="970455" y="1812842"/>
                    <a:pt x="1185681" y="1650121"/>
                  </a:cubicBezTo>
                  <a:cubicBezTo>
                    <a:pt x="1280286" y="1596048"/>
                    <a:pt x="1331605" y="1523914"/>
                    <a:pt x="1446476" y="1389326"/>
                  </a:cubicBezTo>
                  <a:cubicBezTo>
                    <a:pt x="1495807" y="1331334"/>
                    <a:pt x="1578175" y="1323629"/>
                    <a:pt x="1644567" y="1344311"/>
                  </a:cubicBezTo>
                  <a:cubicBezTo>
                    <a:pt x="1644572" y="1344312"/>
                    <a:pt x="1644576" y="1344311"/>
                    <a:pt x="1644577" y="1344311"/>
                  </a:cubicBezTo>
                  <a:cubicBezTo>
                    <a:pt x="1644608" y="1344320"/>
                    <a:pt x="1644633" y="1344334"/>
                    <a:pt x="1644663" y="1344349"/>
                  </a:cubicBezTo>
                  <a:cubicBezTo>
                    <a:pt x="1724502" y="1357436"/>
                    <a:pt x="1771351" y="1441560"/>
                    <a:pt x="1771650" y="1524000"/>
                  </a:cubicBezTo>
                  <a:cubicBezTo>
                    <a:pt x="1778193" y="1575816"/>
                    <a:pt x="1749922" y="1623655"/>
                    <a:pt x="1715824" y="1658684"/>
                  </a:cubicBezTo>
                  <a:cubicBezTo>
                    <a:pt x="1652852" y="1774017"/>
                    <a:pt x="1435582" y="1980285"/>
                    <a:pt x="1228049" y="2146554"/>
                  </a:cubicBezTo>
                  <a:cubicBezTo>
                    <a:pt x="1198923" y="2179550"/>
                    <a:pt x="1192029" y="2236911"/>
                    <a:pt x="1228058" y="2281257"/>
                  </a:cubicBezTo>
                  <a:cubicBezTo>
                    <a:pt x="1266356" y="2317095"/>
                    <a:pt x="1330310" y="2318283"/>
                    <a:pt x="1362761" y="2281247"/>
                  </a:cubicBezTo>
                  <a:cubicBezTo>
                    <a:pt x="1567273" y="2148678"/>
                    <a:pt x="1807065" y="1878422"/>
                    <a:pt x="1850536" y="1793377"/>
                  </a:cubicBezTo>
                  <a:cubicBezTo>
                    <a:pt x="1909884" y="1730344"/>
                    <a:pt x="1948270" y="1611373"/>
                    <a:pt x="1962150" y="1524000"/>
                  </a:cubicBezTo>
                  <a:cubicBezTo>
                    <a:pt x="1964887" y="1409637"/>
                    <a:pt x="1895913" y="1282123"/>
                    <a:pt x="1771650" y="1194064"/>
                  </a:cubicBezTo>
                  <a:cubicBezTo>
                    <a:pt x="1783909" y="1032549"/>
                    <a:pt x="1706557" y="546557"/>
                    <a:pt x="1771650" y="381000"/>
                  </a:cubicBezTo>
                  <a:cubicBezTo>
                    <a:pt x="1783537" y="269502"/>
                    <a:pt x="1842452" y="194574"/>
                    <a:pt x="1962150" y="190500"/>
                  </a:cubicBezTo>
                  <a:cubicBezTo>
                    <a:pt x="2078388" y="194601"/>
                    <a:pt x="2154166" y="277607"/>
                    <a:pt x="2152650" y="381000"/>
                  </a:cubicBezTo>
                  <a:cubicBezTo>
                    <a:pt x="2191493" y="682870"/>
                    <a:pt x="2086444" y="1054926"/>
                    <a:pt x="2152650" y="1674876"/>
                  </a:cubicBezTo>
                  <a:cubicBezTo>
                    <a:pt x="2154263" y="1830366"/>
                    <a:pt x="2097100" y="2033299"/>
                    <a:pt x="2025463" y="2175205"/>
                  </a:cubicBezTo>
                  <a:cubicBezTo>
                    <a:pt x="2005542" y="2213037"/>
                    <a:pt x="2018245" y="2274661"/>
                    <a:pt x="2063649" y="2304383"/>
                  </a:cubicBezTo>
                  <a:cubicBezTo>
                    <a:pt x="2111798" y="2338937"/>
                    <a:pt x="2168510" y="2303007"/>
                    <a:pt x="2192826" y="2266198"/>
                  </a:cubicBezTo>
                  <a:cubicBezTo>
                    <a:pt x="2282601" y="2116625"/>
                    <a:pt x="2355638" y="1844797"/>
                    <a:pt x="2343150" y="1674876"/>
                  </a:cubicBezTo>
                  <a:cubicBezTo>
                    <a:pt x="2432706" y="1154127"/>
                    <a:pt x="2252769" y="824853"/>
                    <a:pt x="2343150" y="381000"/>
                  </a:cubicBezTo>
                  <a:cubicBezTo>
                    <a:pt x="2346097" y="140640"/>
                    <a:pt x="2188559" y="2628"/>
                    <a:pt x="1962150" y="0"/>
                  </a:cubicBezTo>
                  <a:close/>
                </a:path>
                <a:path w="2343150" h="3619500" stroke="0" extrusionOk="0">
                  <a:moveTo>
                    <a:pt x="1962150" y="0"/>
                  </a:moveTo>
                  <a:cubicBezTo>
                    <a:pt x="1720863" y="15948"/>
                    <a:pt x="1597876" y="203060"/>
                    <a:pt x="1581150" y="381000"/>
                  </a:cubicBezTo>
                  <a:cubicBezTo>
                    <a:pt x="1540170" y="605646"/>
                    <a:pt x="1518419" y="1020743"/>
                    <a:pt x="1581150" y="1143000"/>
                  </a:cubicBezTo>
                  <a:cubicBezTo>
                    <a:pt x="1481712" y="1148740"/>
                    <a:pt x="1384270" y="1180264"/>
                    <a:pt x="1311773" y="1254623"/>
                  </a:cubicBezTo>
                  <a:cubicBezTo>
                    <a:pt x="1251839" y="1350645"/>
                    <a:pt x="1071227" y="1467064"/>
                    <a:pt x="1051008" y="1515390"/>
                  </a:cubicBezTo>
                  <a:cubicBezTo>
                    <a:pt x="914728" y="1651612"/>
                    <a:pt x="648190" y="1686176"/>
                    <a:pt x="508549" y="1717910"/>
                  </a:cubicBezTo>
                  <a:cubicBezTo>
                    <a:pt x="213793" y="1756467"/>
                    <a:pt x="2635" y="2016457"/>
                    <a:pt x="0" y="2312480"/>
                  </a:cubicBezTo>
                  <a:cubicBezTo>
                    <a:pt x="98286" y="2901961"/>
                    <a:pt x="72097" y="3009939"/>
                    <a:pt x="0" y="3524250"/>
                  </a:cubicBezTo>
                  <a:cubicBezTo>
                    <a:pt x="-4132" y="3576525"/>
                    <a:pt x="42125" y="3624739"/>
                    <a:pt x="95250" y="3619500"/>
                  </a:cubicBezTo>
                  <a:cubicBezTo>
                    <a:pt x="252557" y="3553946"/>
                    <a:pt x="632380" y="3699286"/>
                    <a:pt x="1104900" y="3619500"/>
                  </a:cubicBezTo>
                  <a:cubicBezTo>
                    <a:pt x="1151575" y="3618393"/>
                    <a:pt x="1197752" y="3581247"/>
                    <a:pt x="1200150" y="3524250"/>
                  </a:cubicBezTo>
                  <a:cubicBezTo>
                    <a:pt x="1180145" y="3275602"/>
                    <a:pt x="1218597" y="3135445"/>
                    <a:pt x="1200150" y="3011624"/>
                  </a:cubicBezTo>
                  <a:cubicBezTo>
                    <a:pt x="1302190" y="2953939"/>
                    <a:pt x="1438079" y="2864815"/>
                    <a:pt x="1511903" y="2855776"/>
                  </a:cubicBezTo>
                  <a:cubicBezTo>
                    <a:pt x="1561259" y="2827051"/>
                    <a:pt x="1579061" y="2772871"/>
                    <a:pt x="1554509" y="2727979"/>
                  </a:cubicBezTo>
                  <a:cubicBezTo>
                    <a:pt x="1537907" y="2679395"/>
                    <a:pt x="1480696" y="2667686"/>
                    <a:pt x="1426721" y="2685374"/>
                  </a:cubicBezTo>
                  <a:cubicBezTo>
                    <a:pt x="1296916" y="2744412"/>
                    <a:pt x="1113199" y="2854338"/>
                    <a:pt x="1062304" y="2867539"/>
                  </a:cubicBezTo>
                  <a:cubicBezTo>
                    <a:pt x="1032854" y="2887234"/>
                    <a:pt x="1007801" y="2923090"/>
                    <a:pt x="1009650" y="2952750"/>
                  </a:cubicBezTo>
                  <a:cubicBezTo>
                    <a:pt x="1047011" y="3097042"/>
                    <a:pt x="1018552" y="3310351"/>
                    <a:pt x="1009650" y="3429000"/>
                  </a:cubicBezTo>
                  <a:cubicBezTo>
                    <a:pt x="804568" y="3491744"/>
                    <a:pt x="375074" y="3426634"/>
                    <a:pt x="190500" y="3429000"/>
                  </a:cubicBezTo>
                  <a:cubicBezTo>
                    <a:pt x="280339" y="3058903"/>
                    <a:pt x="281645" y="2831302"/>
                    <a:pt x="190500" y="2312480"/>
                  </a:cubicBezTo>
                  <a:cubicBezTo>
                    <a:pt x="190409" y="2113537"/>
                    <a:pt x="344746" y="1897729"/>
                    <a:pt x="528914" y="1907305"/>
                  </a:cubicBezTo>
                  <a:cubicBezTo>
                    <a:pt x="529326" y="1907272"/>
                    <a:pt x="529644" y="1907231"/>
                    <a:pt x="529990" y="1907181"/>
                  </a:cubicBezTo>
                  <a:cubicBezTo>
                    <a:pt x="723795" y="1866447"/>
                    <a:pt x="1036459" y="1814908"/>
                    <a:pt x="1185681" y="1650121"/>
                  </a:cubicBezTo>
                  <a:cubicBezTo>
                    <a:pt x="1274793" y="1578892"/>
                    <a:pt x="1347143" y="1446110"/>
                    <a:pt x="1446476" y="1389326"/>
                  </a:cubicBezTo>
                  <a:cubicBezTo>
                    <a:pt x="1497979" y="1333237"/>
                    <a:pt x="1583192" y="1325862"/>
                    <a:pt x="1644567" y="1344311"/>
                  </a:cubicBezTo>
                  <a:cubicBezTo>
                    <a:pt x="1644569" y="1344312"/>
                    <a:pt x="1644572" y="1344310"/>
                    <a:pt x="1644577" y="1344311"/>
                  </a:cubicBezTo>
                  <a:cubicBezTo>
                    <a:pt x="1644607" y="1344317"/>
                    <a:pt x="1644633" y="1344341"/>
                    <a:pt x="1644663" y="1344349"/>
                  </a:cubicBezTo>
                  <a:cubicBezTo>
                    <a:pt x="1734473" y="1374083"/>
                    <a:pt x="1779319" y="1446798"/>
                    <a:pt x="1771650" y="1524000"/>
                  </a:cubicBezTo>
                  <a:cubicBezTo>
                    <a:pt x="1776691" y="1581453"/>
                    <a:pt x="1751052" y="1629384"/>
                    <a:pt x="1715824" y="1658684"/>
                  </a:cubicBezTo>
                  <a:cubicBezTo>
                    <a:pt x="1683641" y="1762809"/>
                    <a:pt x="1358868" y="1994012"/>
                    <a:pt x="1228049" y="2146554"/>
                  </a:cubicBezTo>
                  <a:cubicBezTo>
                    <a:pt x="1190197" y="2186254"/>
                    <a:pt x="1190079" y="2243511"/>
                    <a:pt x="1228058" y="2281257"/>
                  </a:cubicBezTo>
                  <a:cubicBezTo>
                    <a:pt x="1263138" y="2316860"/>
                    <a:pt x="1321051" y="2327535"/>
                    <a:pt x="1362761" y="2281247"/>
                  </a:cubicBezTo>
                  <a:cubicBezTo>
                    <a:pt x="1505395" y="2194751"/>
                    <a:pt x="1764798" y="1962401"/>
                    <a:pt x="1850536" y="1793377"/>
                  </a:cubicBezTo>
                  <a:cubicBezTo>
                    <a:pt x="1925048" y="1723666"/>
                    <a:pt x="1963309" y="1633253"/>
                    <a:pt x="1962150" y="1524000"/>
                  </a:cubicBezTo>
                  <a:cubicBezTo>
                    <a:pt x="1942900" y="1386972"/>
                    <a:pt x="1888421" y="1252851"/>
                    <a:pt x="1771650" y="1194064"/>
                  </a:cubicBezTo>
                  <a:cubicBezTo>
                    <a:pt x="1831116" y="1108827"/>
                    <a:pt x="1730995" y="726595"/>
                    <a:pt x="1771650" y="381000"/>
                  </a:cubicBezTo>
                  <a:cubicBezTo>
                    <a:pt x="1774598" y="273635"/>
                    <a:pt x="1857745" y="192039"/>
                    <a:pt x="1962150" y="190500"/>
                  </a:cubicBezTo>
                  <a:cubicBezTo>
                    <a:pt x="2081581" y="203073"/>
                    <a:pt x="2145892" y="275287"/>
                    <a:pt x="2152650" y="381000"/>
                  </a:cubicBezTo>
                  <a:cubicBezTo>
                    <a:pt x="2239734" y="599892"/>
                    <a:pt x="2147056" y="1451503"/>
                    <a:pt x="2152650" y="1674876"/>
                  </a:cubicBezTo>
                  <a:cubicBezTo>
                    <a:pt x="2155777" y="1834223"/>
                    <a:pt x="2116087" y="2014010"/>
                    <a:pt x="2025463" y="2175205"/>
                  </a:cubicBezTo>
                  <a:cubicBezTo>
                    <a:pt x="1995907" y="2217280"/>
                    <a:pt x="2024297" y="2284306"/>
                    <a:pt x="2063649" y="2304383"/>
                  </a:cubicBezTo>
                  <a:cubicBezTo>
                    <a:pt x="2109546" y="2322715"/>
                    <a:pt x="2168097" y="2316208"/>
                    <a:pt x="2192826" y="2266198"/>
                  </a:cubicBezTo>
                  <a:cubicBezTo>
                    <a:pt x="2291747" y="2089061"/>
                    <a:pt x="2309656" y="1900184"/>
                    <a:pt x="2343150" y="1674876"/>
                  </a:cubicBezTo>
                  <a:cubicBezTo>
                    <a:pt x="2253927" y="1315362"/>
                    <a:pt x="2255746" y="598972"/>
                    <a:pt x="2343150" y="381000"/>
                  </a:cubicBezTo>
                  <a:cubicBezTo>
                    <a:pt x="2345081" y="168159"/>
                    <a:pt x="2185118" y="21293"/>
                    <a:pt x="196215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4104162320">
                    <a:custGeom>
                      <a:avLst/>
                      <a:gdLst>
                        <a:gd name="connsiteX0" fmla="*/ 1962150 w 2343150"/>
                        <a:gd name="connsiteY0" fmla="*/ 0 h 3619500"/>
                        <a:gd name="connsiteX1" fmla="*/ 1581150 w 2343150"/>
                        <a:gd name="connsiteY1" fmla="*/ 381000 h 3619500"/>
                        <a:gd name="connsiteX2" fmla="*/ 1581150 w 2343150"/>
                        <a:gd name="connsiteY2" fmla="*/ 1143000 h 3619500"/>
                        <a:gd name="connsiteX3" fmla="*/ 1311773 w 2343150"/>
                        <a:gd name="connsiteY3" fmla="*/ 1254623 h 3619500"/>
                        <a:gd name="connsiteX4" fmla="*/ 1051008 w 2343150"/>
                        <a:gd name="connsiteY4" fmla="*/ 1515390 h 3619500"/>
                        <a:gd name="connsiteX5" fmla="*/ 508549 w 2343150"/>
                        <a:gd name="connsiteY5" fmla="*/ 1717910 h 3619500"/>
                        <a:gd name="connsiteX6" fmla="*/ 0 w 2343150"/>
                        <a:gd name="connsiteY6" fmla="*/ 2312480 h 3619500"/>
                        <a:gd name="connsiteX7" fmla="*/ 0 w 2343150"/>
                        <a:gd name="connsiteY7" fmla="*/ 3524250 h 3619500"/>
                        <a:gd name="connsiteX8" fmla="*/ 95250 w 2343150"/>
                        <a:gd name="connsiteY8" fmla="*/ 3619500 h 3619500"/>
                        <a:gd name="connsiteX9" fmla="*/ 1104900 w 2343150"/>
                        <a:gd name="connsiteY9" fmla="*/ 3619500 h 3619500"/>
                        <a:gd name="connsiteX10" fmla="*/ 1200150 w 2343150"/>
                        <a:gd name="connsiteY10" fmla="*/ 3524250 h 3619500"/>
                        <a:gd name="connsiteX11" fmla="*/ 1200150 w 2343150"/>
                        <a:gd name="connsiteY11" fmla="*/ 3011624 h 3619500"/>
                        <a:gd name="connsiteX12" fmla="*/ 1511903 w 2343150"/>
                        <a:gd name="connsiteY12" fmla="*/ 2855776 h 3619500"/>
                        <a:gd name="connsiteX13" fmla="*/ 1554509 w 2343150"/>
                        <a:gd name="connsiteY13" fmla="*/ 2727979 h 3619500"/>
                        <a:gd name="connsiteX14" fmla="*/ 1426721 w 2343150"/>
                        <a:gd name="connsiteY14" fmla="*/ 2685374 h 3619500"/>
                        <a:gd name="connsiteX15" fmla="*/ 1062304 w 2343150"/>
                        <a:gd name="connsiteY15" fmla="*/ 2867539 h 3619500"/>
                        <a:gd name="connsiteX16" fmla="*/ 1009650 w 2343150"/>
                        <a:gd name="connsiteY16" fmla="*/ 2952750 h 3619500"/>
                        <a:gd name="connsiteX17" fmla="*/ 1009650 w 2343150"/>
                        <a:gd name="connsiteY17" fmla="*/ 3429000 h 3619500"/>
                        <a:gd name="connsiteX18" fmla="*/ 190500 w 2343150"/>
                        <a:gd name="connsiteY18" fmla="*/ 3429000 h 3619500"/>
                        <a:gd name="connsiteX19" fmla="*/ 190500 w 2343150"/>
                        <a:gd name="connsiteY19" fmla="*/ 2312480 h 3619500"/>
                        <a:gd name="connsiteX20" fmla="*/ 528914 w 2343150"/>
                        <a:gd name="connsiteY20" fmla="*/ 1907305 h 3619500"/>
                        <a:gd name="connsiteX21" fmla="*/ 529990 w 2343150"/>
                        <a:gd name="connsiteY21" fmla="*/ 1907181 h 3619500"/>
                        <a:gd name="connsiteX22" fmla="*/ 1185681 w 2343150"/>
                        <a:gd name="connsiteY22" fmla="*/ 1650121 h 3619500"/>
                        <a:gd name="connsiteX23" fmla="*/ 1446476 w 2343150"/>
                        <a:gd name="connsiteY23" fmla="*/ 1389326 h 3619500"/>
                        <a:gd name="connsiteX24" fmla="*/ 1644567 w 2343150"/>
                        <a:gd name="connsiteY24" fmla="*/ 1344311 h 3619500"/>
                        <a:gd name="connsiteX25" fmla="*/ 1644577 w 2343150"/>
                        <a:gd name="connsiteY25" fmla="*/ 1344311 h 3619500"/>
                        <a:gd name="connsiteX26" fmla="*/ 1644663 w 2343150"/>
                        <a:gd name="connsiteY26" fmla="*/ 1344349 h 3619500"/>
                        <a:gd name="connsiteX27" fmla="*/ 1771650 w 2343150"/>
                        <a:gd name="connsiteY27" fmla="*/ 1524000 h 3619500"/>
                        <a:gd name="connsiteX28" fmla="*/ 1715824 w 2343150"/>
                        <a:gd name="connsiteY28" fmla="*/ 1658684 h 3619500"/>
                        <a:gd name="connsiteX29" fmla="*/ 1228049 w 2343150"/>
                        <a:gd name="connsiteY29" fmla="*/ 2146554 h 3619500"/>
                        <a:gd name="connsiteX30" fmla="*/ 1228058 w 2343150"/>
                        <a:gd name="connsiteY30" fmla="*/ 2281257 h 3619500"/>
                        <a:gd name="connsiteX31" fmla="*/ 1362761 w 2343150"/>
                        <a:gd name="connsiteY31" fmla="*/ 2281247 h 3619500"/>
                        <a:gd name="connsiteX32" fmla="*/ 1850536 w 2343150"/>
                        <a:gd name="connsiteY32" fmla="*/ 1793377 h 3619500"/>
                        <a:gd name="connsiteX33" fmla="*/ 1962150 w 2343150"/>
                        <a:gd name="connsiteY33" fmla="*/ 1524000 h 3619500"/>
                        <a:gd name="connsiteX34" fmla="*/ 1771650 w 2343150"/>
                        <a:gd name="connsiteY34" fmla="*/ 1194064 h 3619500"/>
                        <a:gd name="connsiteX35" fmla="*/ 1771650 w 2343150"/>
                        <a:gd name="connsiteY35" fmla="*/ 381000 h 3619500"/>
                        <a:gd name="connsiteX36" fmla="*/ 1962150 w 2343150"/>
                        <a:gd name="connsiteY36" fmla="*/ 190500 h 3619500"/>
                        <a:gd name="connsiteX37" fmla="*/ 2152650 w 2343150"/>
                        <a:gd name="connsiteY37" fmla="*/ 381000 h 3619500"/>
                        <a:gd name="connsiteX38" fmla="*/ 2152650 w 2343150"/>
                        <a:gd name="connsiteY38" fmla="*/ 1674876 h 3619500"/>
                        <a:gd name="connsiteX39" fmla="*/ 2025463 w 2343150"/>
                        <a:gd name="connsiteY39" fmla="*/ 2175205 h 3619500"/>
                        <a:gd name="connsiteX40" fmla="*/ 2063649 w 2343150"/>
                        <a:gd name="connsiteY40" fmla="*/ 2304383 h 3619500"/>
                        <a:gd name="connsiteX41" fmla="*/ 2192826 w 2343150"/>
                        <a:gd name="connsiteY41" fmla="*/ 2266198 h 3619500"/>
                        <a:gd name="connsiteX42" fmla="*/ 2343150 w 2343150"/>
                        <a:gd name="connsiteY42" fmla="*/ 1674876 h 3619500"/>
                        <a:gd name="connsiteX43" fmla="*/ 2343150 w 2343150"/>
                        <a:gd name="connsiteY43" fmla="*/ 381000 h 3619500"/>
                        <a:gd name="connsiteX44" fmla="*/ 1962150 w 2343150"/>
                        <a:gd name="connsiteY44" fmla="*/ 0 h 361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</a:cxnLst>
                      <a:rect l="l" t="t" r="r" b="b"/>
                      <a:pathLst>
                        <a:path w="2343150" h="3619500">
                          <a:moveTo>
                            <a:pt x="1962150" y="0"/>
                          </a:moveTo>
                          <a:cubicBezTo>
                            <a:pt x="1752067" y="0"/>
                            <a:pt x="1581150" y="170917"/>
                            <a:pt x="1581150" y="381000"/>
                          </a:cubicBezTo>
                          <a:lnTo>
                            <a:pt x="1581150" y="1143000"/>
                          </a:lnTo>
                          <a:cubicBezTo>
                            <a:pt x="1479414" y="1143000"/>
                            <a:pt x="1383744" y="1182643"/>
                            <a:pt x="1311773" y="1254623"/>
                          </a:cubicBezTo>
                          <a:lnTo>
                            <a:pt x="1051008" y="1515390"/>
                          </a:lnTo>
                          <a:cubicBezTo>
                            <a:pt x="898988" y="1667304"/>
                            <a:pt x="652405" y="1692631"/>
                            <a:pt x="508549" y="1717910"/>
                          </a:cubicBezTo>
                          <a:cubicBezTo>
                            <a:pt x="223380" y="1748581"/>
                            <a:pt x="0" y="2009747"/>
                            <a:pt x="0" y="2312480"/>
                          </a:cubicBezTo>
                          <a:lnTo>
                            <a:pt x="0" y="3524250"/>
                          </a:lnTo>
                          <a:cubicBezTo>
                            <a:pt x="0" y="3576857"/>
                            <a:pt x="42653" y="3619500"/>
                            <a:pt x="95250" y="3619500"/>
                          </a:cubicBezTo>
                          <a:lnTo>
                            <a:pt x="1104900" y="3619500"/>
                          </a:lnTo>
                          <a:cubicBezTo>
                            <a:pt x="1157497" y="3619500"/>
                            <a:pt x="1200150" y="3576857"/>
                            <a:pt x="1200150" y="3524250"/>
                          </a:cubicBezTo>
                          <a:lnTo>
                            <a:pt x="1200150" y="3011624"/>
                          </a:lnTo>
                          <a:lnTo>
                            <a:pt x="1511903" y="2855776"/>
                          </a:lnTo>
                          <a:cubicBezTo>
                            <a:pt x="1558947" y="2832249"/>
                            <a:pt x="1578026" y="2775042"/>
                            <a:pt x="1554509" y="2727979"/>
                          </a:cubicBezTo>
                          <a:cubicBezTo>
                            <a:pt x="1530991" y="2680935"/>
                            <a:pt x="1473794" y="2661857"/>
                            <a:pt x="1426721" y="2685374"/>
                          </a:cubicBezTo>
                          <a:lnTo>
                            <a:pt x="1062304" y="2867539"/>
                          </a:lnTo>
                          <a:cubicBezTo>
                            <a:pt x="1030043" y="2883684"/>
                            <a:pt x="1009650" y="2916669"/>
                            <a:pt x="1009650" y="2952750"/>
                          </a:cubicBezTo>
                          <a:lnTo>
                            <a:pt x="1009650" y="3429000"/>
                          </a:lnTo>
                          <a:lnTo>
                            <a:pt x="190500" y="3429000"/>
                          </a:lnTo>
                          <a:lnTo>
                            <a:pt x="190500" y="2312480"/>
                          </a:lnTo>
                          <a:cubicBezTo>
                            <a:pt x="190500" y="2105692"/>
                            <a:pt x="339147" y="1927717"/>
                            <a:pt x="528914" y="1907305"/>
                          </a:cubicBezTo>
                          <a:cubicBezTo>
                            <a:pt x="529276" y="1907267"/>
                            <a:pt x="529638" y="1907229"/>
                            <a:pt x="529990" y="1907181"/>
                          </a:cubicBezTo>
                          <a:cubicBezTo>
                            <a:pt x="752504" y="1877130"/>
                            <a:pt x="1008202" y="1827476"/>
                            <a:pt x="1185681" y="1650121"/>
                          </a:cubicBezTo>
                          <a:lnTo>
                            <a:pt x="1446476" y="1389326"/>
                          </a:lnTo>
                          <a:cubicBezTo>
                            <a:pt x="1500997" y="1334805"/>
                            <a:pt x="1578997" y="1321070"/>
                            <a:pt x="1644567" y="1344311"/>
                          </a:cubicBezTo>
                          <a:lnTo>
                            <a:pt x="1644577" y="1344311"/>
                          </a:lnTo>
                          <a:cubicBezTo>
                            <a:pt x="1644605" y="1344320"/>
                            <a:pt x="1644634" y="1344340"/>
                            <a:pt x="1644663" y="1344349"/>
                          </a:cubicBezTo>
                          <a:cubicBezTo>
                            <a:pt x="1720625" y="1371181"/>
                            <a:pt x="1771650" y="1443381"/>
                            <a:pt x="1771650" y="1524000"/>
                          </a:cubicBezTo>
                          <a:cubicBezTo>
                            <a:pt x="1771650" y="1574845"/>
                            <a:pt x="1751819" y="1622670"/>
                            <a:pt x="1715824" y="1658684"/>
                          </a:cubicBezTo>
                          <a:lnTo>
                            <a:pt x="1228049" y="2146554"/>
                          </a:lnTo>
                          <a:cubicBezTo>
                            <a:pt x="1190854" y="2183759"/>
                            <a:pt x="1190863" y="2244061"/>
                            <a:pt x="1228058" y="2281257"/>
                          </a:cubicBezTo>
                          <a:cubicBezTo>
                            <a:pt x="1265244" y="2318442"/>
                            <a:pt x="1325566" y="2318452"/>
                            <a:pt x="1362761" y="2281247"/>
                          </a:cubicBezTo>
                          <a:lnTo>
                            <a:pt x="1850536" y="1793377"/>
                          </a:lnTo>
                          <a:cubicBezTo>
                            <a:pt x="1922507" y="1721387"/>
                            <a:pt x="1962150" y="1625727"/>
                            <a:pt x="1962150" y="1524000"/>
                          </a:cubicBezTo>
                          <a:cubicBezTo>
                            <a:pt x="1962150" y="1386469"/>
                            <a:pt x="1887817" y="1261234"/>
                            <a:pt x="1771650" y="1194064"/>
                          </a:cubicBezTo>
                          <a:lnTo>
                            <a:pt x="1771650" y="381000"/>
                          </a:lnTo>
                          <a:cubicBezTo>
                            <a:pt x="1771650" y="275958"/>
                            <a:pt x="1857108" y="190500"/>
                            <a:pt x="1962150" y="190500"/>
                          </a:cubicBezTo>
                          <a:cubicBezTo>
                            <a:pt x="2067192" y="190500"/>
                            <a:pt x="2152650" y="275958"/>
                            <a:pt x="2152650" y="381000"/>
                          </a:cubicBezTo>
                          <a:lnTo>
                            <a:pt x="2152650" y="1674876"/>
                          </a:lnTo>
                          <a:cubicBezTo>
                            <a:pt x="2152650" y="1849145"/>
                            <a:pt x="2108673" y="2022157"/>
                            <a:pt x="2025463" y="2175205"/>
                          </a:cubicBezTo>
                          <a:cubicBezTo>
                            <a:pt x="2000326" y="2221421"/>
                            <a:pt x="2017424" y="2279256"/>
                            <a:pt x="2063649" y="2304383"/>
                          </a:cubicBezTo>
                          <a:cubicBezTo>
                            <a:pt x="2109854" y="2329501"/>
                            <a:pt x="2167699" y="2312413"/>
                            <a:pt x="2192826" y="2266198"/>
                          </a:cubicBezTo>
                          <a:cubicBezTo>
                            <a:pt x="2291172" y="2085318"/>
                            <a:pt x="2343150" y="1880835"/>
                            <a:pt x="2343150" y="1674876"/>
                          </a:cubicBezTo>
                          <a:lnTo>
                            <a:pt x="2343150" y="381000"/>
                          </a:lnTo>
                          <a:cubicBezTo>
                            <a:pt x="2343150" y="170917"/>
                            <a:pt x="2172234" y="0"/>
                            <a:pt x="1962150" y="0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</p:grpSp>
      <p:sp>
        <p:nvSpPr>
          <p:cNvPr id="2" name="Título 1">
            <a:extLst>
              <a:ext uri="{FF2B5EF4-FFF2-40B4-BE49-F238E27FC236}">
                <a16:creationId xmlns:a16="http://schemas.microsoft.com/office/drawing/2014/main" id="{65703742-E86C-438F-802F-C13103022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2400" b="1">
                <a:latin typeface="+mn-lt"/>
              </a:rPr>
              <a:t>SEARCH</a:t>
            </a:r>
            <a:r>
              <a:rPr lang="es-MX" sz="2400">
                <a:latin typeface="+mn-lt"/>
              </a:rPr>
              <a:t>| Brand </a:t>
            </a:r>
            <a:r>
              <a:rPr lang="es-MX" sz="2400" err="1">
                <a:latin typeface="+mn-lt"/>
              </a:rPr>
              <a:t>Onion</a:t>
            </a:r>
            <a:r>
              <a:rPr lang="es-MX" sz="2400">
                <a:latin typeface="+mn-lt"/>
              </a:rPr>
              <a:t> &amp; </a:t>
            </a:r>
            <a:r>
              <a:rPr lang="es-MX" sz="2400" err="1">
                <a:latin typeface="+mn-lt"/>
              </a:rPr>
              <a:t>Priorities</a:t>
            </a:r>
            <a:endParaRPr lang="es-MX" sz="2400" b="1">
              <a:latin typeface="+mn-lt"/>
            </a:endParaRPr>
          </a:p>
        </p:txBody>
      </p:sp>
      <p:sp>
        <p:nvSpPr>
          <p:cNvPr id="138" name="Slide Number Placeholder 4">
            <a:extLst>
              <a:ext uri="{FF2B5EF4-FFF2-40B4-BE49-F238E27FC236}">
                <a16:creationId xmlns:a16="http://schemas.microsoft.com/office/drawing/2014/main" id="{158D5173-4733-2AA4-31CB-EFB388DD47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1D7550-0EB0-3A43-B3ED-278106F7B6C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C33B3AD-A97E-19BF-0F28-0FF44947261D}"/>
              </a:ext>
            </a:extLst>
          </p:cNvPr>
          <p:cNvSpPr txBox="1"/>
          <p:nvPr/>
        </p:nvSpPr>
        <p:spPr>
          <a:xfrm>
            <a:off x="1378226" y="2350051"/>
            <a:ext cx="1075635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pt-BR" sz="1200" b="1">
                <a:solidFill>
                  <a:srgbClr val="FFFFFF"/>
                </a:solidFill>
                <a:cs typeface="Segoe UI"/>
              </a:rPr>
              <a:t>Protect</a:t>
            </a:r>
            <a:r>
              <a:rPr lang="en-US" sz="1200">
                <a:solidFill>
                  <a:srgbClr val="FFFFFF"/>
                </a:solidFill>
                <a:cs typeface="Segoe UI"/>
              </a:rPr>
              <a:t>​</a:t>
            </a:r>
          </a:p>
          <a:p>
            <a:r>
              <a:rPr lang="en-US" sz="1200" b="1">
                <a:solidFill>
                  <a:srgbClr val="FFFFFF"/>
                </a:solidFill>
                <a:cs typeface="Segoe UI"/>
              </a:rPr>
              <a:t>the bran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9DAD302-53B0-985D-69E8-4684C0752F00}"/>
              </a:ext>
            </a:extLst>
          </p:cNvPr>
          <p:cNvSpPr txBox="1"/>
          <p:nvPr/>
        </p:nvSpPr>
        <p:spPr>
          <a:xfrm>
            <a:off x="1378226" y="3708399"/>
            <a:ext cx="1075635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pt-BR" sz="1200" b="1" err="1">
                <a:solidFill>
                  <a:srgbClr val="FFFFFF"/>
                </a:solidFill>
                <a:cs typeface="Segoe UI"/>
              </a:rPr>
              <a:t>Become</a:t>
            </a:r>
            <a:r>
              <a:rPr lang="pt-BR" sz="1200" b="1">
                <a:solidFill>
                  <a:srgbClr val="FFFFFF"/>
                </a:solidFill>
                <a:cs typeface="Segoe UI"/>
              </a:rPr>
              <a:t> </a:t>
            </a:r>
            <a:r>
              <a:rPr lang="pt-BR" sz="1200" b="1" err="1">
                <a:solidFill>
                  <a:srgbClr val="FFFFFF"/>
                </a:solidFill>
                <a:cs typeface="Segoe UI"/>
              </a:rPr>
              <a:t>the</a:t>
            </a:r>
            <a:r>
              <a:rPr lang="pt-BR" sz="1200" b="1">
                <a:solidFill>
                  <a:srgbClr val="FFFFFF"/>
                </a:solidFill>
                <a:cs typeface="Segoe UI"/>
              </a:rPr>
              <a:t> </a:t>
            </a:r>
            <a:r>
              <a:rPr lang="pt-BR" sz="1200" b="1" err="1">
                <a:solidFill>
                  <a:srgbClr val="FFFFFF"/>
                </a:solidFill>
                <a:cs typeface="Segoe UI"/>
              </a:rPr>
              <a:t>leader</a:t>
            </a:r>
            <a:endParaRPr lang="en-US" sz="160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91B794-96D5-2A0A-4B5A-7C19F69449D3}"/>
              </a:ext>
            </a:extLst>
          </p:cNvPr>
          <p:cNvSpPr txBox="1"/>
          <p:nvPr/>
        </p:nvSpPr>
        <p:spPr>
          <a:xfrm>
            <a:off x="1378226" y="5077791"/>
            <a:ext cx="116398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pt-BR" sz="1200" b="1" err="1">
                <a:solidFill>
                  <a:srgbClr val="FFFFFF"/>
                </a:solidFill>
                <a:cs typeface="Segoe UI"/>
              </a:rPr>
              <a:t>Reach</a:t>
            </a:r>
            <a:r>
              <a:rPr lang="pt-BR" sz="1200" b="1">
                <a:solidFill>
                  <a:srgbClr val="FFFFFF"/>
                </a:solidFill>
                <a:cs typeface="Segoe UI"/>
              </a:rPr>
              <a:t> &amp; </a:t>
            </a:r>
            <a:r>
              <a:rPr lang="pt-BR" sz="1200" b="1" err="1">
                <a:solidFill>
                  <a:srgbClr val="FFFFFF"/>
                </a:solidFill>
                <a:cs typeface="Segoe UI"/>
              </a:rPr>
              <a:t>Awareness</a:t>
            </a:r>
            <a:endParaRPr lang="en-US" sz="1600"/>
          </a:p>
        </p:txBody>
      </p:sp>
      <p:sp>
        <p:nvSpPr>
          <p:cNvPr id="8" name="CaixaDeTexto 5">
            <a:extLst>
              <a:ext uri="{FF2B5EF4-FFF2-40B4-BE49-F238E27FC236}">
                <a16:creationId xmlns:a16="http://schemas.microsoft.com/office/drawing/2014/main" id="{01FBFB7C-11E1-5CA3-4C73-A90FC9A05C5B}"/>
              </a:ext>
            </a:extLst>
          </p:cNvPr>
          <p:cNvSpPr txBox="1"/>
          <p:nvPr/>
        </p:nvSpPr>
        <p:spPr>
          <a:xfrm>
            <a:off x="7912561" y="2292273"/>
            <a:ext cx="1486348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509453"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Pure Brand</a:t>
            </a:r>
            <a:endParaRPr lang="en-US"/>
          </a:p>
          <a:p>
            <a:pPr defTabSz="509453"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Product </a:t>
            </a:r>
            <a:endParaRPr lang="en-US"/>
          </a:p>
          <a:p>
            <a:pPr defTabSz="509453"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eCommerce </a:t>
            </a:r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2CE9F52-724D-4363-8B1F-234E2D6EC95F}"/>
              </a:ext>
            </a:extLst>
          </p:cNvPr>
          <p:cNvSpPr/>
          <p:nvPr/>
        </p:nvSpPr>
        <p:spPr>
          <a:xfrm>
            <a:off x="12706940" y="333383"/>
            <a:ext cx="1753703" cy="59413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US" sz="1600" b="1">
                <a:solidFill>
                  <a:schemeClr val="tx1"/>
                </a:solidFill>
              </a:rPr>
              <a:t>Global Strategy</a:t>
            </a: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509A4FDF-9D69-2385-E092-AF891A44ACEC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15" name="Round Same-side Corner of Rectangle 28">
              <a:extLst>
                <a:ext uri="{FF2B5EF4-FFF2-40B4-BE49-F238E27FC236}">
                  <a16:creationId xmlns:a16="http://schemas.microsoft.com/office/drawing/2014/main" id="{0D12A253-563C-D849-3143-E289E9250C73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16" name="Group 33">
              <a:extLst>
                <a:ext uri="{FF2B5EF4-FFF2-40B4-BE49-F238E27FC236}">
                  <a16:creationId xmlns:a16="http://schemas.microsoft.com/office/drawing/2014/main" id="{91E5CF9B-4CB1-6114-AC3E-85C29ED6D5C5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18" name="Oval 44">
                <a:extLst>
                  <a:ext uri="{FF2B5EF4-FFF2-40B4-BE49-F238E27FC236}">
                    <a16:creationId xmlns:a16="http://schemas.microsoft.com/office/drawing/2014/main" id="{7BF70E68-D8E5-D51C-F297-33F4A8C6FB0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19" name="TextBox 45">
                <a:extLst>
                  <a:ext uri="{FF2B5EF4-FFF2-40B4-BE49-F238E27FC236}">
                    <a16:creationId xmlns:a16="http://schemas.microsoft.com/office/drawing/2014/main" id="{B156F8FB-9D20-79FD-316D-732B8ACA1487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17" name="Google Shape;1194;p40">
              <a:extLst>
                <a:ext uri="{FF2B5EF4-FFF2-40B4-BE49-F238E27FC236}">
                  <a16:creationId xmlns:a16="http://schemas.microsoft.com/office/drawing/2014/main" id="{EE2CC77F-522F-308D-5CFF-F31D089370E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12533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CaixaDeTexto 5">
            <a:extLst>
              <a:ext uri="{FF2B5EF4-FFF2-40B4-BE49-F238E27FC236}">
                <a16:creationId xmlns:a16="http://schemas.microsoft.com/office/drawing/2014/main" id="{64480215-D01A-4EF6-9045-7F63B00EF7A6}"/>
              </a:ext>
            </a:extLst>
          </p:cNvPr>
          <p:cNvSpPr txBox="1"/>
          <p:nvPr/>
        </p:nvSpPr>
        <p:spPr>
          <a:xfrm>
            <a:off x="531032" y="1384117"/>
            <a:ext cx="1383493" cy="4062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509453">
              <a:lnSpc>
                <a:spcPct val="85000"/>
              </a:lnSpc>
              <a:defRPr/>
            </a:pPr>
            <a:r>
              <a:rPr lang="en-US" sz="1200" b="1">
                <a:solidFill>
                  <a:srgbClr val="1B3548"/>
                </a:solidFill>
                <a:ea typeface="Verdana"/>
                <a:cs typeface="Arial"/>
              </a:rPr>
              <a:t>BRAND </a:t>
            </a:r>
            <a:endParaRPr lang="en-US" sz="1200" b="1">
              <a:solidFill>
                <a:srgbClr val="1B3548"/>
              </a:solidFill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defTabSz="509453">
              <a:lnSpc>
                <a:spcPct val="85000"/>
              </a:lnSpc>
              <a:defRPr/>
            </a:pPr>
            <a:r>
              <a:rPr lang="en-US" sz="1200" b="1">
                <a:solidFill>
                  <a:srgbClr val="1B3548"/>
                </a:solidFill>
                <a:ea typeface="Verdana"/>
                <a:cs typeface="Arial"/>
              </a:rPr>
              <a:t>ONION</a:t>
            </a:r>
            <a:endParaRPr lang="en-US" sz="1200" b="1" i="0" u="none" strike="noStrike" kern="1200" cap="none" spc="0" normalizeH="0" baseline="0" noProof="0">
              <a:ln>
                <a:noFill/>
              </a:ln>
              <a:solidFill>
                <a:srgbClr val="1B3548"/>
              </a:solidFill>
              <a:effectLst/>
              <a:uLnTx/>
              <a:uFillTx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8FC53605-DA6E-47BD-B2EE-167D6BD57732}"/>
              </a:ext>
            </a:extLst>
          </p:cNvPr>
          <p:cNvSpPr/>
          <p:nvPr/>
        </p:nvSpPr>
        <p:spPr>
          <a:xfrm>
            <a:off x="645237" y="1788152"/>
            <a:ext cx="427406" cy="56837"/>
          </a:xfrm>
          <a:custGeom>
            <a:avLst/>
            <a:gdLst>
              <a:gd name="connsiteX0" fmla="*/ 399038 w 427462"/>
              <a:gd name="connsiteY0" fmla="*/ 56844 h 56844"/>
              <a:gd name="connsiteX1" fmla="*/ 28422 w 427462"/>
              <a:gd name="connsiteY1" fmla="*/ 56844 h 56844"/>
              <a:gd name="connsiteX2" fmla="*/ 0 w 427462"/>
              <a:gd name="connsiteY2" fmla="*/ 28422 h 56844"/>
              <a:gd name="connsiteX3" fmla="*/ 28422 w 427462"/>
              <a:gd name="connsiteY3" fmla="*/ 0 h 56844"/>
              <a:gd name="connsiteX4" fmla="*/ 399038 w 427462"/>
              <a:gd name="connsiteY4" fmla="*/ 0 h 56844"/>
              <a:gd name="connsiteX5" fmla="*/ 427460 w 427462"/>
              <a:gd name="connsiteY5" fmla="*/ 28422 h 56844"/>
              <a:gd name="connsiteX6" fmla="*/ 399038 w 427462"/>
              <a:gd name="connsiteY6" fmla="*/ 56844 h 56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7462" h="56844">
                <a:moveTo>
                  <a:pt x="399038" y="56844"/>
                </a:moveTo>
                <a:lnTo>
                  <a:pt x="28422" y="56844"/>
                </a:lnTo>
                <a:cubicBezTo>
                  <a:pt x="12611" y="56844"/>
                  <a:pt x="0" y="44045"/>
                  <a:pt x="0" y="28422"/>
                </a:cubicBezTo>
                <a:cubicBezTo>
                  <a:pt x="0" y="12611"/>
                  <a:pt x="12799" y="0"/>
                  <a:pt x="28422" y="0"/>
                </a:cubicBezTo>
                <a:lnTo>
                  <a:pt x="399038" y="0"/>
                </a:lnTo>
                <a:cubicBezTo>
                  <a:pt x="414849" y="0"/>
                  <a:pt x="427460" y="12799"/>
                  <a:pt x="427460" y="28422"/>
                </a:cubicBezTo>
                <a:cubicBezTo>
                  <a:pt x="427648" y="44045"/>
                  <a:pt x="414849" y="56844"/>
                  <a:pt x="399038" y="56844"/>
                </a:cubicBezTo>
                <a:close/>
              </a:path>
            </a:pathLst>
          </a:custGeom>
          <a:solidFill>
            <a:schemeClr val="accent2"/>
          </a:solidFill>
          <a:ln w="188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B3548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77" name="CaixaDeTexto 5">
            <a:extLst>
              <a:ext uri="{FF2B5EF4-FFF2-40B4-BE49-F238E27FC236}">
                <a16:creationId xmlns:a16="http://schemas.microsoft.com/office/drawing/2014/main" id="{4EDCC203-75C6-4D35-B6FF-A27C1F0F1EC1}"/>
              </a:ext>
            </a:extLst>
          </p:cNvPr>
          <p:cNvSpPr txBox="1"/>
          <p:nvPr/>
        </p:nvSpPr>
        <p:spPr>
          <a:xfrm>
            <a:off x="2618620" y="1384117"/>
            <a:ext cx="1554060" cy="4062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509453">
              <a:lnSpc>
                <a:spcPct val="85000"/>
              </a:lnSpc>
              <a:defRPr/>
            </a:pPr>
            <a:r>
              <a:rPr lang="en-US" sz="1200" b="1">
                <a:solidFill>
                  <a:srgbClr val="1B3548"/>
                </a:solidFill>
                <a:ea typeface="Verdana"/>
                <a:cs typeface="Arial"/>
              </a:rPr>
              <a:t>IS BRAND BENCHMARK</a:t>
            </a:r>
            <a:endParaRPr lang="en-US" sz="1200" b="1" i="0" u="none" strike="noStrike" kern="1200" cap="none" spc="0" normalizeH="0" baseline="0" noProof="0">
              <a:ln>
                <a:noFill/>
              </a:ln>
              <a:solidFill>
                <a:srgbClr val="1B3548"/>
              </a:solidFill>
              <a:effectLst/>
              <a:uLnTx/>
              <a:uFillTx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1B4036CE-1501-4CEC-A10F-1FAAC0EF658B}"/>
              </a:ext>
            </a:extLst>
          </p:cNvPr>
          <p:cNvSpPr/>
          <p:nvPr/>
        </p:nvSpPr>
        <p:spPr>
          <a:xfrm>
            <a:off x="2700168" y="1788152"/>
            <a:ext cx="427406" cy="56837"/>
          </a:xfrm>
          <a:custGeom>
            <a:avLst/>
            <a:gdLst>
              <a:gd name="connsiteX0" fmla="*/ 399038 w 427462"/>
              <a:gd name="connsiteY0" fmla="*/ 56844 h 56844"/>
              <a:gd name="connsiteX1" fmla="*/ 28422 w 427462"/>
              <a:gd name="connsiteY1" fmla="*/ 56844 h 56844"/>
              <a:gd name="connsiteX2" fmla="*/ 0 w 427462"/>
              <a:gd name="connsiteY2" fmla="*/ 28422 h 56844"/>
              <a:gd name="connsiteX3" fmla="*/ 28422 w 427462"/>
              <a:gd name="connsiteY3" fmla="*/ 0 h 56844"/>
              <a:gd name="connsiteX4" fmla="*/ 399038 w 427462"/>
              <a:gd name="connsiteY4" fmla="*/ 0 h 56844"/>
              <a:gd name="connsiteX5" fmla="*/ 427460 w 427462"/>
              <a:gd name="connsiteY5" fmla="*/ 28422 h 56844"/>
              <a:gd name="connsiteX6" fmla="*/ 399038 w 427462"/>
              <a:gd name="connsiteY6" fmla="*/ 56844 h 56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7462" h="56844">
                <a:moveTo>
                  <a:pt x="399038" y="56844"/>
                </a:moveTo>
                <a:lnTo>
                  <a:pt x="28422" y="56844"/>
                </a:lnTo>
                <a:cubicBezTo>
                  <a:pt x="12611" y="56844"/>
                  <a:pt x="0" y="44045"/>
                  <a:pt x="0" y="28422"/>
                </a:cubicBezTo>
                <a:cubicBezTo>
                  <a:pt x="0" y="12611"/>
                  <a:pt x="12799" y="0"/>
                  <a:pt x="28422" y="0"/>
                </a:cubicBezTo>
                <a:lnTo>
                  <a:pt x="399038" y="0"/>
                </a:lnTo>
                <a:cubicBezTo>
                  <a:pt x="414849" y="0"/>
                  <a:pt x="427460" y="12799"/>
                  <a:pt x="427460" y="28422"/>
                </a:cubicBezTo>
                <a:cubicBezTo>
                  <a:pt x="427648" y="44045"/>
                  <a:pt x="414849" y="56844"/>
                  <a:pt x="399038" y="56844"/>
                </a:cubicBezTo>
                <a:close/>
              </a:path>
            </a:pathLst>
          </a:custGeom>
          <a:solidFill>
            <a:schemeClr val="accent2"/>
          </a:solidFill>
          <a:ln w="188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B3548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79" name="CaixaDeTexto 5">
            <a:extLst>
              <a:ext uri="{FF2B5EF4-FFF2-40B4-BE49-F238E27FC236}">
                <a16:creationId xmlns:a16="http://schemas.microsoft.com/office/drawing/2014/main" id="{A155990E-A260-40CD-AF3E-3F8F8C923E2B}"/>
              </a:ext>
            </a:extLst>
          </p:cNvPr>
          <p:cNvSpPr txBox="1"/>
          <p:nvPr/>
        </p:nvSpPr>
        <p:spPr>
          <a:xfrm>
            <a:off x="8902201" y="1373231"/>
            <a:ext cx="1554060" cy="4062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509453">
              <a:lnSpc>
                <a:spcPct val="85000"/>
              </a:lnSpc>
              <a:defRPr/>
            </a:pPr>
            <a:r>
              <a:rPr lang="en-US" sz="1200" b="1">
                <a:solidFill>
                  <a:srgbClr val="1B3548"/>
                </a:solidFill>
                <a:ea typeface="Verdana"/>
                <a:cs typeface="Arial"/>
              </a:rPr>
              <a:t>SEM </a:t>
            </a:r>
            <a:endParaRPr lang="en-US" sz="1200" b="1">
              <a:solidFill>
                <a:srgbClr val="1B3548"/>
              </a:solidFill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defTabSz="509453">
              <a:lnSpc>
                <a:spcPct val="85000"/>
              </a:lnSpc>
              <a:defRPr/>
            </a:pPr>
            <a:r>
              <a:rPr lang="en-US" sz="1200" b="1">
                <a:solidFill>
                  <a:srgbClr val="1B3548"/>
                </a:solidFill>
                <a:ea typeface="Verdana"/>
                <a:cs typeface="Arial"/>
              </a:rPr>
              <a:t>SUFFICIENCY</a:t>
            </a:r>
            <a:endParaRPr lang="en-US" sz="1200" b="1" i="0" u="none" strike="noStrike" kern="1200" cap="none" spc="0" normalizeH="0" baseline="0" noProof="0">
              <a:ln>
                <a:noFill/>
              </a:ln>
              <a:solidFill>
                <a:srgbClr val="1B3548"/>
              </a:solidFill>
              <a:effectLst/>
              <a:uLnTx/>
              <a:uFillTx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7945EE35-D5F1-470E-AF6E-62AF5B6447AE}"/>
              </a:ext>
            </a:extLst>
          </p:cNvPr>
          <p:cNvSpPr/>
          <p:nvPr/>
        </p:nvSpPr>
        <p:spPr>
          <a:xfrm>
            <a:off x="4433520" y="1788152"/>
            <a:ext cx="427406" cy="56837"/>
          </a:xfrm>
          <a:custGeom>
            <a:avLst/>
            <a:gdLst>
              <a:gd name="connsiteX0" fmla="*/ 399038 w 427462"/>
              <a:gd name="connsiteY0" fmla="*/ 56844 h 56844"/>
              <a:gd name="connsiteX1" fmla="*/ 28422 w 427462"/>
              <a:gd name="connsiteY1" fmla="*/ 56844 h 56844"/>
              <a:gd name="connsiteX2" fmla="*/ 0 w 427462"/>
              <a:gd name="connsiteY2" fmla="*/ 28422 h 56844"/>
              <a:gd name="connsiteX3" fmla="*/ 28422 w 427462"/>
              <a:gd name="connsiteY3" fmla="*/ 0 h 56844"/>
              <a:gd name="connsiteX4" fmla="*/ 399038 w 427462"/>
              <a:gd name="connsiteY4" fmla="*/ 0 h 56844"/>
              <a:gd name="connsiteX5" fmla="*/ 427460 w 427462"/>
              <a:gd name="connsiteY5" fmla="*/ 28422 h 56844"/>
              <a:gd name="connsiteX6" fmla="*/ 399038 w 427462"/>
              <a:gd name="connsiteY6" fmla="*/ 56844 h 56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7462" h="56844">
                <a:moveTo>
                  <a:pt x="399038" y="56844"/>
                </a:moveTo>
                <a:lnTo>
                  <a:pt x="28422" y="56844"/>
                </a:lnTo>
                <a:cubicBezTo>
                  <a:pt x="12611" y="56844"/>
                  <a:pt x="0" y="44045"/>
                  <a:pt x="0" y="28422"/>
                </a:cubicBezTo>
                <a:cubicBezTo>
                  <a:pt x="0" y="12611"/>
                  <a:pt x="12799" y="0"/>
                  <a:pt x="28422" y="0"/>
                </a:cubicBezTo>
                <a:lnTo>
                  <a:pt x="399038" y="0"/>
                </a:lnTo>
                <a:cubicBezTo>
                  <a:pt x="414849" y="0"/>
                  <a:pt x="427460" y="12799"/>
                  <a:pt x="427460" y="28422"/>
                </a:cubicBezTo>
                <a:cubicBezTo>
                  <a:pt x="427648" y="44045"/>
                  <a:pt x="414849" y="56844"/>
                  <a:pt x="399038" y="56844"/>
                </a:cubicBezTo>
                <a:close/>
              </a:path>
            </a:pathLst>
          </a:custGeom>
          <a:solidFill>
            <a:schemeClr val="accent2"/>
          </a:solidFill>
          <a:ln w="188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B3548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81" name="CaixaDeTexto 5">
            <a:extLst>
              <a:ext uri="{FF2B5EF4-FFF2-40B4-BE49-F238E27FC236}">
                <a16:creationId xmlns:a16="http://schemas.microsoft.com/office/drawing/2014/main" id="{CEFBBE46-26EB-45EE-9F8A-5FDFDAD70351}"/>
              </a:ext>
            </a:extLst>
          </p:cNvPr>
          <p:cNvSpPr txBox="1"/>
          <p:nvPr/>
        </p:nvSpPr>
        <p:spPr>
          <a:xfrm>
            <a:off x="4363251" y="1373231"/>
            <a:ext cx="1722758" cy="4062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509453">
              <a:lnSpc>
                <a:spcPct val="85000"/>
              </a:lnSpc>
              <a:defRPr/>
            </a:pPr>
            <a:r>
              <a:rPr lang="en-US" sz="1200" b="1">
                <a:solidFill>
                  <a:srgbClr val="1B3548"/>
                </a:solidFill>
                <a:ea typeface="Verdana"/>
                <a:cs typeface="Arial"/>
              </a:rPr>
              <a:t>BEST </a:t>
            </a:r>
            <a:endParaRPr lang="en-US">
              <a:solidFill>
                <a:srgbClr val="0A0F0D"/>
              </a:solidFill>
              <a:ea typeface="Verdana"/>
              <a:cs typeface="Arial"/>
            </a:endParaRPr>
          </a:p>
          <a:p>
            <a:pPr defTabSz="509453">
              <a:lnSpc>
                <a:spcPct val="85000"/>
              </a:lnSpc>
              <a:defRPr/>
            </a:pPr>
            <a:r>
              <a:rPr lang="en-US" sz="1200" b="1">
                <a:solidFill>
                  <a:srgbClr val="1B3548"/>
                </a:solidFill>
                <a:ea typeface="Verdana"/>
                <a:cs typeface="Arial"/>
              </a:rPr>
              <a:t>PERFORMANCE KWS</a:t>
            </a:r>
            <a:endParaRPr lang="en-US"/>
          </a:p>
        </p:txBody>
      </p:sp>
      <p:sp>
        <p:nvSpPr>
          <p:cNvPr id="82" name="Freeform: Shape 81">
            <a:extLst>
              <a:ext uri="{FF2B5EF4-FFF2-40B4-BE49-F238E27FC236}">
                <a16:creationId xmlns:a16="http://schemas.microsoft.com/office/drawing/2014/main" id="{0330FE38-A914-4C1F-95D3-20A0DD1BFECD}"/>
              </a:ext>
            </a:extLst>
          </p:cNvPr>
          <p:cNvSpPr/>
          <p:nvPr/>
        </p:nvSpPr>
        <p:spPr>
          <a:xfrm>
            <a:off x="6883198" y="1788152"/>
            <a:ext cx="427406" cy="56837"/>
          </a:xfrm>
          <a:custGeom>
            <a:avLst/>
            <a:gdLst>
              <a:gd name="connsiteX0" fmla="*/ 399038 w 427462"/>
              <a:gd name="connsiteY0" fmla="*/ 56844 h 56844"/>
              <a:gd name="connsiteX1" fmla="*/ 28422 w 427462"/>
              <a:gd name="connsiteY1" fmla="*/ 56844 h 56844"/>
              <a:gd name="connsiteX2" fmla="*/ 0 w 427462"/>
              <a:gd name="connsiteY2" fmla="*/ 28422 h 56844"/>
              <a:gd name="connsiteX3" fmla="*/ 28422 w 427462"/>
              <a:gd name="connsiteY3" fmla="*/ 0 h 56844"/>
              <a:gd name="connsiteX4" fmla="*/ 399038 w 427462"/>
              <a:gd name="connsiteY4" fmla="*/ 0 h 56844"/>
              <a:gd name="connsiteX5" fmla="*/ 427460 w 427462"/>
              <a:gd name="connsiteY5" fmla="*/ 28422 h 56844"/>
              <a:gd name="connsiteX6" fmla="*/ 399038 w 427462"/>
              <a:gd name="connsiteY6" fmla="*/ 56844 h 56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7462" h="56844">
                <a:moveTo>
                  <a:pt x="399038" y="56844"/>
                </a:moveTo>
                <a:lnTo>
                  <a:pt x="28422" y="56844"/>
                </a:lnTo>
                <a:cubicBezTo>
                  <a:pt x="12611" y="56844"/>
                  <a:pt x="0" y="44045"/>
                  <a:pt x="0" y="28422"/>
                </a:cubicBezTo>
                <a:cubicBezTo>
                  <a:pt x="0" y="12611"/>
                  <a:pt x="12799" y="0"/>
                  <a:pt x="28422" y="0"/>
                </a:cubicBezTo>
                <a:lnTo>
                  <a:pt x="399038" y="0"/>
                </a:lnTo>
                <a:cubicBezTo>
                  <a:pt x="414849" y="0"/>
                  <a:pt x="427460" y="12799"/>
                  <a:pt x="427460" y="28422"/>
                </a:cubicBezTo>
                <a:cubicBezTo>
                  <a:pt x="427648" y="44045"/>
                  <a:pt x="414849" y="56844"/>
                  <a:pt x="399038" y="56844"/>
                </a:cubicBezTo>
                <a:close/>
              </a:path>
            </a:pathLst>
          </a:custGeom>
          <a:solidFill>
            <a:schemeClr val="accent2"/>
          </a:solidFill>
          <a:ln w="188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B3548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83" name="CaixaDeTexto 5">
            <a:extLst>
              <a:ext uri="{FF2B5EF4-FFF2-40B4-BE49-F238E27FC236}">
                <a16:creationId xmlns:a16="http://schemas.microsoft.com/office/drawing/2014/main" id="{FA20258F-83BD-42DD-B255-4FA5C6CAD42C}"/>
              </a:ext>
            </a:extLst>
          </p:cNvPr>
          <p:cNvSpPr txBox="1"/>
          <p:nvPr/>
        </p:nvSpPr>
        <p:spPr>
          <a:xfrm>
            <a:off x="6786522" y="1373230"/>
            <a:ext cx="2179957" cy="4062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509453">
              <a:lnSpc>
                <a:spcPct val="85000"/>
              </a:lnSpc>
              <a:defRPr/>
            </a:pPr>
            <a:r>
              <a:rPr lang="en-US" sz="1200" b="1">
                <a:solidFill>
                  <a:srgbClr val="1B3548"/>
                </a:solidFill>
                <a:ea typeface="Verdana"/>
                <a:cs typeface="Arial"/>
              </a:rPr>
              <a:t>BRAND/CATEGORY TERRITORIES</a:t>
            </a:r>
            <a:endParaRPr lang="en-US" sz="1200" b="1" i="0" u="none" strike="noStrike" kern="1200" cap="none" spc="0" normalizeH="0" baseline="0" noProof="0">
              <a:ln>
                <a:noFill/>
              </a:ln>
              <a:solidFill>
                <a:srgbClr val="1B3548"/>
              </a:solidFill>
              <a:effectLst/>
              <a:uLnTx/>
              <a:uFillTx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4" name="Freeform: Shape 83">
            <a:extLst>
              <a:ext uri="{FF2B5EF4-FFF2-40B4-BE49-F238E27FC236}">
                <a16:creationId xmlns:a16="http://schemas.microsoft.com/office/drawing/2014/main" id="{918B4C69-CB81-4017-86D4-ACA446065D26}"/>
              </a:ext>
            </a:extLst>
          </p:cNvPr>
          <p:cNvSpPr/>
          <p:nvPr/>
        </p:nvSpPr>
        <p:spPr>
          <a:xfrm>
            <a:off x="8979898" y="1788152"/>
            <a:ext cx="427406" cy="56837"/>
          </a:xfrm>
          <a:custGeom>
            <a:avLst/>
            <a:gdLst>
              <a:gd name="connsiteX0" fmla="*/ 399038 w 427462"/>
              <a:gd name="connsiteY0" fmla="*/ 56844 h 56844"/>
              <a:gd name="connsiteX1" fmla="*/ 28422 w 427462"/>
              <a:gd name="connsiteY1" fmla="*/ 56844 h 56844"/>
              <a:gd name="connsiteX2" fmla="*/ 0 w 427462"/>
              <a:gd name="connsiteY2" fmla="*/ 28422 h 56844"/>
              <a:gd name="connsiteX3" fmla="*/ 28422 w 427462"/>
              <a:gd name="connsiteY3" fmla="*/ 0 h 56844"/>
              <a:gd name="connsiteX4" fmla="*/ 399038 w 427462"/>
              <a:gd name="connsiteY4" fmla="*/ 0 h 56844"/>
              <a:gd name="connsiteX5" fmla="*/ 427460 w 427462"/>
              <a:gd name="connsiteY5" fmla="*/ 28422 h 56844"/>
              <a:gd name="connsiteX6" fmla="*/ 399038 w 427462"/>
              <a:gd name="connsiteY6" fmla="*/ 56844 h 56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7462" h="56844">
                <a:moveTo>
                  <a:pt x="399038" y="56844"/>
                </a:moveTo>
                <a:lnTo>
                  <a:pt x="28422" y="56844"/>
                </a:lnTo>
                <a:cubicBezTo>
                  <a:pt x="12611" y="56844"/>
                  <a:pt x="0" y="44045"/>
                  <a:pt x="0" y="28422"/>
                </a:cubicBezTo>
                <a:cubicBezTo>
                  <a:pt x="0" y="12611"/>
                  <a:pt x="12799" y="0"/>
                  <a:pt x="28422" y="0"/>
                </a:cubicBezTo>
                <a:lnTo>
                  <a:pt x="399038" y="0"/>
                </a:lnTo>
                <a:cubicBezTo>
                  <a:pt x="414849" y="0"/>
                  <a:pt x="427460" y="12799"/>
                  <a:pt x="427460" y="28422"/>
                </a:cubicBezTo>
                <a:cubicBezTo>
                  <a:pt x="427648" y="44045"/>
                  <a:pt x="414849" y="56844"/>
                  <a:pt x="399038" y="56844"/>
                </a:cubicBezTo>
                <a:close/>
              </a:path>
            </a:pathLst>
          </a:custGeom>
          <a:solidFill>
            <a:schemeClr val="accent2"/>
          </a:solidFill>
          <a:ln w="188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B3548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85" name="CaixaDeTexto 5">
            <a:extLst>
              <a:ext uri="{FF2B5EF4-FFF2-40B4-BE49-F238E27FC236}">
                <a16:creationId xmlns:a16="http://schemas.microsoft.com/office/drawing/2014/main" id="{C32DF497-1234-4799-994A-035CE26EA775}"/>
              </a:ext>
            </a:extLst>
          </p:cNvPr>
          <p:cNvSpPr txBox="1"/>
          <p:nvPr/>
        </p:nvSpPr>
        <p:spPr>
          <a:xfrm>
            <a:off x="2727477" y="2478381"/>
            <a:ext cx="1330173" cy="2492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509453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None/>
              <a:tabLst/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XX%</a:t>
            </a:r>
          </a:p>
        </p:txBody>
      </p:sp>
      <p:sp>
        <p:nvSpPr>
          <p:cNvPr id="86" name="CaixaDeTexto 5">
            <a:extLst>
              <a:ext uri="{FF2B5EF4-FFF2-40B4-BE49-F238E27FC236}">
                <a16:creationId xmlns:a16="http://schemas.microsoft.com/office/drawing/2014/main" id="{C2DE1812-135D-4446-9340-0515FACCF751}"/>
              </a:ext>
            </a:extLst>
          </p:cNvPr>
          <p:cNvSpPr txBox="1"/>
          <p:nvPr/>
        </p:nvSpPr>
        <p:spPr>
          <a:xfrm>
            <a:off x="2618620" y="3902918"/>
            <a:ext cx="1554060" cy="2492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509453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None/>
              <a:tabLst/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XX%</a:t>
            </a:r>
            <a:endParaRPr lang="en-US"/>
          </a:p>
        </p:txBody>
      </p:sp>
      <p:sp>
        <p:nvSpPr>
          <p:cNvPr id="87" name="CaixaDeTexto 5">
            <a:extLst>
              <a:ext uri="{FF2B5EF4-FFF2-40B4-BE49-F238E27FC236}">
                <a16:creationId xmlns:a16="http://schemas.microsoft.com/office/drawing/2014/main" id="{7F391584-4BB2-4CC6-875B-0811F50338D1}"/>
              </a:ext>
            </a:extLst>
          </p:cNvPr>
          <p:cNvSpPr txBox="1"/>
          <p:nvPr/>
        </p:nvSpPr>
        <p:spPr>
          <a:xfrm>
            <a:off x="2618620" y="5097838"/>
            <a:ext cx="1554060" cy="2492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509453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XX%</a:t>
            </a:r>
            <a:endParaRPr lang="en-US" sz="1200" b="0" i="0" u="none" strike="noStrike" kern="1200" cap="none" spc="0" normalizeH="0" baseline="0" noProof="0">
              <a:ln>
                <a:noFill/>
              </a:ln>
              <a:solidFill>
                <a:srgbClr val="1B3548"/>
              </a:solidFill>
              <a:effectLst/>
              <a:uLnTx/>
              <a:uFillTx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2" name="CaixaDeTexto 5">
            <a:extLst>
              <a:ext uri="{FF2B5EF4-FFF2-40B4-BE49-F238E27FC236}">
                <a16:creationId xmlns:a16="http://schemas.microsoft.com/office/drawing/2014/main" id="{22DF7320-54A9-42CD-9AE1-24973D997239}"/>
              </a:ext>
            </a:extLst>
          </p:cNvPr>
          <p:cNvSpPr txBox="1"/>
          <p:nvPr/>
        </p:nvSpPr>
        <p:spPr>
          <a:xfrm>
            <a:off x="4690548" y="3614493"/>
            <a:ext cx="1486348" cy="71711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509453">
              <a:lnSpc>
                <a:spcPct val="85000"/>
              </a:lnSpc>
              <a:spcBef>
                <a:spcPts val="600"/>
              </a:spcBef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XXX</a:t>
            </a:r>
          </a:p>
          <a:p>
            <a:pPr defTabSz="509453">
              <a:lnSpc>
                <a:spcPct val="85000"/>
              </a:lnSpc>
              <a:spcBef>
                <a:spcPts val="600"/>
              </a:spcBef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XXX</a:t>
            </a:r>
          </a:p>
          <a:p>
            <a:pPr defTabSz="509453">
              <a:lnSpc>
                <a:spcPct val="85000"/>
              </a:lnSpc>
              <a:spcBef>
                <a:spcPts val="600"/>
              </a:spcBef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XXX</a:t>
            </a:r>
          </a:p>
        </p:txBody>
      </p:sp>
      <p:sp>
        <p:nvSpPr>
          <p:cNvPr id="93" name="CaixaDeTexto 5">
            <a:extLst>
              <a:ext uri="{FF2B5EF4-FFF2-40B4-BE49-F238E27FC236}">
                <a16:creationId xmlns:a16="http://schemas.microsoft.com/office/drawing/2014/main" id="{36996608-3F40-453B-AA10-32834E323930}"/>
              </a:ext>
            </a:extLst>
          </p:cNvPr>
          <p:cNvSpPr txBox="1"/>
          <p:nvPr/>
        </p:nvSpPr>
        <p:spPr>
          <a:xfrm>
            <a:off x="4689823" y="4991769"/>
            <a:ext cx="1554060" cy="71711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509453">
              <a:lnSpc>
                <a:spcPct val="85000"/>
              </a:lnSpc>
              <a:spcBef>
                <a:spcPts val="600"/>
              </a:spcBef>
              <a:defRPr/>
            </a:pPr>
            <a:r>
              <a:rPr lang="en-US" sz="1200">
                <a:solidFill>
                  <a:srgbClr val="1B3548"/>
                </a:solidFill>
                <a:latin typeface="Century Gothic"/>
                <a:ea typeface="Verdana"/>
                <a:cs typeface="Arial"/>
              </a:rPr>
              <a:t>XXX</a:t>
            </a:r>
          </a:p>
          <a:p>
            <a:pPr defTabSz="509453">
              <a:lnSpc>
                <a:spcPct val="85000"/>
              </a:lnSpc>
              <a:spcBef>
                <a:spcPts val="600"/>
              </a:spcBef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XXX</a:t>
            </a:r>
          </a:p>
          <a:p>
            <a:pPr defTabSz="509453">
              <a:lnSpc>
                <a:spcPct val="85000"/>
              </a:lnSpc>
              <a:spcBef>
                <a:spcPts val="600"/>
              </a:spcBef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XXX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64692312-2264-4698-926C-3A13BF42D2AF}"/>
              </a:ext>
            </a:extLst>
          </p:cNvPr>
          <p:cNvCxnSpPr>
            <a:cxnSpLocks/>
          </p:cNvCxnSpPr>
          <p:nvPr/>
        </p:nvCxnSpPr>
        <p:spPr bwMode="gray">
          <a:xfrm>
            <a:off x="4298799" y="2115931"/>
            <a:ext cx="11044" cy="3642925"/>
          </a:xfrm>
          <a:prstGeom prst="line">
            <a:avLst/>
          </a:prstGeom>
          <a:ln w="6350">
            <a:solidFill>
              <a:srgbClr val="E0DFE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tangle 134">
            <a:extLst>
              <a:ext uri="{FF2B5EF4-FFF2-40B4-BE49-F238E27FC236}">
                <a16:creationId xmlns:a16="http://schemas.microsoft.com/office/drawing/2014/main" id="{090D8974-CB41-4EB3-ACCD-D076BEAE7106}"/>
              </a:ext>
            </a:extLst>
          </p:cNvPr>
          <p:cNvSpPr/>
          <p:nvPr/>
        </p:nvSpPr>
        <p:spPr>
          <a:xfrm>
            <a:off x="664865" y="1989952"/>
            <a:ext cx="1871234" cy="12346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/>
            </a:endParaRPr>
          </a:p>
        </p:txBody>
      </p:sp>
      <p:grpSp>
        <p:nvGrpSpPr>
          <p:cNvPr id="139" name="Graphic 49">
            <a:extLst>
              <a:ext uri="{FF2B5EF4-FFF2-40B4-BE49-F238E27FC236}">
                <a16:creationId xmlns:a16="http://schemas.microsoft.com/office/drawing/2014/main" id="{22927D10-A081-4A7D-900B-786AD71353C0}"/>
              </a:ext>
            </a:extLst>
          </p:cNvPr>
          <p:cNvGrpSpPr/>
          <p:nvPr/>
        </p:nvGrpSpPr>
        <p:grpSpPr>
          <a:xfrm>
            <a:off x="804505" y="2375747"/>
            <a:ext cx="463031" cy="463031"/>
            <a:chOff x="3656806" y="990600"/>
            <a:chExt cx="4876800" cy="4876800"/>
          </a:xfrm>
          <a:solidFill>
            <a:schemeClr val="bg1"/>
          </a:solidFill>
        </p:grpSpPr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EF7E979C-F5C1-4CA6-BB84-8239BDBFA6C9}"/>
                </a:ext>
              </a:extLst>
            </p:cNvPr>
            <p:cNvSpPr/>
            <p:nvPr/>
          </p:nvSpPr>
          <p:spPr>
            <a:xfrm>
              <a:off x="6000051" y="1371695"/>
              <a:ext cx="190309" cy="190295"/>
            </a:xfrm>
            <a:custGeom>
              <a:avLst/>
              <a:gdLst>
                <a:gd name="connsiteX0" fmla="*/ 95155 w 190309"/>
                <a:gd name="connsiteY0" fmla="*/ 0 h 190295"/>
                <a:gd name="connsiteX1" fmla="*/ 0 w 190309"/>
                <a:gd name="connsiteY1" fmla="*/ 95155 h 190295"/>
                <a:gd name="connsiteX2" fmla="*/ 85630 w 190309"/>
                <a:gd name="connsiteY2" fmla="*/ 189814 h 190295"/>
                <a:gd name="connsiteX3" fmla="*/ 190309 w 190309"/>
                <a:gd name="connsiteY3" fmla="*/ 95155 h 190295"/>
                <a:gd name="connsiteX4" fmla="*/ 95155 w 190309"/>
                <a:gd name="connsiteY4" fmla="*/ 0 h 190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309" h="190295" fill="none" extrusionOk="0">
                  <a:moveTo>
                    <a:pt x="95155" y="0"/>
                  </a:moveTo>
                  <a:cubicBezTo>
                    <a:pt x="45838" y="-4823"/>
                    <a:pt x="6787" y="35527"/>
                    <a:pt x="0" y="95155"/>
                  </a:cubicBezTo>
                  <a:cubicBezTo>
                    <a:pt x="538" y="144981"/>
                    <a:pt x="38919" y="193534"/>
                    <a:pt x="85630" y="189814"/>
                  </a:cubicBezTo>
                  <a:cubicBezTo>
                    <a:pt x="136565" y="201472"/>
                    <a:pt x="190471" y="143191"/>
                    <a:pt x="190309" y="95155"/>
                  </a:cubicBezTo>
                  <a:cubicBezTo>
                    <a:pt x="187891" y="40167"/>
                    <a:pt x="156703" y="-424"/>
                    <a:pt x="95155" y="0"/>
                  </a:cubicBezTo>
                  <a:close/>
                </a:path>
                <a:path w="190309" h="190295" stroke="0" extrusionOk="0">
                  <a:moveTo>
                    <a:pt x="95155" y="0"/>
                  </a:moveTo>
                  <a:cubicBezTo>
                    <a:pt x="50627" y="5361"/>
                    <a:pt x="163" y="41868"/>
                    <a:pt x="0" y="95155"/>
                  </a:cubicBezTo>
                  <a:cubicBezTo>
                    <a:pt x="3280" y="146001"/>
                    <a:pt x="34105" y="188285"/>
                    <a:pt x="85630" y="189814"/>
                  </a:cubicBezTo>
                  <a:cubicBezTo>
                    <a:pt x="149676" y="189791"/>
                    <a:pt x="190457" y="152327"/>
                    <a:pt x="190309" y="95155"/>
                  </a:cubicBezTo>
                  <a:cubicBezTo>
                    <a:pt x="184344" y="41123"/>
                    <a:pt x="142970" y="8396"/>
                    <a:pt x="95155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3441482169">
                    <a:custGeom>
                      <a:avLst/>
                      <a:gdLst>
                        <a:gd name="connsiteX0" fmla="*/ 95155 w 190309"/>
                        <a:gd name="connsiteY0" fmla="*/ 0 h 190295"/>
                        <a:gd name="connsiteX1" fmla="*/ 0 w 190309"/>
                        <a:gd name="connsiteY1" fmla="*/ 95155 h 190295"/>
                        <a:gd name="connsiteX2" fmla="*/ 85630 w 190309"/>
                        <a:gd name="connsiteY2" fmla="*/ 189814 h 190295"/>
                        <a:gd name="connsiteX3" fmla="*/ 190309 w 190309"/>
                        <a:gd name="connsiteY3" fmla="*/ 95155 h 190295"/>
                        <a:gd name="connsiteX4" fmla="*/ 95155 w 190309"/>
                        <a:gd name="connsiteY4" fmla="*/ 0 h 19029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0309" h="190295">
                          <a:moveTo>
                            <a:pt x="95155" y="0"/>
                          </a:moveTo>
                          <a:cubicBezTo>
                            <a:pt x="42405" y="0"/>
                            <a:pt x="0" y="42482"/>
                            <a:pt x="0" y="95155"/>
                          </a:cubicBezTo>
                          <a:cubicBezTo>
                            <a:pt x="0" y="144180"/>
                            <a:pt x="36881" y="184976"/>
                            <a:pt x="85630" y="189814"/>
                          </a:cubicBezTo>
                          <a:cubicBezTo>
                            <a:pt x="142065" y="195415"/>
                            <a:pt x="190309" y="151457"/>
                            <a:pt x="190309" y="95155"/>
                          </a:cubicBezTo>
                          <a:cubicBezTo>
                            <a:pt x="190309" y="42405"/>
                            <a:pt x="147828" y="0"/>
                            <a:pt x="95155" y="0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E0A61DD6-FE8B-490C-8FDA-FA1CB5B6DA35}"/>
                </a:ext>
              </a:extLst>
            </p:cNvPr>
            <p:cNvSpPr/>
            <p:nvPr/>
          </p:nvSpPr>
          <p:spPr>
            <a:xfrm>
              <a:off x="4094956" y="990600"/>
              <a:ext cx="4000500" cy="4876800"/>
            </a:xfrm>
            <a:custGeom>
              <a:avLst/>
              <a:gdLst>
                <a:gd name="connsiteX0" fmla="*/ 3905250 w 4000500"/>
                <a:gd name="connsiteY0" fmla="*/ 571500 h 4876800"/>
                <a:gd name="connsiteX1" fmla="*/ 3429000 w 4000500"/>
                <a:gd name="connsiteY1" fmla="*/ 95250 h 4876800"/>
                <a:gd name="connsiteX2" fmla="*/ 3333750 w 4000500"/>
                <a:gd name="connsiteY2" fmla="*/ 0 h 4876800"/>
                <a:gd name="connsiteX3" fmla="*/ 666750 w 4000500"/>
                <a:gd name="connsiteY3" fmla="*/ 0 h 4876800"/>
                <a:gd name="connsiteX4" fmla="*/ 571500 w 4000500"/>
                <a:gd name="connsiteY4" fmla="*/ 95250 h 4876800"/>
                <a:gd name="connsiteX5" fmla="*/ 95250 w 4000500"/>
                <a:gd name="connsiteY5" fmla="*/ 571500 h 4876800"/>
                <a:gd name="connsiteX6" fmla="*/ 0 w 4000500"/>
                <a:gd name="connsiteY6" fmla="*/ 666750 h 4876800"/>
                <a:gd name="connsiteX7" fmla="*/ 0 w 4000500"/>
                <a:gd name="connsiteY7" fmla="*/ 2221135 h 4876800"/>
                <a:gd name="connsiteX8" fmla="*/ 1972894 w 4000500"/>
                <a:gd name="connsiteY8" fmla="*/ 4872790 h 4876800"/>
                <a:gd name="connsiteX9" fmla="*/ 2000250 w 4000500"/>
                <a:gd name="connsiteY9" fmla="*/ 4876800 h 4876800"/>
                <a:gd name="connsiteX10" fmla="*/ 2027615 w 4000500"/>
                <a:gd name="connsiteY10" fmla="*/ 4872781 h 4876800"/>
                <a:gd name="connsiteX11" fmla="*/ 4000500 w 4000500"/>
                <a:gd name="connsiteY11" fmla="*/ 2221135 h 4876800"/>
                <a:gd name="connsiteX12" fmla="*/ 4000500 w 4000500"/>
                <a:gd name="connsiteY12" fmla="*/ 666750 h 4876800"/>
                <a:gd name="connsiteX13" fmla="*/ 3905250 w 4000500"/>
                <a:gd name="connsiteY13" fmla="*/ 571500 h 4876800"/>
                <a:gd name="connsiteX14" fmla="*/ 3810000 w 4000500"/>
                <a:gd name="connsiteY14" fmla="*/ 2221135 h 4876800"/>
                <a:gd name="connsiteX15" fmla="*/ 2000250 w 4000500"/>
                <a:gd name="connsiteY15" fmla="*/ 4681947 h 4876800"/>
                <a:gd name="connsiteX16" fmla="*/ 190500 w 4000500"/>
                <a:gd name="connsiteY16" fmla="*/ 2221135 h 4876800"/>
                <a:gd name="connsiteX17" fmla="*/ 190500 w 4000500"/>
                <a:gd name="connsiteY17" fmla="*/ 755218 h 4876800"/>
                <a:gd name="connsiteX18" fmla="*/ 755218 w 4000500"/>
                <a:gd name="connsiteY18" fmla="*/ 190500 h 4876800"/>
                <a:gd name="connsiteX19" fmla="*/ 3245282 w 4000500"/>
                <a:gd name="connsiteY19" fmla="*/ 190500 h 4876800"/>
                <a:gd name="connsiteX20" fmla="*/ 3810000 w 4000500"/>
                <a:gd name="connsiteY20" fmla="*/ 755218 h 4876800"/>
                <a:gd name="connsiteX21" fmla="*/ 3810000 w 4000500"/>
                <a:gd name="connsiteY21" fmla="*/ 2221135 h 487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000500" h="4876800" fill="none" extrusionOk="0">
                  <a:moveTo>
                    <a:pt x="3905250" y="571500"/>
                  </a:moveTo>
                  <a:cubicBezTo>
                    <a:pt x="3633005" y="559687"/>
                    <a:pt x="3386237" y="365030"/>
                    <a:pt x="3429000" y="95250"/>
                  </a:cubicBezTo>
                  <a:cubicBezTo>
                    <a:pt x="3430179" y="36864"/>
                    <a:pt x="3383901" y="4780"/>
                    <a:pt x="3333750" y="0"/>
                  </a:cubicBezTo>
                  <a:cubicBezTo>
                    <a:pt x="2920656" y="-122498"/>
                    <a:pt x="1038120" y="149524"/>
                    <a:pt x="666750" y="0"/>
                  </a:cubicBezTo>
                  <a:cubicBezTo>
                    <a:pt x="623581" y="-3205"/>
                    <a:pt x="569471" y="39234"/>
                    <a:pt x="571500" y="95250"/>
                  </a:cubicBezTo>
                  <a:cubicBezTo>
                    <a:pt x="590358" y="369792"/>
                    <a:pt x="356376" y="552605"/>
                    <a:pt x="95250" y="571500"/>
                  </a:cubicBezTo>
                  <a:cubicBezTo>
                    <a:pt x="42507" y="570623"/>
                    <a:pt x="4995" y="616124"/>
                    <a:pt x="0" y="666750"/>
                  </a:cubicBezTo>
                  <a:cubicBezTo>
                    <a:pt x="-79926" y="1270385"/>
                    <a:pt x="53260" y="1663962"/>
                    <a:pt x="0" y="2221135"/>
                  </a:cubicBezTo>
                  <a:cubicBezTo>
                    <a:pt x="64476" y="3423318"/>
                    <a:pt x="838873" y="4666123"/>
                    <a:pt x="1972894" y="4872790"/>
                  </a:cubicBezTo>
                  <a:cubicBezTo>
                    <a:pt x="1982077" y="4876441"/>
                    <a:pt x="1990140" y="4876680"/>
                    <a:pt x="2000250" y="4876800"/>
                  </a:cubicBezTo>
                  <a:cubicBezTo>
                    <a:pt x="2008862" y="4876039"/>
                    <a:pt x="2018606" y="4876444"/>
                    <a:pt x="2027615" y="4872781"/>
                  </a:cubicBezTo>
                  <a:cubicBezTo>
                    <a:pt x="3002298" y="4621526"/>
                    <a:pt x="4159169" y="3308695"/>
                    <a:pt x="4000500" y="2221135"/>
                  </a:cubicBezTo>
                  <a:cubicBezTo>
                    <a:pt x="3914578" y="1482871"/>
                    <a:pt x="4075617" y="934734"/>
                    <a:pt x="4000500" y="666750"/>
                  </a:cubicBezTo>
                  <a:cubicBezTo>
                    <a:pt x="3998932" y="610263"/>
                    <a:pt x="3948508" y="569217"/>
                    <a:pt x="3905250" y="571500"/>
                  </a:cubicBezTo>
                  <a:close/>
                  <a:moveTo>
                    <a:pt x="3810000" y="2221135"/>
                  </a:moveTo>
                  <a:cubicBezTo>
                    <a:pt x="3613184" y="3369219"/>
                    <a:pt x="2979338" y="4342653"/>
                    <a:pt x="2000250" y="4681947"/>
                  </a:cubicBezTo>
                  <a:cubicBezTo>
                    <a:pt x="1031933" y="4309085"/>
                    <a:pt x="297747" y="3319397"/>
                    <a:pt x="190500" y="2221135"/>
                  </a:cubicBezTo>
                  <a:cubicBezTo>
                    <a:pt x="76814" y="1630929"/>
                    <a:pt x="238131" y="1201450"/>
                    <a:pt x="190500" y="755218"/>
                  </a:cubicBezTo>
                  <a:cubicBezTo>
                    <a:pt x="463011" y="741796"/>
                    <a:pt x="673407" y="501239"/>
                    <a:pt x="755218" y="190500"/>
                  </a:cubicBezTo>
                  <a:cubicBezTo>
                    <a:pt x="1870098" y="213238"/>
                    <a:pt x="2201005" y="199957"/>
                    <a:pt x="3245282" y="190500"/>
                  </a:cubicBezTo>
                  <a:cubicBezTo>
                    <a:pt x="3276783" y="509776"/>
                    <a:pt x="3573928" y="697411"/>
                    <a:pt x="3810000" y="755218"/>
                  </a:cubicBezTo>
                  <a:cubicBezTo>
                    <a:pt x="3792866" y="1077073"/>
                    <a:pt x="3907730" y="1909660"/>
                    <a:pt x="3810000" y="2221135"/>
                  </a:cubicBezTo>
                  <a:close/>
                </a:path>
                <a:path w="4000500" h="4876800" stroke="0" extrusionOk="0">
                  <a:moveTo>
                    <a:pt x="3905250" y="571500"/>
                  </a:moveTo>
                  <a:cubicBezTo>
                    <a:pt x="3645328" y="528663"/>
                    <a:pt x="3420057" y="364857"/>
                    <a:pt x="3429000" y="95250"/>
                  </a:cubicBezTo>
                  <a:cubicBezTo>
                    <a:pt x="3427392" y="42396"/>
                    <a:pt x="3387578" y="-290"/>
                    <a:pt x="3333750" y="0"/>
                  </a:cubicBezTo>
                  <a:cubicBezTo>
                    <a:pt x="2171581" y="-7992"/>
                    <a:pt x="1541185" y="16997"/>
                    <a:pt x="666750" y="0"/>
                  </a:cubicBezTo>
                  <a:cubicBezTo>
                    <a:pt x="620889" y="1847"/>
                    <a:pt x="574911" y="44759"/>
                    <a:pt x="571500" y="95250"/>
                  </a:cubicBezTo>
                  <a:cubicBezTo>
                    <a:pt x="577899" y="359725"/>
                    <a:pt x="334253" y="578097"/>
                    <a:pt x="95250" y="571500"/>
                  </a:cubicBezTo>
                  <a:cubicBezTo>
                    <a:pt x="39764" y="570374"/>
                    <a:pt x="3300" y="613085"/>
                    <a:pt x="0" y="666750"/>
                  </a:cubicBezTo>
                  <a:cubicBezTo>
                    <a:pt x="45588" y="1238659"/>
                    <a:pt x="-74360" y="1803654"/>
                    <a:pt x="0" y="2221135"/>
                  </a:cubicBezTo>
                  <a:cubicBezTo>
                    <a:pt x="103604" y="3397197"/>
                    <a:pt x="761386" y="4508206"/>
                    <a:pt x="1972894" y="4872790"/>
                  </a:cubicBezTo>
                  <a:cubicBezTo>
                    <a:pt x="1980499" y="4874690"/>
                    <a:pt x="1992199" y="4877544"/>
                    <a:pt x="2000250" y="4876800"/>
                  </a:cubicBezTo>
                  <a:cubicBezTo>
                    <a:pt x="2009100" y="4876993"/>
                    <a:pt x="2017036" y="4875632"/>
                    <a:pt x="2027615" y="4872781"/>
                  </a:cubicBezTo>
                  <a:cubicBezTo>
                    <a:pt x="3019481" y="4684982"/>
                    <a:pt x="4045912" y="3555628"/>
                    <a:pt x="4000500" y="2221135"/>
                  </a:cubicBezTo>
                  <a:cubicBezTo>
                    <a:pt x="3940630" y="2064859"/>
                    <a:pt x="3988383" y="1401477"/>
                    <a:pt x="4000500" y="666750"/>
                  </a:cubicBezTo>
                  <a:cubicBezTo>
                    <a:pt x="3999951" y="613195"/>
                    <a:pt x="3956336" y="570387"/>
                    <a:pt x="3905250" y="571500"/>
                  </a:cubicBezTo>
                  <a:close/>
                  <a:moveTo>
                    <a:pt x="3810000" y="2221135"/>
                  </a:moveTo>
                  <a:cubicBezTo>
                    <a:pt x="3709930" y="3545274"/>
                    <a:pt x="3245125" y="4382607"/>
                    <a:pt x="2000250" y="4681947"/>
                  </a:cubicBezTo>
                  <a:cubicBezTo>
                    <a:pt x="914010" y="4292278"/>
                    <a:pt x="288463" y="3269837"/>
                    <a:pt x="190500" y="2221135"/>
                  </a:cubicBezTo>
                  <a:cubicBezTo>
                    <a:pt x="66974" y="1958245"/>
                    <a:pt x="168172" y="919376"/>
                    <a:pt x="190500" y="755218"/>
                  </a:cubicBezTo>
                  <a:cubicBezTo>
                    <a:pt x="479676" y="755883"/>
                    <a:pt x="706918" y="493709"/>
                    <a:pt x="755218" y="190500"/>
                  </a:cubicBezTo>
                  <a:cubicBezTo>
                    <a:pt x="1762133" y="266930"/>
                    <a:pt x="2115926" y="322667"/>
                    <a:pt x="3245282" y="190500"/>
                  </a:cubicBezTo>
                  <a:cubicBezTo>
                    <a:pt x="3281319" y="467333"/>
                    <a:pt x="3531095" y="727054"/>
                    <a:pt x="3810000" y="755218"/>
                  </a:cubicBezTo>
                  <a:cubicBezTo>
                    <a:pt x="3934158" y="986494"/>
                    <a:pt x="3755441" y="1613004"/>
                    <a:pt x="3810000" y="222113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3145140486">
                    <a:custGeom>
                      <a:avLst/>
                      <a:gdLst>
                        <a:gd name="connsiteX0" fmla="*/ 3905250 w 4000500"/>
                        <a:gd name="connsiteY0" fmla="*/ 571500 h 4876800"/>
                        <a:gd name="connsiteX1" fmla="*/ 3429000 w 4000500"/>
                        <a:gd name="connsiteY1" fmla="*/ 95250 h 4876800"/>
                        <a:gd name="connsiteX2" fmla="*/ 3333750 w 4000500"/>
                        <a:gd name="connsiteY2" fmla="*/ 0 h 4876800"/>
                        <a:gd name="connsiteX3" fmla="*/ 666750 w 4000500"/>
                        <a:gd name="connsiteY3" fmla="*/ 0 h 4876800"/>
                        <a:gd name="connsiteX4" fmla="*/ 571500 w 4000500"/>
                        <a:gd name="connsiteY4" fmla="*/ 95250 h 4876800"/>
                        <a:gd name="connsiteX5" fmla="*/ 95250 w 4000500"/>
                        <a:gd name="connsiteY5" fmla="*/ 571500 h 4876800"/>
                        <a:gd name="connsiteX6" fmla="*/ 0 w 4000500"/>
                        <a:gd name="connsiteY6" fmla="*/ 666750 h 4876800"/>
                        <a:gd name="connsiteX7" fmla="*/ 0 w 4000500"/>
                        <a:gd name="connsiteY7" fmla="*/ 2221135 h 4876800"/>
                        <a:gd name="connsiteX8" fmla="*/ 1972894 w 4000500"/>
                        <a:gd name="connsiteY8" fmla="*/ 4872790 h 4876800"/>
                        <a:gd name="connsiteX9" fmla="*/ 2000250 w 4000500"/>
                        <a:gd name="connsiteY9" fmla="*/ 4876800 h 4876800"/>
                        <a:gd name="connsiteX10" fmla="*/ 2027615 w 4000500"/>
                        <a:gd name="connsiteY10" fmla="*/ 4872781 h 4876800"/>
                        <a:gd name="connsiteX11" fmla="*/ 4000500 w 4000500"/>
                        <a:gd name="connsiteY11" fmla="*/ 2221135 h 4876800"/>
                        <a:gd name="connsiteX12" fmla="*/ 4000500 w 4000500"/>
                        <a:gd name="connsiteY12" fmla="*/ 666750 h 4876800"/>
                        <a:gd name="connsiteX13" fmla="*/ 3905250 w 4000500"/>
                        <a:gd name="connsiteY13" fmla="*/ 571500 h 4876800"/>
                        <a:gd name="connsiteX14" fmla="*/ 3810000 w 4000500"/>
                        <a:gd name="connsiteY14" fmla="*/ 2221135 h 4876800"/>
                        <a:gd name="connsiteX15" fmla="*/ 2000250 w 4000500"/>
                        <a:gd name="connsiteY15" fmla="*/ 4681947 h 4876800"/>
                        <a:gd name="connsiteX16" fmla="*/ 190500 w 4000500"/>
                        <a:gd name="connsiteY16" fmla="*/ 2221135 h 4876800"/>
                        <a:gd name="connsiteX17" fmla="*/ 190500 w 4000500"/>
                        <a:gd name="connsiteY17" fmla="*/ 755218 h 4876800"/>
                        <a:gd name="connsiteX18" fmla="*/ 755218 w 4000500"/>
                        <a:gd name="connsiteY18" fmla="*/ 190500 h 4876800"/>
                        <a:gd name="connsiteX19" fmla="*/ 3245282 w 4000500"/>
                        <a:gd name="connsiteY19" fmla="*/ 190500 h 4876800"/>
                        <a:gd name="connsiteX20" fmla="*/ 3810000 w 4000500"/>
                        <a:gd name="connsiteY20" fmla="*/ 755218 h 4876800"/>
                        <a:gd name="connsiteX21" fmla="*/ 3810000 w 4000500"/>
                        <a:gd name="connsiteY21" fmla="*/ 2221135 h 48768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</a:cxnLst>
                      <a:rect l="l" t="t" r="r" b="b"/>
                      <a:pathLst>
                        <a:path w="4000500" h="4876800">
                          <a:moveTo>
                            <a:pt x="3905250" y="571500"/>
                          </a:moveTo>
                          <a:cubicBezTo>
                            <a:pt x="3642646" y="571500"/>
                            <a:pt x="3429000" y="357854"/>
                            <a:pt x="3429000" y="95250"/>
                          </a:cubicBezTo>
                          <a:cubicBezTo>
                            <a:pt x="3429000" y="42653"/>
                            <a:pt x="3386347" y="0"/>
                            <a:pt x="3333750" y="0"/>
                          </a:cubicBezTo>
                          <a:lnTo>
                            <a:pt x="666750" y="0"/>
                          </a:lnTo>
                          <a:cubicBezTo>
                            <a:pt x="614153" y="0"/>
                            <a:pt x="571500" y="42653"/>
                            <a:pt x="571500" y="95250"/>
                          </a:cubicBezTo>
                          <a:cubicBezTo>
                            <a:pt x="571500" y="357854"/>
                            <a:pt x="357854" y="571500"/>
                            <a:pt x="95250" y="571500"/>
                          </a:cubicBezTo>
                          <a:cubicBezTo>
                            <a:pt x="42653" y="571500"/>
                            <a:pt x="0" y="614153"/>
                            <a:pt x="0" y="666750"/>
                          </a:cubicBezTo>
                          <a:lnTo>
                            <a:pt x="0" y="2221135"/>
                          </a:lnTo>
                          <a:cubicBezTo>
                            <a:pt x="0" y="3432496"/>
                            <a:pt x="789575" y="4517946"/>
                            <a:pt x="1972894" y="4872790"/>
                          </a:cubicBezTo>
                          <a:cubicBezTo>
                            <a:pt x="1981819" y="4875457"/>
                            <a:pt x="1991030" y="4876800"/>
                            <a:pt x="2000250" y="4876800"/>
                          </a:cubicBezTo>
                          <a:cubicBezTo>
                            <a:pt x="2009470" y="4876800"/>
                            <a:pt x="2018700" y="4875457"/>
                            <a:pt x="2027615" y="4872781"/>
                          </a:cubicBezTo>
                          <a:cubicBezTo>
                            <a:pt x="3185303" y="4525509"/>
                            <a:pt x="4000500" y="3458994"/>
                            <a:pt x="4000500" y="2221135"/>
                          </a:cubicBezTo>
                          <a:lnTo>
                            <a:pt x="4000500" y="666750"/>
                          </a:lnTo>
                          <a:cubicBezTo>
                            <a:pt x="4000500" y="614153"/>
                            <a:pt x="3957847" y="571500"/>
                            <a:pt x="3905250" y="571500"/>
                          </a:cubicBezTo>
                          <a:close/>
                          <a:moveTo>
                            <a:pt x="3810000" y="2221135"/>
                          </a:moveTo>
                          <a:cubicBezTo>
                            <a:pt x="3810000" y="3358877"/>
                            <a:pt x="3083995" y="4344181"/>
                            <a:pt x="2000250" y="4681947"/>
                          </a:cubicBezTo>
                          <a:cubicBezTo>
                            <a:pt x="925144" y="4346877"/>
                            <a:pt x="190500" y="3352648"/>
                            <a:pt x="190500" y="2221135"/>
                          </a:cubicBezTo>
                          <a:lnTo>
                            <a:pt x="190500" y="755218"/>
                          </a:lnTo>
                          <a:cubicBezTo>
                            <a:pt x="482070" y="713327"/>
                            <a:pt x="713327" y="482070"/>
                            <a:pt x="755218" y="190500"/>
                          </a:cubicBezTo>
                          <a:lnTo>
                            <a:pt x="3245282" y="190500"/>
                          </a:lnTo>
                          <a:cubicBezTo>
                            <a:pt x="3287173" y="482070"/>
                            <a:pt x="3518430" y="713327"/>
                            <a:pt x="3810000" y="755218"/>
                          </a:cubicBezTo>
                          <a:lnTo>
                            <a:pt x="3810000" y="2221135"/>
                          </a:ln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AE0F7AA2-B075-4D75-A72C-25E5A1125F20}"/>
                </a:ext>
              </a:extLst>
            </p:cNvPr>
            <p:cNvSpPr/>
            <p:nvPr/>
          </p:nvSpPr>
          <p:spPr>
            <a:xfrm>
              <a:off x="4475956" y="1371600"/>
              <a:ext cx="3238500" cy="4095073"/>
            </a:xfrm>
            <a:custGeom>
              <a:avLst/>
              <a:gdLst>
                <a:gd name="connsiteX0" fmla="*/ 3181464 w 3238500"/>
                <a:gd name="connsiteY0" fmla="*/ 499967 h 4095073"/>
                <a:gd name="connsiteX1" fmla="*/ 2738533 w 3238500"/>
                <a:gd name="connsiteY1" fmla="*/ 57036 h 4095073"/>
                <a:gd name="connsiteX2" fmla="*/ 2651284 w 3238500"/>
                <a:gd name="connsiteY2" fmla="*/ 0 h 4095073"/>
                <a:gd name="connsiteX3" fmla="*/ 2000060 w 3238500"/>
                <a:gd name="connsiteY3" fmla="*/ 0 h 4095073"/>
                <a:gd name="connsiteX4" fmla="*/ 1904810 w 3238500"/>
                <a:gd name="connsiteY4" fmla="*/ 95250 h 4095073"/>
                <a:gd name="connsiteX5" fmla="*/ 2000060 w 3238500"/>
                <a:gd name="connsiteY5" fmla="*/ 190500 h 4095073"/>
                <a:gd name="connsiteX6" fmla="*/ 2591057 w 3238500"/>
                <a:gd name="connsiteY6" fmla="*/ 190500 h 4095073"/>
                <a:gd name="connsiteX7" fmla="*/ 3048000 w 3238500"/>
                <a:gd name="connsiteY7" fmla="*/ 647443 h 4095073"/>
                <a:gd name="connsiteX8" fmla="*/ 3048000 w 3238500"/>
                <a:gd name="connsiteY8" fmla="*/ 1840135 h 4095073"/>
                <a:gd name="connsiteX9" fmla="*/ 1619250 w 3238500"/>
                <a:gd name="connsiteY9" fmla="*/ 3898526 h 4095073"/>
                <a:gd name="connsiteX10" fmla="*/ 190500 w 3238500"/>
                <a:gd name="connsiteY10" fmla="*/ 1840135 h 4095073"/>
                <a:gd name="connsiteX11" fmla="*/ 190500 w 3238500"/>
                <a:gd name="connsiteY11" fmla="*/ 647443 h 4095073"/>
                <a:gd name="connsiteX12" fmla="*/ 647443 w 3238500"/>
                <a:gd name="connsiteY12" fmla="*/ 190500 h 4095073"/>
                <a:gd name="connsiteX13" fmla="*/ 1238441 w 3238500"/>
                <a:gd name="connsiteY13" fmla="*/ 190500 h 4095073"/>
                <a:gd name="connsiteX14" fmla="*/ 1333691 w 3238500"/>
                <a:gd name="connsiteY14" fmla="*/ 95250 h 4095073"/>
                <a:gd name="connsiteX15" fmla="*/ 1238441 w 3238500"/>
                <a:gd name="connsiteY15" fmla="*/ 0 h 4095073"/>
                <a:gd name="connsiteX16" fmla="*/ 587216 w 3238500"/>
                <a:gd name="connsiteY16" fmla="*/ 0 h 4095073"/>
                <a:gd name="connsiteX17" fmla="*/ 499967 w 3238500"/>
                <a:gd name="connsiteY17" fmla="*/ 57036 h 4095073"/>
                <a:gd name="connsiteX18" fmla="*/ 57036 w 3238500"/>
                <a:gd name="connsiteY18" fmla="*/ 499967 h 4095073"/>
                <a:gd name="connsiteX19" fmla="*/ 0 w 3238500"/>
                <a:gd name="connsiteY19" fmla="*/ 587216 h 4095073"/>
                <a:gd name="connsiteX20" fmla="*/ 0 w 3238500"/>
                <a:gd name="connsiteY20" fmla="*/ 1840135 h 4095073"/>
                <a:gd name="connsiteX21" fmla="*/ 1587475 w 3238500"/>
                <a:gd name="connsiteY21" fmla="*/ 4089616 h 4095073"/>
                <a:gd name="connsiteX22" fmla="*/ 1619250 w 3238500"/>
                <a:gd name="connsiteY22" fmla="*/ 4095074 h 4095073"/>
                <a:gd name="connsiteX23" fmla="*/ 1651025 w 3238500"/>
                <a:gd name="connsiteY23" fmla="*/ 4089616 h 4095073"/>
                <a:gd name="connsiteX24" fmla="*/ 3238500 w 3238500"/>
                <a:gd name="connsiteY24" fmla="*/ 1840135 h 4095073"/>
                <a:gd name="connsiteX25" fmla="*/ 3238500 w 3238500"/>
                <a:gd name="connsiteY25" fmla="*/ 587216 h 4095073"/>
                <a:gd name="connsiteX26" fmla="*/ 3181464 w 3238500"/>
                <a:gd name="connsiteY26" fmla="*/ 499967 h 4095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238500" h="4095073" fill="none" extrusionOk="0">
                  <a:moveTo>
                    <a:pt x="3181464" y="499967"/>
                  </a:moveTo>
                  <a:cubicBezTo>
                    <a:pt x="2987744" y="398482"/>
                    <a:pt x="2813068" y="214562"/>
                    <a:pt x="2738533" y="57036"/>
                  </a:cubicBezTo>
                  <a:cubicBezTo>
                    <a:pt x="2720226" y="15821"/>
                    <a:pt x="2687198" y="1592"/>
                    <a:pt x="2651284" y="0"/>
                  </a:cubicBezTo>
                  <a:cubicBezTo>
                    <a:pt x="2477202" y="34783"/>
                    <a:pt x="2225024" y="-16130"/>
                    <a:pt x="2000060" y="0"/>
                  </a:cubicBezTo>
                  <a:cubicBezTo>
                    <a:pt x="1943980" y="-677"/>
                    <a:pt x="1906216" y="39840"/>
                    <a:pt x="1904810" y="95250"/>
                  </a:cubicBezTo>
                  <a:cubicBezTo>
                    <a:pt x="1898102" y="151902"/>
                    <a:pt x="1950033" y="191279"/>
                    <a:pt x="2000060" y="190500"/>
                  </a:cubicBezTo>
                  <a:cubicBezTo>
                    <a:pt x="2099284" y="202419"/>
                    <a:pt x="2321577" y="209666"/>
                    <a:pt x="2591057" y="190500"/>
                  </a:cubicBezTo>
                  <a:cubicBezTo>
                    <a:pt x="2688741" y="389764"/>
                    <a:pt x="2852232" y="511847"/>
                    <a:pt x="3048000" y="647443"/>
                  </a:cubicBezTo>
                  <a:cubicBezTo>
                    <a:pt x="3102122" y="899948"/>
                    <a:pt x="3001433" y="1481752"/>
                    <a:pt x="3048000" y="1840135"/>
                  </a:cubicBezTo>
                  <a:cubicBezTo>
                    <a:pt x="3094950" y="2753239"/>
                    <a:pt x="2554571" y="3495607"/>
                    <a:pt x="1619250" y="3898526"/>
                  </a:cubicBezTo>
                  <a:cubicBezTo>
                    <a:pt x="832583" y="3500532"/>
                    <a:pt x="304371" y="2641307"/>
                    <a:pt x="190500" y="1840135"/>
                  </a:cubicBezTo>
                  <a:cubicBezTo>
                    <a:pt x="126627" y="1263367"/>
                    <a:pt x="113591" y="1211344"/>
                    <a:pt x="190500" y="647443"/>
                  </a:cubicBezTo>
                  <a:cubicBezTo>
                    <a:pt x="365815" y="533737"/>
                    <a:pt x="506729" y="405487"/>
                    <a:pt x="647443" y="190500"/>
                  </a:cubicBezTo>
                  <a:cubicBezTo>
                    <a:pt x="831038" y="179727"/>
                    <a:pt x="974758" y="147370"/>
                    <a:pt x="1238441" y="190500"/>
                  </a:cubicBezTo>
                  <a:cubicBezTo>
                    <a:pt x="1289720" y="188614"/>
                    <a:pt x="1333727" y="150595"/>
                    <a:pt x="1333691" y="95250"/>
                  </a:cubicBezTo>
                  <a:cubicBezTo>
                    <a:pt x="1334363" y="41476"/>
                    <a:pt x="1296052" y="-395"/>
                    <a:pt x="1238441" y="0"/>
                  </a:cubicBezTo>
                  <a:cubicBezTo>
                    <a:pt x="1099079" y="-48951"/>
                    <a:pt x="860450" y="-36616"/>
                    <a:pt x="587216" y="0"/>
                  </a:cubicBezTo>
                  <a:cubicBezTo>
                    <a:pt x="554251" y="-2279"/>
                    <a:pt x="512555" y="16093"/>
                    <a:pt x="499967" y="57036"/>
                  </a:cubicBezTo>
                  <a:cubicBezTo>
                    <a:pt x="409742" y="264290"/>
                    <a:pt x="265418" y="406179"/>
                    <a:pt x="57036" y="499967"/>
                  </a:cubicBezTo>
                  <a:cubicBezTo>
                    <a:pt x="21537" y="522043"/>
                    <a:pt x="984" y="554882"/>
                    <a:pt x="0" y="587216"/>
                  </a:cubicBezTo>
                  <a:cubicBezTo>
                    <a:pt x="-943" y="910432"/>
                    <a:pt x="39370" y="1642474"/>
                    <a:pt x="0" y="1840135"/>
                  </a:cubicBezTo>
                  <a:cubicBezTo>
                    <a:pt x="56769" y="2980867"/>
                    <a:pt x="578665" y="3737543"/>
                    <a:pt x="1587475" y="4089616"/>
                  </a:cubicBezTo>
                  <a:cubicBezTo>
                    <a:pt x="1597441" y="4092657"/>
                    <a:pt x="1607862" y="4095259"/>
                    <a:pt x="1619250" y="4095074"/>
                  </a:cubicBezTo>
                  <a:cubicBezTo>
                    <a:pt x="1629284" y="4094119"/>
                    <a:pt x="1640918" y="4093361"/>
                    <a:pt x="1651025" y="4089616"/>
                  </a:cubicBezTo>
                  <a:cubicBezTo>
                    <a:pt x="2684886" y="3856359"/>
                    <a:pt x="3197919" y="2836732"/>
                    <a:pt x="3238500" y="1840135"/>
                  </a:cubicBezTo>
                  <a:cubicBezTo>
                    <a:pt x="3153963" y="1228802"/>
                    <a:pt x="3131508" y="731180"/>
                    <a:pt x="3238500" y="587216"/>
                  </a:cubicBezTo>
                  <a:cubicBezTo>
                    <a:pt x="3240264" y="556038"/>
                    <a:pt x="3220877" y="512178"/>
                    <a:pt x="3181464" y="499967"/>
                  </a:cubicBezTo>
                  <a:close/>
                </a:path>
                <a:path w="3238500" h="4095073" stroke="0" extrusionOk="0">
                  <a:moveTo>
                    <a:pt x="3181464" y="499967"/>
                  </a:moveTo>
                  <a:cubicBezTo>
                    <a:pt x="3001503" y="397466"/>
                    <a:pt x="2797888" y="241474"/>
                    <a:pt x="2738533" y="57036"/>
                  </a:cubicBezTo>
                  <a:cubicBezTo>
                    <a:pt x="2720911" y="28413"/>
                    <a:pt x="2686373" y="4096"/>
                    <a:pt x="2651284" y="0"/>
                  </a:cubicBezTo>
                  <a:cubicBezTo>
                    <a:pt x="2359009" y="58520"/>
                    <a:pt x="2162845" y="10923"/>
                    <a:pt x="2000060" y="0"/>
                  </a:cubicBezTo>
                  <a:cubicBezTo>
                    <a:pt x="1948812" y="-5697"/>
                    <a:pt x="1901904" y="39536"/>
                    <a:pt x="1904810" y="95250"/>
                  </a:cubicBezTo>
                  <a:cubicBezTo>
                    <a:pt x="1910193" y="139916"/>
                    <a:pt x="1948382" y="195365"/>
                    <a:pt x="2000060" y="190500"/>
                  </a:cubicBezTo>
                  <a:cubicBezTo>
                    <a:pt x="2150888" y="177628"/>
                    <a:pt x="2414529" y="143866"/>
                    <a:pt x="2591057" y="190500"/>
                  </a:cubicBezTo>
                  <a:cubicBezTo>
                    <a:pt x="2678787" y="391853"/>
                    <a:pt x="2879625" y="550697"/>
                    <a:pt x="3048000" y="647443"/>
                  </a:cubicBezTo>
                  <a:cubicBezTo>
                    <a:pt x="3070293" y="1223317"/>
                    <a:pt x="3060630" y="1402411"/>
                    <a:pt x="3048000" y="1840135"/>
                  </a:cubicBezTo>
                  <a:cubicBezTo>
                    <a:pt x="2968490" y="2724353"/>
                    <a:pt x="2618324" y="3631656"/>
                    <a:pt x="1619250" y="3898526"/>
                  </a:cubicBezTo>
                  <a:cubicBezTo>
                    <a:pt x="798272" y="3587170"/>
                    <a:pt x="135179" y="2716016"/>
                    <a:pt x="190500" y="1840135"/>
                  </a:cubicBezTo>
                  <a:cubicBezTo>
                    <a:pt x="100583" y="1307528"/>
                    <a:pt x="229635" y="813550"/>
                    <a:pt x="190500" y="647443"/>
                  </a:cubicBezTo>
                  <a:cubicBezTo>
                    <a:pt x="374475" y="515082"/>
                    <a:pt x="524160" y="423353"/>
                    <a:pt x="647443" y="190500"/>
                  </a:cubicBezTo>
                  <a:cubicBezTo>
                    <a:pt x="768777" y="185876"/>
                    <a:pt x="1081202" y="217493"/>
                    <a:pt x="1238441" y="190500"/>
                  </a:cubicBezTo>
                  <a:cubicBezTo>
                    <a:pt x="1288021" y="200302"/>
                    <a:pt x="1334381" y="144662"/>
                    <a:pt x="1333691" y="95250"/>
                  </a:cubicBezTo>
                  <a:cubicBezTo>
                    <a:pt x="1333262" y="44349"/>
                    <a:pt x="1297299" y="554"/>
                    <a:pt x="1238441" y="0"/>
                  </a:cubicBezTo>
                  <a:cubicBezTo>
                    <a:pt x="1169682" y="-33162"/>
                    <a:pt x="755939" y="-7892"/>
                    <a:pt x="587216" y="0"/>
                  </a:cubicBezTo>
                  <a:cubicBezTo>
                    <a:pt x="553082" y="-2930"/>
                    <a:pt x="520922" y="22251"/>
                    <a:pt x="499967" y="57036"/>
                  </a:cubicBezTo>
                  <a:cubicBezTo>
                    <a:pt x="421087" y="246897"/>
                    <a:pt x="276650" y="389942"/>
                    <a:pt x="57036" y="499967"/>
                  </a:cubicBezTo>
                  <a:cubicBezTo>
                    <a:pt x="21583" y="515034"/>
                    <a:pt x="6521" y="551139"/>
                    <a:pt x="0" y="587216"/>
                  </a:cubicBezTo>
                  <a:cubicBezTo>
                    <a:pt x="-90035" y="984316"/>
                    <a:pt x="42139" y="1502612"/>
                    <a:pt x="0" y="1840135"/>
                  </a:cubicBezTo>
                  <a:cubicBezTo>
                    <a:pt x="-103994" y="2810370"/>
                    <a:pt x="616374" y="3833555"/>
                    <a:pt x="1587475" y="4089616"/>
                  </a:cubicBezTo>
                  <a:cubicBezTo>
                    <a:pt x="1599279" y="4094148"/>
                    <a:pt x="1608258" y="4093311"/>
                    <a:pt x="1619250" y="4095074"/>
                  </a:cubicBezTo>
                  <a:cubicBezTo>
                    <a:pt x="1629182" y="4094999"/>
                    <a:pt x="1641421" y="4092027"/>
                    <a:pt x="1651025" y="4089616"/>
                  </a:cubicBezTo>
                  <a:cubicBezTo>
                    <a:pt x="2477036" y="3798351"/>
                    <a:pt x="3147536" y="2925667"/>
                    <a:pt x="3238500" y="1840135"/>
                  </a:cubicBezTo>
                  <a:cubicBezTo>
                    <a:pt x="3163331" y="1606756"/>
                    <a:pt x="3162920" y="1143220"/>
                    <a:pt x="3238500" y="587216"/>
                  </a:cubicBezTo>
                  <a:cubicBezTo>
                    <a:pt x="3237923" y="547331"/>
                    <a:pt x="3210561" y="517985"/>
                    <a:pt x="3181464" y="49996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2991667938">
                    <a:custGeom>
                      <a:avLst/>
                      <a:gdLst>
                        <a:gd name="connsiteX0" fmla="*/ 3181464 w 3238500"/>
                        <a:gd name="connsiteY0" fmla="*/ 499967 h 4095073"/>
                        <a:gd name="connsiteX1" fmla="*/ 2738533 w 3238500"/>
                        <a:gd name="connsiteY1" fmla="*/ 57036 h 4095073"/>
                        <a:gd name="connsiteX2" fmla="*/ 2651284 w 3238500"/>
                        <a:gd name="connsiteY2" fmla="*/ 0 h 4095073"/>
                        <a:gd name="connsiteX3" fmla="*/ 2000060 w 3238500"/>
                        <a:gd name="connsiteY3" fmla="*/ 0 h 4095073"/>
                        <a:gd name="connsiteX4" fmla="*/ 1904810 w 3238500"/>
                        <a:gd name="connsiteY4" fmla="*/ 95250 h 4095073"/>
                        <a:gd name="connsiteX5" fmla="*/ 2000060 w 3238500"/>
                        <a:gd name="connsiteY5" fmla="*/ 190500 h 4095073"/>
                        <a:gd name="connsiteX6" fmla="*/ 2591057 w 3238500"/>
                        <a:gd name="connsiteY6" fmla="*/ 190500 h 4095073"/>
                        <a:gd name="connsiteX7" fmla="*/ 3048000 w 3238500"/>
                        <a:gd name="connsiteY7" fmla="*/ 647443 h 4095073"/>
                        <a:gd name="connsiteX8" fmla="*/ 3048000 w 3238500"/>
                        <a:gd name="connsiteY8" fmla="*/ 1840135 h 4095073"/>
                        <a:gd name="connsiteX9" fmla="*/ 1619250 w 3238500"/>
                        <a:gd name="connsiteY9" fmla="*/ 3898526 h 4095073"/>
                        <a:gd name="connsiteX10" fmla="*/ 190500 w 3238500"/>
                        <a:gd name="connsiteY10" fmla="*/ 1840135 h 4095073"/>
                        <a:gd name="connsiteX11" fmla="*/ 190500 w 3238500"/>
                        <a:gd name="connsiteY11" fmla="*/ 647443 h 4095073"/>
                        <a:gd name="connsiteX12" fmla="*/ 647443 w 3238500"/>
                        <a:gd name="connsiteY12" fmla="*/ 190500 h 4095073"/>
                        <a:gd name="connsiteX13" fmla="*/ 1238441 w 3238500"/>
                        <a:gd name="connsiteY13" fmla="*/ 190500 h 4095073"/>
                        <a:gd name="connsiteX14" fmla="*/ 1333691 w 3238500"/>
                        <a:gd name="connsiteY14" fmla="*/ 95250 h 4095073"/>
                        <a:gd name="connsiteX15" fmla="*/ 1238441 w 3238500"/>
                        <a:gd name="connsiteY15" fmla="*/ 0 h 4095073"/>
                        <a:gd name="connsiteX16" fmla="*/ 587216 w 3238500"/>
                        <a:gd name="connsiteY16" fmla="*/ 0 h 4095073"/>
                        <a:gd name="connsiteX17" fmla="*/ 499967 w 3238500"/>
                        <a:gd name="connsiteY17" fmla="*/ 57036 h 4095073"/>
                        <a:gd name="connsiteX18" fmla="*/ 57036 w 3238500"/>
                        <a:gd name="connsiteY18" fmla="*/ 499967 h 4095073"/>
                        <a:gd name="connsiteX19" fmla="*/ 0 w 3238500"/>
                        <a:gd name="connsiteY19" fmla="*/ 587216 h 4095073"/>
                        <a:gd name="connsiteX20" fmla="*/ 0 w 3238500"/>
                        <a:gd name="connsiteY20" fmla="*/ 1840135 h 4095073"/>
                        <a:gd name="connsiteX21" fmla="*/ 1587475 w 3238500"/>
                        <a:gd name="connsiteY21" fmla="*/ 4089616 h 4095073"/>
                        <a:gd name="connsiteX22" fmla="*/ 1619250 w 3238500"/>
                        <a:gd name="connsiteY22" fmla="*/ 4095074 h 4095073"/>
                        <a:gd name="connsiteX23" fmla="*/ 1651025 w 3238500"/>
                        <a:gd name="connsiteY23" fmla="*/ 4089616 h 4095073"/>
                        <a:gd name="connsiteX24" fmla="*/ 3238500 w 3238500"/>
                        <a:gd name="connsiteY24" fmla="*/ 1840135 h 4095073"/>
                        <a:gd name="connsiteX25" fmla="*/ 3238500 w 3238500"/>
                        <a:gd name="connsiteY25" fmla="*/ 587216 h 4095073"/>
                        <a:gd name="connsiteX26" fmla="*/ 3181464 w 3238500"/>
                        <a:gd name="connsiteY26" fmla="*/ 499967 h 40950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</a:cxnLst>
                      <a:rect l="l" t="t" r="r" b="b"/>
                      <a:pathLst>
                        <a:path w="3238500" h="4095073">
                          <a:moveTo>
                            <a:pt x="3181464" y="499967"/>
                          </a:moveTo>
                          <a:cubicBezTo>
                            <a:pt x="2982830" y="412975"/>
                            <a:pt x="2825525" y="255670"/>
                            <a:pt x="2738533" y="57036"/>
                          </a:cubicBezTo>
                          <a:cubicBezTo>
                            <a:pt x="2723350" y="22384"/>
                            <a:pt x="2689117" y="0"/>
                            <a:pt x="2651284" y="0"/>
                          </a:cubicBezTo>
                          <a:lnTo>
                            <a:pt x="2000060" y="0"/>
                          </a:lnTo>
                          <a:cubicBezTo>
                            <a:pt x="1947463" y="0"/>
                            <a:pt x="1904810" y="42653"/>
                            <a:pt x="1904810" y="95250"/>
                          </a:cubicBezTo>
                          <a:cubicBezTo>
                            <a:pt x="1904810" y="147847"/>
                            <a:pt x="1947463" y="190500"/>
                            <a:pt x="2000060" y="190500"/>
                          </a:cubicBezTo>
                          <a:lnTo>
                            <a:pt x="2591057" y="190500"/>
                          </a:lnTo>
                          <a:cubicBezTo>
                            <a:pt x="2691689" y="387487"/>
                            <a:pt x="2851014" y="546802"/>
                            <a:pt x="3048000" y="647443"/>
                          </a:cubicBezTo>
                          <a:lnTo>
                            <a:pt x="3048000" y="1840135"/>
                          </a:lnTo>
                          <a:cubicBezTo>
                            <a:pt x="3048000" y="2772280"/>
                            <a:pt x="2488416" y="3576571"/>
                            <a:pt x="1619250" y="3898526"/>
                          </a:cubicBezTo>
                          <a:cubicBezTo>
                            <a:pt x="750084" y="3576561"/>
                            <a:pt x="190500" y="2772280"/>
                            <a:pt x="190500" y="1840135"/>
                          </a:cubicBezTo>
                          <a:lnTo>
                            <a:pt x="190500" y="647443"/>
                          </a:lnTo>
                          <a:cubicBezTo>
                            <a:pt x="387487" y="546802"/>
                            <a:pt x="546802" y="387487"/>
                            <a:pt x="647443" y="190500"/>
                          </a:cubicBezTo>
                          <a:lnTo>
                            <a:pt x="1238441" y="190500"/>
                          </a:lnTo>
                          <a:cubicBezTo>
                            <a:pt x="1291038" y="190500"/>
                            <a:pt x="1333691" y="147847"/>
                            <a:pt x="1333691" y="95250"/>
                          </a:cubicBezTo>
                          <a:cubicBezTo>
                            <a:pt x="1333691" y="42653"/>
                            <a:pt x="1291038" y="0"/>
                            <a:pt x="1238441" y="0"/>
                          </a:cubicBezTo>
                          <a:lnTo>
                            <a:pt x="587216" y="0"/>
                          </a:lnTo>
                          <a:cubicBezTo>
                            <a:pt x="549383" y="0"/>
                            <a:pt x="515150" y="22393"/>
                            <a:pt x="499967" y="57036"/>
                          </a:cubicBezTo>
                          <a:cubicBezTo>
                            <a:pt x="412975" y="255670"/>
                            <a:pt x="255670" y="412975"/>
                            <a:pt x="57036" y="499967"/>
                          </a:cubicBezTo>
                          <a:cubicBezTo>
                            <a:pt x="22393" y="515150"/>
                            <a:pt x="0" y="549393"/>
                            <a:pt x="0" y="587216"/>
                          </a:cubicBezTo>
                          <a:lnTo>
                            <a:pt x="0" y="1840135"/>
                          </a:lnTo>
                          <a:cubicBezTo>
                            <a:pt x="0" y="2861339"/>
                            <a:pt x="631612" y="3751355"/>
                            <a:pt x="1587475" y="4089616"/>
                          </a:cubicBezTo>
                          <a:cubicBezTo>
                            <a:pt x="1597752" y="4093255"/>
                            <a:pt x="1608496" y="4095074"/>
                            <a:pt x="1619250" y="4095074"/>
                          </a:cubicBezTo>
                          <a:cubicBezTo>
                            <a:pt x="1630004" y="4095074"/>
                            <a:pt x="1640748" y="4093255"/>
                            <a:pt x="1651025" y="4089616"/>
                          </a:cubicBezTo>
                          <a:cubicBezTo>
                            <a:pt x="2606088" y="3751640"/>
                            <a:pt x="3238500" y="2862167"/>
                            <a:pt x="3238500" y="1840135"/>
                          </a:cubicBezTo>
                          <a:lnTo>
                            <a:pt x="3238500" y="587216"/>
                          </a:lnTo>
                          <a:cubicBezTo>
                            <a:pt x="3238500" y="549383"/>
                            <a:pt x="3216107" y="515150"/>
                            <a:pt x="3181464" y="499967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C48076BD-860A-4725-BB03-6C9C1BAA2624}"/>
                </a:ext>
              </a:extLst>
            </p:cNvPr>
            <p:cNvSpPr/>
            <p:nvPr/>
          </p:nvSpPr>
          <p:spPr>
            <a:xfrm>
              <a:off x="5237956" y="2381250"/>
              <a:ext cx="1714500" cy="1714500"/>
            </a:xfrm>
            <a:custGeom>
              <a:avLst/>
              <a:gdLst>
                <a:gd name="connsiteX0" fmla="*/ 857250 w 1714500"/>
                <a:gd name="connsiteY0" fmla="*/ 0 h 1714500"/>
                <a:gd name="connsiteX1" fmla="*/ 0 w 1714500"/>
                <a:gd name="connsiteY1" fmla="*/ 857250 h 1714500"/>
                <a:gd name="connsiteX2" fmla="*/ 857250 w 1714500"/>
                <a:gd name="connsiteY2" fmla="*/ 1714500 h 1714500"/>
                <a:gd name="connsiteX3" fmla="*/ 1714500 w 1714500"/>
                <a:gd name="connsiteY3" fmla="*/ 857250 h 1714500"/>
                <a:gd name="connsiteX4" fmla="*/ 857250 w 1714500"/>
                <a:gd name="connsiteY4" fmla="*/ 0 h 1714500"/>
                <a:gd name="connsiteX5" fmla="*/ 857250 w 1714500"/>
                <a:gd name="connsiteY5" fmla="*/ 1524000 h 1714500"/>
                <a:gd name="connsiteX6" fmla="*/ 190500 w 1714500"/>
                <a:gd name="connsiteY6" fmla="*/ 857250 h 1714500"/>
                <a:gd name="connsiteX7" fmla="*/ 857250 w 1714500"/>
                <a:gd name="connsiteY7" fmla="*/ 190500 h 1714500"/>
                <a:gd name="connsiteX8" fmla="*/ 1524000 w 1714500"/>
                <a:gd name="connsiteY8" fmla="*/ 857250 h 1714500"/>
                <a:gd name="connsiteX9" fmla="*/ 857250 w 1714500"/>
                <a:gd name="connsiteY9" fmla="*/ 1524000 h 171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14500" h="1714500" fill="none" extrusionOk="0">
                  <a:moveTo>
                    <a:pt x="857250" y="0"/>
                  </a:moveTo>
                  <a:cubicBezTo>
                    <a:pt x="413552" y="4506"/>
                    <a:pt x="-2129" y="349031"/>
                    <a:pt x="0" y="857250"/>
                  </a:cubicBezTo>
                  <a:cubicBezTo>
                    <a:pt x="-89594" y="1303110"/>
                    <a:pt x="398909" y="1802140"/>
                    <a:pt x="857250" y="1714500"/>
                  </a:cubicBezTo>
                  <a:cubicBezTo>
                    <a:pt x="1310188" y="1785377"/>
                    <a:pt x="1724737" y="1327889"/>
                    <a:pt x="1714500" y="857250"/>
                  </a:cubicBezTo>
                  <a:cubicBezTo>
                    <a:pt x="1706619" y="375788"/>
                    <a:pt x="1336117" y="17264"/>
                    <a:pt x="857250" y="0"/>
                  </a:cubicBezTo>
                  <a:close/>
                  <a:moveTo>
                    <a:pt x="857250" y="1524000"/>
                  </a:moveTo>
                  <a:cubicBezTo>
                    <a:pt x="474663" y="1570316"/>
                    <a:pt x="216425" y="1194365"/>
                    <a:pt x="190500" y="857250"/>
                  </a:cubicBezTo>
                  <a:cubicBezTo>
                    <a:pt x="202936" y="503788"/>
                    <a:pt x="442275" y="192852"/>
                    <a:pt x="857250" y="190500"/>
                  </a:cubicBezTo>
                  <a:cubicBezTo>
                    <a:pt x="1218302" y="183213"/>
                    <a:pt x="1551516" y="528322"/>
                    <a:pt x="1524000" y="857250"/>
                  </a:cubicBezTo>
                  <a:cubicBezTo>
                    <a:pt x="1525091" y="1197431"/>
                    <a:pt x="1221412" y="1535979"/>
                    <a:pt x="857250" y="1524000"/>
                  </a:cubicBezTo>
                  <a:close/>
                </a:path>
                <a:path w="1714500" h="1714500" stroke="0" extrusionOk="0">
                  <a:moveTo>
                    <a:pt x="857250" y="0"/>
                  </a:moveTo>
                  <a:cubicBezTo>
                    <a:pt x="363633" y="3364"/>
                    <a:pt x="-42848" y="451277"/>
                    <a:pt x="0" y="857250"/>
                  </a:cubicBezTo>
                  <a:cubicBezTo>
                    <a:pt x="-39284" y="1273221"/>
                    <a:pt x="391365" y="1655083"/>
                    <a:pt x="857250" y="1714500"/>
                  </a:cubicBezTo>
                  <a:cubicBezTo>
                    <a:pt x="1342865" y="1709185"/>
                    <a:pt x="1720624" y="1332415"/>
                    <a:pt x="1714500" y="857250"/>
                  </a:cubicBezTo>
                  <a:cubicBezTo>
                    <a:pt x="1716495" y="349264"/>
                    <a:pt x="1413384" y="3510"/>
                    <a:pt x="857250" y="0"/>
                  </a:cubicBezTo>
                  <a:close/>
                  <a:moveTo>
                    <a:pt x="857250" y="1524000"/>
                  </a:moveTo>
                  <a:cubicBezTo>
                    <a:pt x="494786" y="1544414"/>
                    <a:pt x="208363" y="1216196"/>
                    <a:pt x="190500" y="857250"/>
                  </a:cubicBezTo>
                  <a:cubicBezTo>
                    <a:pt x="193612" y="511803"/>
                    <a:pt x="510206" y="259901"/>
                    <a:pt x="857250" y="190500"/>
                  </a:cubicBezTo>
                  <a:cubicBezTo>
                    <a:pt x="1207352" y="258119"/>
                    <a:pt x="1484504" y="449638"/>
                    <a:pt x="1524000" y="857250"/>
                  </a:cubicBezTo>
                  <a:cubicBezTo>
                    <a:pt x="1551943" y="1260384"/>
                    <a:pt x="1164323" y="1511700"/>
                    <a:pt x="857250" y="152400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3324302225">
                    <a:custGeom>
                      <a:avLst/>
                      <a:gdLst>
                        <a:gd name="connsiteX0" fmla="*/ 857250 w 1714500"/>
                        <a:gd name="connsiteY0" fmla="*/ 0 h 1714500"/>
                        <a:gd name="connsiteX1" fmla="*/ 0 w 1714500"/>
                        <a:gd name="connsiteY1" fmla="*/ 857250 h 1714500"/>
                        <a:gd name="connsiteX2" fmla="*/ 857250 w 1714500"/>
                        <a:gd name="connsiteY2" fmla="*/ 1714500 h 1714500"/>
                        <a:gd name="connsiteX3" fmla="*/ 1714500 w 1714500"/>
                        <a:gd name="connsiteY3" fmla="*/ 857250 h 1714500"/>
                        <a:gd name="connsiteX4" fmla="*/ 857250 w 1714500"/>
                        <a:gd name="connsiteY4" fmla="*/ 0 h 1714500"/>
                        <a:gd name="connsiteX5" fmla="*/ 857250 w 1714500"/>
                        <a:gd name="connsiteY5" fmla="*/ 1524000 h 1714500"/>
                        <a:gd name="connsiteX6" fmla="*/ 190500 w 1714500"/>
                        <a:gd name="connsiteY6" fmla="*/ 857250 h 1714500"/>
                        <a:gd name="connsiteX7" fmla="*/ 857250 w 1714500"/>
                        <a:gd name="connsiteY7" fmla="*/ 190500 h 1714500"/>
                        <a:gd name="connsiteX8" fmla="*/ 1524000 w 1714500"/>
                        <a:gd name="connsiteY8" fmla="*/ 857250 h 1714500"/>
                        <a:gd name="connsiteX9" fmla="*/ 857250 w 1714500"/>
                        <a:gd name="connsiteY9" fmla="*/ 1524000 h 1714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1714500" h="1714500">
                          <a:moveTo>
                            <a:pt x="857250" y="0"/>
                          </a:moveTo>
                          <a:cubicBezTo>
                            <a:pt x="384562" y="0"/>
                            <a:pt x="0" y="384562"/>
                            <a:pt x="0" y="857250"/>
                          </a:cubicBezTo>
                          <a:cubicBezTo>
                            <a:pt x="0" y="1329938"/>
                            <a:pt x="384562" y="1714500"/>
                            <a:pt x="857250" y="1714500"/>
                          </a:cubicBezTo>
                          <a:cubicBezTo>
                            <a:pt x="1329938" y="1714500"/>
                            <a:pt x="1714500" y="1329938"/>
                            <a:pt x="1714500" y="857250"/>
                          </a:cubicBezTo>
                          <a:cubicBezTo>
                            <a:pt x="1714500" y="384562"/>
                            <a:pt x="1329938" y="0"/>
                            <a:pt x="857250" y="0"/>
                          </a:cubicBezTo>
                          <a:close/>
                          <a:moveTo>
                            <a:pt x="857250" y="1524000"/>
                          </a:moveTo>
                          <a:cubicBezTo>
                            <a:pt x="489604" y="1524000"/>
                            <a:pt x="190500" y="1224896"/>
                            <a:pt x="190500" y="857250"/>
                          </a:cubicBezTo>
                          <a:cubicBezTo>
                            <a:pt x="190500" y="489604"/>
                            <a:pt x="489604" y="190500"/>
                            <a:pt x="857250" y="190500"/>
                          </a:cubicBezTo>
                          <a:cubicBezTo>
                            <a:pt x="1224896" y="190500"/>
                            <a:pt x="1524000" y="489604"/>
                            <a:pt x="1524000" y="857250"/>
                          </a:cubicBezTo>
                          <a:cubicBezTo>
                            <a:pt x="1524000" y="1224896"/>
                            <a:pt x="1224896" y="1524000"/>
                            <a:pt x="857250" y="1524000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91F6FEF-ED0C-4499-BE78-B1A0753850BF}"/>
                </a:ext>
              </a:extLst>
            </p:cNvPr>
            <p:cNvSpPr/>
            <p:nvPr/>
          </p:nvSpPr>
          <p:spPr>
            <a:xfrm>
              <a:off x="5714198" y="2952750"/>
              <a:ext cx="857254" cy="666750"/>
            </a:xfrm>
            <a:custGeom>
              <a:avLst/>
              <a:gdLst>
                <a:gd name="connsiteX0" fmla="*/ 829359 w 857254"/>
                <a:gd name="connsiteY0" fmla="*/ 27889 h 666750"/>
                <a:gd name="connsiteX1" fmla="*/ 694647 w 857254"/>
                <a:gd name="connsiteY1" fmla="*/ 27889 h 666750"/>
                <a:gd name="connsiteX2" fmla="*/ 285757 w 857254"/>
                <a:gd name="connsiteY2" fmla="*/ 436788 h 666750"/>
                <a:gd name="connsiteX3" fmla="*/ 162608 w 857254"/>
                <a:gd name="connsiteY3" fmla="*/ 313649 h 666750"/>
                <a:gd name="connsiteX4" fmla="*/ 27896 w 857254"/>
                <a:gd name="connsiteY4" fmla="*/ 313649 h 666750"/>
                <a:gd name="connsiteX5" fmla="*/ 27896 w 857254"/>
                <a:gd name="connsiteY5" fmla="*/ 448361 h 666750"/>
                <a:gd name="connsiteX6" fmla="*/ 218396 w 857254"/>
                <a:gd name="connsiteY6" fmla="*/ 638861 h 666750"/>
                <a:gd name="connsiteX7" fmla="*/ 285757 w 857254"/>
                <a:gd name="connsiteY7" fmla="*/ 666750 h 666750"/>
                <a:gd name="connsiteX8" fmla="*/ 353108 w 857254"/>
                <a:gd name="connsiteY8" fmla="*/ 638851 h 666750"/>
                <a:gd name="connsiteX9" fmla="*/ 829359 w 857254"/>
                <a:gd name="connsiteY9" fmla="*/ 162601 h 666750"/>
                <a:gd name="connsiteX10" fmla="*/ 829359 w 857254"/>
                <a:gd name="connsiteY10" fmla="*/ 27889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7254" h="666750" fill="none" extrusionOk="0">
                  <a:moveTo>
                    <a:pt x="829359" y="27889"/>
                  </a:moveTo>
                  <a:cubicBezTo>
                    <a:pt x="793649" y="-18030"/>
                    <a:pt x="727919" y="-6150"/>
                    <a:pt x="694647" y="27889"/>
                  </a:cubicBezTo>
                  <a:cubicBezTo>
                    <a:pt x="552022" y="214103"/>
                    <a:pt x="386566" y="372386"/>
                    <a:pt x="285757" y="436788"/>
                  </a:cubicBezTo>
                  <a:cubicBezTo>
                    <a:pt x="258305" y="404553"/>
                    <a:pt x="207240" y="370171"/>
                    <a:pt x="162608" y="313649"/>
                  </a:cubicBezTo>
                  <a:cubicBezTo>
                    <a:pt x="116221" y="273666"/>
                    <a:pt x="71365" y="281475"/>
                    <a:pt x="27896" y="313649"/>
                  </a:cubicBezTo>
                  <a:cubicBezTo>
                    <a:pt x="-9924" y="350426"/>
                    <a:pt x="-2189" y="417673"/>
                    <a:pt x="27896" y="448361"/>
                  </a:cubicBezTo>
                  <a:cubicBezTo>
                    <a:pt x="100648" y="505972"/>
                    <a:pt x="188920" y="585685"/>
                    <a:pt x="218396" y="638861"/>
                  </a:cubicBezTo>
                  <a:cubicBezTo>
                    <a:pt x="234102" y="658235"/>
                    <a:pt x="264593" y="667585"/>
                    <a:pt x="285757" y="666750"/>
                  </a:cubicBezTo>
                  <a:cubicBezTo>
                    <a:pt x="310423" y="671546"/>
                    <a:pt x="333830" y="661026"/>
                    <a:pt x="353108" y="638851"/>
                  </a:cubicBezTo>
                  <a:cubicBezTo>
                    <a:pt x="421456" y="606541"/>
                    <a:pt x="690069" y="327254"/>
                    <a:pt x="829359" y="162601"/>
                  </a:cubicBezTo>
                  <a:cubicBezTo>
                    <a:pt x="866146" y="126761"/>
                    <a:pt x="875613" y="66837"/>
                    <a:pt x="829359" y="27889"/>
                  </a:cubicBezTo>
                  <a:close/>
                </a:path>
                <a:path w="857254" h="666750" stroke="0" extrusionOk="0">
                  <a:moveTo>
                    <a:pt x="829359" y="27889"/>
                  </a:moveTo>
                  <a:cubicBezTo>
                    <a:pt x="786598" y="-12541"/>
                    <a:pt x="732615" y="-11170"/>
                    <a:pt x="694647" y="27889"/>
                  </a:cubicBezTo>
                  <a:cubicBezTo>
                    <a:pt x="506830" y="205418"/>
                    <a:pt x="367586" y="372695"/>
                    <a:pt x="285757" y="436788"/>
                  </a:cubicBezTo>
                  <a:cubicBezTo>
                    <a:pt x="251216" y="387530"/>
                    <a:pt x="215052" y="354106"/>
                    <a:pt x="162608" y="313649"/>
                  </a:cubicBezTo>
                  <a:cubicBezTo>
                    <a:pt x="131788" y="277194"/>
                    <a:pt x="68340" y="278477"/>
                    <a:pt x="27896" y="313649"/>
                  </a:cubicBezTo>
                  <a:cubicBezTo>
                    <a:pt x="-15531" y="354128"/>
                    <a:pt x="-12004" y="411301"/>
                    <a:pt x="27896" y="448361"/>
                  </a:cubicBezTo>
                  <a:cubicBezTo>
                    <a:pt x="114229" y="542000"/>
                    <a:pt x="194595" y="585739"/>
                    <a:pt x="218396" y="638861"/>
                  </a:cubicBezTo>
                  <a:cubicBezTo>
                    <a:pt x="241213" y="658493"/>
                    <a:pt x="260818" y="667685"/>
                    <a:pt x="285757" y="666750"/>
                  </a:cubicBezTo>
                  <a:cubicBezTo>
                    <a:pt x="311600" y="671109"/>
                    <a:pt x="335860" y="657540"/>
                    <a:pt x="353108" y="638851"/>
                  </a:cubicBezTo>
                  <a:cubicBezTo>
                    <a:pt x="476996" y="477275"/>
                    <a:pt x="632483" y="365490"/>
                    <a:pt x="829359" y="162601"/>
                  </a:cubicBezTo>
                  <a:cubicBezTo>
                    <a:pt x="872704" y="120687"/>
                    <a:pt x="868389" y="65243"/>
                    <a:pt x="829359" y="2788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1143564089">
                    <a:custGeom>
                      <a:avLst/>
                      <a:gdLst>
                        <a:gd name="connsiteX0" fmla="*/ 829359 w 857254"/>
                        <a:gd name="connsiteY0" fmla="*/ 27889 h 666750"/>
                        <a:gd name="connsiteX1" fmla="*/ 694647 w 857254"/>
                        <a:gd name="connsiteY1" fmla="*/ 27889 h 666750"/>
                        <a:gd name="connsiteX2" fmla="*/ 285757 w 857254"/>
                        <a:gd name="connsiteY2" fmla="*/ 436788 h 666750"/>
                        <a:gd name="connsiteX3" fmla="*/ 162608 w 857254"/>
                        <a:gd name="connsiteY3" fmla="*/ 313649 h 666750"/>
                        <a:gd name="connsiteX4" fmla="*/ 27896 w 857254"/>
                        <a:gd name="connsiteY4" fmla="*/ 313649 h 666750"/>
                        <a:gd name="connsiteX5" fmla="*/ 27896 w 857254"/>
                        <a:gd name="connsiteY5" fmla="*/ 448361 h 666750"/>
                        <a:gd name="connsiteX6" fmla="*/ 218396 w 857254"/>
                        <a:gd name="connsiteY6" fmla="*/ 638861 h 666750"/>
                        <a:gd name="connsiteX7" fmla="*/ 285757 w 857254"/>
                        <a:gd name="connsiteY7" fmla="*/ 666750 h 666750"/>
                        <a:gd name="connsiteX8" fmla="*/ 353108 w 857254"/>
                        <a:gd name="connsiteY8" fmla="*/ 638851 h 666750"/>
                        <a:gd name="connsiteX9" fmla="*/ 829359 w 857254"/>
                        <a:gd name="connsiteY9" fmla="*/ 162601 h 666750"/>
                        <a:gd name="connsiteX10" fmla="*/ 829359 w 857254"/>
                        <a:gd name="connsiteY10" fmla="*/ 27889 h 6667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57254" h="666750">
                          <a:moveTo>
                            <a:pt x="829359" y="27889"/>
                          </a:moveTo>
                          <a:cubicBezTo>
                            <a:pt x="792154" y="-9296"/>
                            <a:pt x="731861" y="-9296"/>
                            <a:pt x="694647" y="27889"/>
                          </a:cubicBezTo>
                          <a:lnTo>
                            <a:pt x="285757" y="436788"/>
                          </a:lnTo>
                          <a:lnTo>
                            <a:pt x="162608" y="313649"/>
                          </a:lnTo>
                          <a:cubicBezTo>
                            <a:pt x="125404" y="276463"/>
                            <a:pt x="65111" y="276463"/>
                            <a:pt x="27896" y="313649"/>
                          </a:cubicBezTo>
                          <a:cubicBezTo>
                            <a:pt x="-9299" y="350844"/>
                            <a:pt x="-9299" y="411156"/>
                            <a:pt x="27896" y="448361"/>
                          </a:cubicBezTo>
                          <a:lnTo>
                            <a:pt x="218396" y="638861"/>
                          </a:lnTo>
                          <a:cubicBezTo>
                            <a:pt x="237008" y="657444"/>
                            <a:pt x="261373" y="666750"/>
                            <a:pt x="285757" y="666750"/>
                          </a:cubicBezTo>
                          <a:cubicBezTo>
                            <a:pt x="310141" y="666750"/>
                            <a:pt x="334506" y="657444"/>
                            <a:pt x="353108" y="638851"/>
                          </a:cubicBezTo>
                          <a:lnTo>
                            <a:pt x="829359" y="162601"/>
                          </a:lnTo>
                          <a:cubicBezTo>
                            <a:pt x="866554" y="125406"/>
                            <a:pt x="866554" y="65094"/>
                            <a:pt x="829359" y="27889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</p:grpSp>
      <p:sp>
        <p:nvSpPr>
          <p:cNvPr id="146" name="Rectangle 145">
            <a:extLst>
              <a:ext uri="{FF2B5EF4-FFF2-40B4-BE49-F238E27FC236}">
                <a16:creationId xmlns:a16="http://schemas.microsoft.com/office/drawing/2014/main" id="{3832C8F9-4AE4-475B-A4E6-3140F1AFC851}"/>
              </a:ext>
            </a:extLst>
          </p:cNvPr>
          <p:cNvSpPr/>
          <p:nvPr/>
        </p:nvSpPr>
        <p:spPr>
          <a:xfrm>
            <a:off x="664864" y="3339714"/>
            <a:ext cx="1871234" cy="12346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/>
            </a:endParaRPr>
          </a:p>
        </p:txBody>
      </p:sp>
      <p:grpSp>
        <p:nvGrpSpPr>
          <p:cNvPr id="150" name="Graphic 609">
            <a:extLst>
              <a:ext uri="{FF2B5EF4-FFF2-40B4-BE49-F238E27FC236}">
                <a16:creationId xmlns:a16="http://schemas.microsoft.com/office/drawing/2014/main" id="{A7FF3EAC-0AF0-4835-BBAF-987292B86443}"/>
              </a:ext>
            </a:extLst>
          </p:cNvPr>
          <p:cNvGrpSpPr/>
          <p:nvPr/>
        </p:nvGrpSpPr>
        <p:grpSpPr>
          <a:xfrm>
            <a:off x="769806" y="3690810"/>
            <a:ext cx="532429" cy="532429"/>
            <a:chOff x="2666206" y="0"/>
            <a:chExt cx="6858000" cy="6858000"/>
          </a:xfrm>
          <a:solidFill>
            <a:schemeClr val="bg1"/>
          </a:solidFill>
        </p:grpSpPr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3FD0BAA2-42FB-485D-892F-3B3B14E5516D}"/>
                </a:ext>
              </a:extLst>
            </p:cNvPr>
            <p:cNvSpPr/>
            <p:nvPr/>
          </p:nvSpPr>
          <p:spPr>
            <a:xfrm>
              <a:off x="3410392" y="423633"/>
              <a:ext cx="1275728" cy="1275723"/>
            </a:xfrm>
            <a:custGeom>
              <a:avLst/>
              <a:gdLst>
                <a:gd name="connsiteX0" fmla="*/ 637860 w 1275728"/>
                <a:gd name="connsiteY0" fmla="*/ 1275723 h 1275723"/>
                <a:gd name="connsiteX1" fmla="*/ 1275729 w 1275728"/>
                <a:gd name="connsiteY1" fmla="*/ 637862 h 1275723"/>
                <a:gd name="connsiteX2" fmla="*/ 637860 w 1275728"/>
                <a:gd name="connsiteY2" fmla="*/ 0 h 1275723"/>
                <a:gd name="connsiteX3" fmla="*/ 0 w 1275728"/>
                <a:gd name="connsiteY3" fmla="*/ 637862 h 1275723"/>
                <a:gd name="connsiteX4" fmla="*/ 637860 w 1275728"/>
                <a:gd name="connsiteY4" fmla="*/ 1275723 h 1275723"/>
                <a:gd name="connsiteX5" fmla="*/ 637860 w 1275728"/>
                <a:gd name="connsiteY5" fmla="*/ 212648 h 1275723"/>
                <a:gd name="connsiteX6" fmla="*/ 1063120 w 1275728"/>
                <a:gd name="connsiteY6" fmla="*/ 637862 h 1275723"/>
                <a:gd name="connsiteX7" fmla="*/ 637860 w 1275728"/>
                <a:gd name="connsiteY7" fmla="*/ 1063115 h 1275723"/>
                <a:gd name="connsiteX8" fmla="*/ 212608 w 1275728"/>
                <a:gd name="connsiteY8" fmla="*/ 637862 h 1275723"/>
                <a:gd name="connsiteX9" fmla="*/ 637860 w 1275728"/>
                <a:gd name="connsiteY9" fmla="*/ 212648 h 1275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5728" h="1275723" fill="none" extrusionOk="0">
                  <a:moveTo>
                    <a:pt x="637860" y="1275723"/>
                  </a:moveTo>
                  <a:cubicBezTo>
                    <a:pt x="970054" y="1299350"/>
                    <a:pt x="1263065" y="981974"/>
                    <a:pt x="1275729" y="637862"/>
                  </a:cubicBezTo>
                  <a:cubicBezTo>
                    <a:pt x="1240392" y="265787"/>
                    <a:pt x="1011517" y="25550"/>
                    <a:pt x="637860" y="0"/>
                  </a:cubicBezTo>
                  <a:cubicBezTo>
                    <a:pt x="303372" y="-6530"/>
                    <a:pt x="31127" y="284538"/>
                    <a:pt x="0" y="637862"/>
                  </a:cubicBezTo>
                  <a:cubicBezTo>
                    <a:pt x="-18657" y="958397"/>
                    <a:pt x="281843" y="1290566"/>
                    <a:pt x="637860" y="1275723"/>
                  </a:cubicBezTo>
                  <a:close/>
                  <a:moveTo>
                    <a:pt x="637860" y="212648"/>
                  </a:moveTo>
                  <a:cubicBezTo>
                    <a:pt x="888850" y="188312"/>
                    <a:pt x="1038274" y="386397"/>
                    <a:pt x="1063120" y="637862"/>
                  </a:cubicBezTo>
                  <a:cubicBezTo>
                    <a:pt x="1080863" y="855237"/>
                    <a:pt x="879139" y="1028022"/>
                    <a:pt x="637860" y="1063115"/>
                  </a:cubicBezTo>
                  <a:cubicBezTo>
                    <a:pt x="393871" y="1089424"/>
                    <a:pt x="207583" y="831119"/>
                    <a:pt x="212608" y="637862"/>
                  </a:cubicBezTo>
                  <a:cubicBezTo>
                    <a:pt x="227996" y="405888"/>
                    <a:pt x="420673" y="188643"/>
                    <a:pt x="637860" y="212648"/>
                  </a:cubicBezTo>
                  <a:close/>
                </a:path>
                <a:path w="1275728" h="1275723" stroke="0" extrusionOk="0">
                  <a:moveTo>
                    <a:pt x="637860" y="1275723"/>
                  </a:moveTo>
                  <a:cubicBezTo>
                    <a:pt x="974385" y="1321447"/>
                    <a:pt x="1277614" y="1007878"/>
                    <a:pt x="1275729" y="637862"/>
                  </a:cubicBezTo>
                  <a:cubicBezTo>
                    <a:pt x="1266609" y="276914"/>
                    <a:pt x="987568" y="-4276"/>
                    <a:pt x="637860" y="0"/>
                  </a:cubicBezTo>
                  <a:cubicBezTo>
                    <a:pt x="288929" y="-5537"/>
                    <a:pt x="-30320" y="312885"/>
                    <a:pt x="0" y="637862"/>
                  </a:cubicBezTo>
                  <a:cubicBezTo>
                    <a:pt x="-37363" y="930857"/>
                    <a:pt x="283528" y="1293822"/>
                    <a:pt x="637860" y="1275723"/>
                  </a:cubicBezTo>
                  <a:close/>
                  <a:moveTo>
                    <a:pt x="637860" y="212648"/>
                  </a:moveTo>
                  <a:cubicBezTo>
                    <a:pt x="857239" y="172476"/>
                    <a:pt x="1064575" y="399327"/>
                    <a:pt x="1063120" y="637862"/>
                  </a:cubicBezTo>
                  <a:cubicBezTo>
                    <a:pt x="1072365" y="861503"/>
                    <a:pt x="865702" y="1109433"/>
                    <a:pt x="637860" y="1063115"/>
                  </a:cubicBezTo>
                  <a:cubicBezTo>
                    <a:pt x="389922" y="1067206"/>
                    <a:pt x="232064" y="909541"/>
                    <a:pt x="212608" y="637862"/>
                  </a:cubicBezTo>
                  <a:cubicBezTo>
                    <a:pt x="213256" y="438098"/>
                    <a:pt x="380182" y="195398"/>
                    <a:pt x="637860" y="21264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3208578127">
                    <a:custGeom>
                      <a:avLst/>
                      <a:gdLst>
                        <a:gd name="connsiteX0" fmla="*/ 637860 w 1275728"/>
                        <a:gd name="connsiteY0" fmla="*/ 1275723 h 1275723"/>
                        <a:gd name="connsiteX1" fmla="*/ 1275729 w 1275728"/>
                        <a:gd name="connsiteY1" fmla="*/ 637862 h 1275723"/>
                        <a:gd name="connsiteX2" fmla="*/ 637860 w 1275728"/>
                        <a:gd name="connsiteY2" fmla="*/ 0 h 1275723"/>
                        <a:gd name="connsiteX3" fmla="*/ 0 w 1275728"/>
                        <a:gd name="connsiteY3" fmla="*/ 637862 h 1275723"/>
                        <a:gd name="connsiteX4" fmla="*/ 637860 w 1275728"/>
                        <a:gd name="connsiteY4" fmla="*/ 1275723 h 1275723"/>
                        <a:gd name="connsiteX5" fmla="*/ 637860 w 1275728"/>
                        <a:gd name="connsiteY5" fmla="*/ 212648 h 1275723"/>
                        <a:gd name="connsiteX6" fmla="*/ 1063120 w 1275728"/>
                        <a:gd name="connsiteY6" fmla="*/ 637862 h 1275723"/>
                        <a:gd name="connsiteX7" fmla="*/ 637860 w 1275728"/>
                        <a:gd name="connsiteY7" fmla="*/ 1063115 h 1275723"/>
                        <a:gd name="connsiteX8" fmla="*/ 212608 w 1275728"/>
                        <a:gd name="connsiteY8" fmla="*/ 637862 h 1275723"/>
                        <a:gd name="connsiteX9" fmla="*/ 637860 w 1275728"/>
                        <a:gd name="connsiteY9" fmla="*/ 212648 h 127572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1275728" h="1275723">
                          <a:moveTo>
                            <a:pt x="637860" y="1275723"/>
                          </a:moveTo>
                          <a:cubicBezTo>
                            <a:pt x="990110" y="1275723"/>
                            <a:pt x="1275729" y="990201"/>
                            <a:pt x="1275729" y="637862"/>
                          </a:cubicBezTo>
                          <a:cubicBezTo>
                            <a:pt x="1275729" y="285611"/>
                            <a:pt x="990110" y="0"/>
                            <a:pt x="637860" y="0"/>
                          </a:cubicBezTo>
                          <a:cubicBezTo>
                            <a:pt x="285611" y="0"/>
                            <a:pt x="0" y="285611"/>
                            <a:pt x="0" y="637862"/>
                          </a:cubicBezTo>
                          <a:cubicBezTo>
                            <a:pt x="375" y="990030"/>
                            <a:pt x="285694" y="1275436"/>
                            <a:pt x="637860" y="1275723"/>
                          </a:cubicBezTo>
                          <a:close/>
                          <a:moveTo>
                            <a:pt x="637860" y="212648"/>
                          </a:moveTo>
                          <a:cubicBezTo>
                            <a:pt x="872683" y="212648"/>
                            <a:pt x="1063120" y="403042"/>
                            <a:pt x="1063120" y="637862"/>
                          </a:cubicBezTo>
                          <a:cubicBezTo>
                            <a:pt x="1063120" y="872763"/>
                            <a:pt x="872683" y="1063115"/>
                            <a:pt x="637860" y="1063115"/>
                          </a:cubicBezTo>
                          <a:cubicBezTo>
                            <a:pt x="403005" y="1063115"/>
                            <a:pt x="212608" y="872763"/>
                            <a:pt x="212608" y="637862"/>
                          </a:cubicBezTo>
                          <a:cubicBezTo>
                            <a:pt x="212608" y="403042"/>
                            <a:pt x="403005" y="212648"/>
                            <a:pt x="637860" y="212648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087BE634-7AB5-45C7-8D82-ECBC7A7CBB3B}"/>
                </a:ext>
              </a:extLst>
            </p:cNvPr>
            <p:cNvSpPr/>
            <p:nvPr/>
          </p:nvSpPr>
          <p:spPr>
            <a:xfrm>
              <a:off x="3941932" y="4357130"/>
              <a:ext cx="212651" cy="2019915"/>
            </a:xfrm>
            <a:custGeom>
              <a:avLst/>
              <a:gdLst>
                <a:gd name="connsiteX0" fmla="*/ 0 w 212651"/>
                <a:gd name="connsiteY0" fmla="*/ 0 h 2019915"/>
                <a:gd name="connsiteX1" fmla="*/ 212651 w 212651"/>
                <a:gd name="connsiteY1" fmla="*/ 0 h 2019915"/>
                <a:gd name="connsiteX2" fmla="*/ 212651 w 212651"/>
                <a:gd name="connsiteY2" fmla="*/ 2019915 h 2019915"/>
                <a:gd name="connsiteX3" fmla="*/ 0 w 212651"/>
                <a:gd name="connsiteY3" fmla="*/ 2019915 h 2019915"/>
                <a:gd name="connsiteX4" fmla="*/ 0 w 212651"/>
                <a:gd name="connsiteY4" fmla="*/ 0 h 201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2651" h="2019915" fill="none" extrusionOk="0">
                  <a:moveTo>
                    <a:pt x="0" y="0"/>
                  </a:moveTo>
                  <a:cubicBezTo>
                    <a:pt x="88460" y="2771"/>
                    <a:pt x="143402" y="18944"/>
                    <a:pt x="212651" y="0"/>
                  </a:cubicBezTo>
                  <a:cubicBezTo>
                    <a:pt x="242736" y="286152"/>
                    <a:pt x="62915" y="1114076"/>
                    <a:pt x="212651" y="2019915"/>
                  </a:cubicBezTo>
                  <a:cubicBezTo>
                    <a:pt x="177527" y="2025315"/>
                    <a:pt x="37552" y="2013676"/>
                    <a:pt x="0" y="2019915"/>
                  </a:cubicBezTo>
                  <a:cubicBezTo>
                    <a:pt x="-78295" y="1757380"/>
                    <a:pt x="86552" y="359346"/>
                    <a:pt x="0" y="0"/>
                  </a:cubicBezTo>
                  <a:close/>
                </a:path>
                <a:path w="212651" h="2019915" stroke="0" extrusionOk="0">
                  <a:moveTo>
                    <a:pt x="0" y="0"/>
                  </a:moveTo>
                  <a:cubicBezTo>
                    <a:pt x="25307" y="8074"/>
                    <a:pt x="152581" y="7065"/>
                    <a:pt x="212651" y="0"/>
                  </a:cubicBezTo>
                  <a:cubicBezTo>
                    <a:pt x="71031" y="479791"/>
                    <a:pt x="341765" y="1232922"/>
                    <a:pt x="212651" y="2019915"/>
                  </a:cubicBezTo>
                  <a:cubicBezTo>
                    <a:pt x="123385" y="2021107"/>
                    <a:pt x="66495" y="2002471"/>
                    <a:pt x="0" y="2019915"/>
                  </a:cubicBezTo>
                  <a:cubicBezTo>
                    <a:pt x="-168908" y="1637208"/>
                    <a:pt x="163216" y="793560"/>
                    <a:pt x="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213528830">
                    <a:custGeom>
                      <a:avLst/>
                      <a:gdLst>
                        <a:gd name="connsiteX0" fmla="*/ 0 w 212651"/>
                        <a:gd name="connsiteY0" fmla="*/ 0 h 2019915"/>
                        <a:gd name="connsiteX1" fmla="*/ 212651 w 212651"/>
                        <a:gd name="connsiteY1" fmla="*/ 0 h 2019915"/>
                        <a:gd name="connsiteX2" fmla="*/ 212651 w 212651"/>
                        <a:gd name="connsiteY2" fmla="*/ 2019915 h 2019915"/>
                        <a:gd name="connsiteX3" fmla="*/ 0 w 212651"/>
                        <a:gd name="connsiteY3" fmla="*/ 2019915 h 201991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12651" h="2019915">
                          <a:moveTo>
                            <a:pt x="0" y="0"/>
                          </a:moveTo>
                          <a:lnTo>
                            <a:pt x="212651" y="0"/>
                          </a:lnTo>
                          <a:lnTo>
                            <a:pt x="212651" y="2019915"/>
                          </a:lnTo>
                          <a:lnTo>
                            <a:pt x="0" y="2019915"/>
                          </a:ln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4BB39500-B85F-435F-BCBE-79AE476D189F}"/>
                </a:ext>
              </a:extLst>
            </p:cNvPr>
            <p:cNvSpPr/>
            <p:nvPr/>
          </p:nvSpPr>
          <p:spPr>
            <a:xfrm>
              <a:off x="2666206" y="-1622"/>
              <a:ext cx="6429375" cy="6378667"/>
            </a:xfrm>
            <a:custGeom>
              <a:avLst/>
              <a:gdLst>
                <a:gd name="connsiteX0" fmla="*/ 6429375 w 6429375"/>
                <a:gd name="connsiteY0" fmla="*/ 744187 h 6378667"/>
                <a:gd name="connsiteX1" fmla="*/ 5209226 w 6429375"/>
                <a:gd name="connsiteY1" fmla="*/ 744187 h 6378667"/>
                <a:gd name="connsiteX2" fmla="*/ 5209226 w 6429375"/>
                <a:gd name="connsiteY2" fmla="*/ 318932 h 6378667"/>
                <a:gd name="connsiteX3" fmla="*/ 3614571 w 6429375"/>
                <a:gd name="connsiteY3" fmla="*/ 318932 h 6378667"/>
                <a:gd name="connsiteX4" fmla="*/ 3614571 w 6429375"/>
                <a:gd name="connsiteY4" fmla="*/ 265811 h 6378667"/>
                <a:gd name="connsiteX5" fmla="*/ 3348802 w 6429375"/>
                <a:gd name="connsiteY5" fmla="*/ 0 h 6378667"/>
                <a:gd name="connsiteX6" fmla="*/ 3083033 w 6429375"/>
                <a:gd name="connsiteY6" fmla="*/ 265811 h 6378667"/>
                <a:gd name="connsiteX7" fmla="*/ 3083033 w 6429375"/>
                <a:gd name="connsiteY7" fmla="*/ 1913631 h 6378667"/>
                <a:gd name="connsiteX8" fmla="*/ 744187 w 6429375"/>
                <a:gd name="connsiteY8" fmla="*/ 1913631 h 6378667"/>
                <a:gd name="connsiteX9" fmla="*/ 0 w 6429375"/>
                <a:gd name="connsiteY9" fmla="*/ 2657777 h 6378667"/>
                <a:gd name="connsiteX10" fmla="*/ 0 w 6429375"/>
                <a:gd name="connsiteY10" fmla="*/ 3720895 h 6378667"/>
                <a:gd name="connsiteX11" fmla="*/ 531539 w 6429375"/>
                <a:gd name="connsiteY11" fmla="*/ 4252475 h 6378667"/>
                <a:gd name="connsiteX12" fmla="*/ 637862 w 6429375"/>
                <a:gd name="connsiteY12" fmla="*/ 4252475 h 6378667"/>
                <a:gd name="connsiteX13" fmla="*/ 637862 w 6429375"/>
                <a:gd name="connsiteY13" fmla="*/ 6378668 h 6378667"/>
                <a:gd name="connsiteX14" fmla="*/ 850470 w 6429375"/>
                <a:gd name="connsiteY14" fmla="*/ 6378668 h 6378667"/>
                <a:gd name="connsiteX15" fmla="*/ 850470 w 6429375"/>
                <a:gd name="connsiteY15" fmla="*/ 2551489 h 6378667"/>
                <a:gd name="connsiteX16" fmla="*/ 637862 w 6429375"/>
                <a:gd name="connsiteY16" fmla="*/ 2551489 h 6378667"/>
                <a:gd name="connsiteX17" fmla="*/ 637862 w 6429375"/>
                <a:gd name="connsiteY17" fmla="*/ 4039824 h 6378667"/>
                <a:gd name="connsiteX18" fmla="*/ 531539 w 6429375"/>
                <a:gd name="connsiteY18" fmla="*/ 4039824 h 6378667"/>
                <a:gd name="connsiteX19" fmla="*/ 212607 w 6429375"/>
                <a:gd name="connsiteY19" fmla="*/ 3720895 h 6378667"/>
                <a:gd name="connsiteX20" fmla="*/ 212607 w 6429375"/>
                <a:gd name="connsiteY20" fmla="*/ 2657777 h 6378667"/>
                <a:gd name="connsiteX21" fmla="*/ 744187 w 6429375"/>
                <a:gd name="connsiteY21" fmla="*/ 2126239 h 6378667"/>
                <a:gd name="connsiteX22" fmla="*/ 3614571 w 6429375"/>
                <a:gd name="connsiteY22" fmla="*/ 2126239 h 6378667"/>
                <a:gd name="connsiteX23" fmla="*/ 3614571 w 6429375"/>
                <a:gd name="connsiteY23" fmla="*/ 2232560 h 6378667"/>
                <a:gd name="connsiteX24" fmla="*/ 3295642 w 6429375"/>
                <a:gd name="connsiteY24" fmla="*/ 2551489 h 6378667"/>
                <a:gd name="connsiteX25" fmla="*/ 1913584 w 6429375"/>
                <a:gd name="connsiteY25" fmla="*/ 2551489 h 6378667"/>
                <a:gd name="connsiteX26" fmla="*/ 1913584 w 6429375"/>
                <a:gd name="connsiteY26" fmla="*/ 6378668 h 6378667"/>
                <a:gd name="connsiteX27" fmla="*/ 2126236 w 6429375"/>
                <a:gd name="connsiteY27" fmla="*/ 6378668 h 6378667"/>
                <a:gd name="connsiteX28" fmla="*/ 2126236 w 6429375"/>
                <a:gd name="connsiteY28" fmla="*/ 2764097 h 6378667"/>
                <a:gd name="connsiteX29" fmla="*/ 3083033 w 6429375"/>
                <a:gd name="connsiteY29" fmla="*/ 2764097 h 6378667"/>
                <a:gd name="connsiteX30" fmla="*/ 3083033 w 6429375"/>
                <a:gd name="connsiteY30" fmla="*/ 6378668 h 6378667"/>
                <a:gd name="connsiteX31" fmla="*/ 3614571 w 6429375"/>
                <a:gd name="connsiteY31" fmla="*/ 6378668 h 6378667"/>
                <a:gd name="connsiteX32" fmla="*/ 3614571 w 6429375"/>
                <a:gd name="connsiteY32" fmla="*/ 2655029 h 6378667"/>
                <a:gd name="connsiteX33" fmla="*/ 3827222 w 6429375"/>
                <a:gd name="connsiteY33" fmla="*/ 2232560 h 6378667"/>
                <a:gd name="connsiteX34" fmla="*/ 3827222 w 6429375"/>
                <a:gd name="connsiteY34" fmla="*/ 1913631 h 6378667"/>
                <a:gd name="connsiteX35" fmla="*/ 3614571 w 6429375"/>
                <a:gd name="connsiteY35" fmla="*/ 1913631 h 6378667"/>
                <a:gd name="connsiteX36" fmla="*/ 3614571 w 6429375"/>
                <a:gd name="connsiteY36" fmla="*/ 1594702 h 6378667"/>
                <a:gd name="connsiteX37" fmla="*/ 4677689 w 6429375"/>
                <a:gd name="connsiteY37" fmla="*/ 1594702 h 6378667"/>
                <a:gd name="connsiteX38" fmla="*/ 4677689 w 6429375"/>
                <a:gd name="connsiteY38" fmla="*/ 2019908 h 6378667"/>
                <a:gd name="connsiteX39" fmla="*/ 6429375 w 6429375"/>
                <a:gd name="connsiteY39" fmla="*/ 2019908 h 6378667"/>
                <a:gd name="connsiteX40" fmla="*/ 6174256 w 6429375"/>
                <a:gd name="connsiteY40" fmla="*/ 1382050 h 6378667"/>
                <a:gd name="connsiteX41" fmla="*/ 6429375 w 6429375"/>
                <a:gd name="connsiteY41" fmla="*/ 744187 h 6378667"/>
                <a:gd name="connsiteX42" fmla="*/ 3401962 w 6429375"/>
                <a:gd name="connsiteY42" fmla="*/ 6166059 h 6378667"/>
                <a:gd name="connsiteX43" fmla="*/ 3295642 w 6429375"/>
                <a:gd name="connsiteY43" fmla="*/ 6166059 h 6378667"/>
                <a:gd name="connsiteX44" fmla="*/ 3295642 w 6429375"/>
                <a:gd name="connsiteY44" fmla="*/ 2764097 h 6378667"/>
                <a:gd name="connsiteX45" fmla="*/ 3401962 w 6429375"/>
                <a:gd name="connsiteY45" fmla="*/ 2753533 h 6378667"/>
                <a:gd name="connsiteX46" fmla="*/ 3401962 w 6429375"/>
                <a:gd name="connsiteY46" fmla="*/ 6166059 h 6378667"/>
                <a:gd name="connsiteX47" fmla="*/ 3401962 w 6429375"/>
                <a:gd name="connsiteY47" fmla="*/ 1913631 h 6378667"/>
                <a:gd name="connsiteX48" fmla="*/ 3295642 w 6429375"/>
                <a:gd name="connsiteY48" fmla="*/ 1913631 h 6378667"/>
                <a:gd name="connsiteX49" fmla="*/ 3295642 w 6429375"/>
                <a:gd name="connsiteY49" fmla="*/ 265811 h 6378667"/>
                <a:gd name="connsiteX50" fmla="*/ 3348802 w 6429375"/>
                <a:gd name="connsiteY50" fmla="*/ 212649 h 6378667"/>
                <a:gd name="connsiteX51" fmla="*/ 3401962 w 6429375"/>
                <a:gd name="connsiteY51" fmla="*/ 265811 h 6378667"/>
                <a:gd name="connsiteX52" fmla="*/ 3401962 w 6429375"/>
                <a:gd name="connsiteY52" fmla="*/ 1913631 h 6378667"/>
                <a:gd name="connsiteX53" fmla="*/ 3614571 w 6429375"/>
                <a:gd name="connsiteY53" fmla="*/ 531580 h 6378667"/>
                <a:gd name="connsiteX54" fmla="*/ 4996618 w 6429375"/>
                <a:gd name="connsiteY54" fmla="*/ 531580 h 6378667"/>
                <a:gd name="connsiteX55" fmla="*/ 4996618 w 6429375"/>
                <a:gd name="connsiteY55" fmla="*/ 1382050 h 6378667"/>
                <a:gd name="connsiteX56" fmla="*/ 3614571 w 6429375"/>
                <a:gd name="connsiteY56" fmla="*/ 1382050 h 6378667"/>
                <a:gd name="connsiteX57" fmla="*/ 3614571 w 6429375"/>
                <a:gd name="connsiteY57" fmla="*/ 531580 h 6378667"/>
                <a:gd name="connsiteX58" fmla="*/ 6115313 w 6429375"/>
                <a:gd name="connsiteY58" fmla="*/ 1807310 h 6378667"/>
                <a:gd name="connsiteX59" fmla="*/ 4890297 w 6429375"/>
                <a:gd name="connsiteY59" fmla="*/ 1807310 h 6378667"/>
                <a:gd name="connsiteX60" fmla="*/ 4890297 w 6429375"/>
                <a:gd name="connsiteY60" fmla="*/ 1594702 h 6378667"/>
                <a:gd name="connsiteX61" fmla="*/ 5209226 w 6429375"/>
                <a:gd name="connsiteY61" fmla="*/ 1594702 h 6378667"/>
                <a:gd name="connsiteX62" fmla="*/ 5209226 w 6429375"/>
                <a:gd name="connsiteY62" fmla="*/ 956835 h 6378667"/>
                <a:gd name="connsiteX63" fmla="*/ 6115313 w 6429375"/>
                <a:gd name="connsiteY63" fmla="*/ 956835 h 6378667"/>
                <a:gd name="connsiteX64" fmla="*/ 5945215 w 6429375"/>
                <a:gd name="connsiteY64" fmla="*/ 1382050 h 6378667"/>
                <a:gd name="connsiteX65" fmla="*/ 6115313 w 6429375"/>
                <a:gd name="connsiteY65" fmla="*/ 1807310 h 6378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6429375" h="6378667" fill="none" extrusionOk="0">
                  <a:moveTo>
                    <a:pt x="6429375" y="744187"/>
                  </a:moveTo>
                  <a:cubicBezTo>
                    <a:pt x="6300727" y="713996"/>
                    <a:pt x="5438619" y="769435"/>
                    <a:pt x="5209226" y="744187"/>
                  </a:cubicBezTo>
                  <a:cubicBezTo>
                    <a:pt x="5242682" y="628028"/>
                    <a:pt x="5211822" y="486731"/>
                    <a:pt x="5209226" y="318932"/>
                  </a:cubicBezTo>
                  <a:cubicBezTo>
                    <a:pt x="4658510" y="312922"/>
                    <a:pt x="4223056" y="240131"/>
                    <a:pt x="3614571" y="318932"/>
                  </a:cubicBezTo>
                  <a:cubicBezTo>
                    <a:pt x="3617367" y="302991"/>
                    <a:pt x="3617801" y="282847"/>
                    <a:pt x="3614571" y="265811"/>
                  </a:cubicBezTo>
                  <a:cubicBezTo>
                    <a:pt x="3636079" y="110739"/>
                    <a:pt x="3476826" y="2533"/>
                    <a:pt x="3348802" y="0"/>
                  </a:cubicBezTo>
                  <a:cubicBezTo>
                    <a:pt x="3201251" y="-6013"/>
                    <a:pt x="3079404" y="90917"/>
                    <a:pt x="3083033" y="265811"/>
                  </a:cubicBezTo>
                  <a:cubicBezTo>
                    <a:pt x="3070783" y="539512"/>
                    <a:pt x="2955593" y="1494570"/>
                    <a:pt x="3083033" y="1913631"/>
                  </a:cubicBezTo>
                  <a:cubicBezTo>
                    <a:pt x="1992497" y="1899285"/>
                    <a:pt x="1785637" y="1763029"/>
                    <a:pt x="744187" y="1913631"/>
                  </a:cubicBezTo>
                  <a:cubicBezTo>
                    <a:pt x="326474" y="1927321"/>
                    <a:pt x="-18084" y="2314610"/>
                    <a:pt x="0" y="2657777"/>
                  </a:cubicBezTo>
                  <a:cubicBezTo>
                    <a:pt x="-65053" y="3027242"/>
                    <a:pt x="-13642" y="3208335"/>
                    <a:pt x="0" y="3720895"/>
                  </a:cubicBezTo>
                  <a:cubicBezTo>
                    <a:pt x="-52747" y="3991949"/>
                    <a:pt x="224961" y="4246603"/>
                    <a:pt x="531539" y="4252475"/>
                  </a:cubicBezTo>
                  <a:cubicBezTo>
                    <a:pt x="580889" y="4253310"/>
                    <a:pt x="587821" y="4257569"/>
                    <a:pt x="637862" y="4252475"/>
                  </a:cubicBezTo>
                  <a:cubicBezTo>
                    <a:pt x="529272" y="5216135"/>
                    <a:pt x="760972" y="5978082"/>
                    <a:pt x="637862" y="6378668"/>
                  </a:cubicBezTo>
                  <a:cubicBezTo>
                    <a:pt x="659795" y="6364768"/>
                    <a:pt x="756645" y="6389013"/>
                    <a:pt x="850470" y="6378668"/>
                  </a:cubicBezTo>
                  <a:cubicBezTo>
                    <a:pt x="822755" y="4725675"/>
                    <a:pt x="893718" y="4098150"/>
                    <a:pt x="850470" y="2551489"/>
                  </a:cubicBezTo>
                  <a:cubicBezTo>
                    <a:pt x="771472" y="2539710"/>
                    <a:pt x="744109" y="2537235"/>
                    <a:pt x="637862" y="2551489"/>
                  </a:cubicBezTo>
                  <a:cubicBezTo>
                    <a:pt x="601981" y="3089981"/>
                    <a:pt x="707084" y="3748350"/>
                    <a:pt x="637862" y="4039824"/>
                  </a:cubicBezTo>
                  <a:cubicBezTo>
                    <a:pt x="624221" y="4041517"/>
                    <a:pt x="568948" y="4034412"/>
                    <a:pt x="531539" y="4039824"/>
                  </a:cubicBezTo>
                  <a:cubicBezTo>
                    <a:pt x="375827" y="4045282"/>
                    <a:pt x="221100" y="3907958"/>
                    <a:pt x="212607" y="3720895"/>
                  </a:cubicBezTo>
                  <a:cubicBezTo>
                    <a:pt x="178477" y="3377663"/>
                    <a:pt x="136932" y="2912106"/>
                    <a:pt x="212607" y="2657777"/>
                  </a:cubicBezTo>
                  <a:cubicBezTo>
                    <a:pt x="228446" y="2331842"/>
                    <a:pt x="421069" y="2162039"/>
                    <a:pt x="744187" y="2126239"/>
                  </a:cubicBezTo>
                  <a:cubicBezTo>
                    <a:pt x="1196550" y="2228427"/>
                    <a:pt x="2640123" y="2091655"/>
                    <a:pt x="3614571" y="2126239"/>
                  </a:cubicBezTo>
                  <a:cubicBezTo>
                    <a:pt x="3608998" y="2146732"/>
                    <a:pt x="3617903" y="2192213"/>
                    <a:pt x="3614571" y="2232560"/>
                  </a:cubicBezTo>
                  <a:cubicBezTo>
                    <a:pt x="3611925" y="2409153"/>
                    <a:pt x="3471869" y="2548466"/>
                    <a:pt x="3295642" y="2551489"/>
                  </a:cubicBezTo>
                  <a:cubicBezTo>
                    <a:pt x="3006163" y="2594466"/>
                    <a:pt x="2590587" y="2556076"/>
                    <a:pt x="1913584" y="2551489"/>
                  </a:cubicBezTo>
                  <a:cubicBezTo>
                    <a:pt x="1986927" y="3489158"/>
                    <a:pt x="1776313" y="4750714"/>
                    <a:pt x="1913584" y="6378668"/>
                  </a:cubicBezTo>
                  <a:cubicBezTo>
                    <a:pt x="1945248" y="6375046"/>
                    <a:pt x="2081934" y="6363709"/>
                    <a:pt x="2126236" y="6378668"/>
                  </a:cubicBezTo>
                  <a:cubicBezTo>
                    <a:pt x="2030064" y="5119184"/>
                    <a:pt x="2114418" y="3527073"/>
                    <a:pt x="2126236" y="2764097"/>
                  </a:cubicBezTo>
                  <a:cubicBezTo>
                    <a:pt x="2438957" y="2764927"/>
                    <a:pt x="2975274" y="2749137"/>
                    <a:pt x="3083033" y="2764097"/>
                  </a:cubicBezTo>
                  <a:cubicBezTo>
                    <a:pt x="3038692" y="3422663"/>
                    <a:pt x="3150641" y="5616591"/>
                    <a:pt x="3083033" y="6378668"/>
                  </a:cubicBezTo>
                  <a:cubicBezTo>
                    <a:pt x="3193614" y="6349742"/>
                    <a:pt x="3506653" y="6340975"/>
                    <a:pt x="3614571" y="6378668"/>
                  </a:cubicBezTo>
                  <a:cubicBezTo>
                    <a:pt x="3705729" y="5729969"/>
                    <a:pt x="3489656" y="4368528"/>
                    <a:pt x="3614571" y="2655029"/>
                  </a:cubicBezTo>
                  <a:cubicBezTo>
                    <a:pt x="3755241" y="2564619"/>
                    <a:pt x="3826983" y="2401250"/>
                    <a:pt x="3827222" y="2232560"/>
                  </a:cubicBezTo>
                  <a:cubicBezTo>
                    <a:pt x="3832872" y="2151177"/>
                    <a:pt x="3846933" y="1992129"/>
                    <a:pt x="3827222" y="1913631"/>
                  </a:cubicBezTo>
                  <a:cubicBezTo>
                    <a:pt x="3786388" y="1908654"/>
                    <a:pt x="3658615" y="1896729"/>
                    <a:pt x="3614571" y="1913631"/>
                  </a:cubicBezTo>
                  <a:cubicBezTo>
                    <a:pt x="3612764" y="1859835"/>
                    <a:pt x="3598851" y="1730058"/>
                    <a:pt x="3614571" y="1594702"/>
                  </a:cubicBezTo>
                  <a:cubicBezTo>
                    <a:pt x="4052587" y="1545002"/>
                    <a:pt x="4177494" y="1662607"/>
                    <a:pt x="4677689" y="1594702"/>
                  </a:cubicBezTo>
                  <a:cubicBezTo>
                    <a:pt x="4653412" y="1731027"/>
                    <a:pt x="4666950" y="1856577"/>
                    <a:pt x="4677689" y="2019908"/>
                  </a:cubicBezTo>
                  <a:cubicBezTo>
                    <a:pt x="5526247" y="2075276"/>
                    <a:pt x="5687016" y="1968448"/>
                    <a:pt x="6429375" y="2019908"/>
                  </a:cubicBezTo>
                  <a:cubicBezTo>
                    <a:pt x="6277150" y="1789300"/>
                    <a:pt x="6224331" y="1631991"/>
                    <a:pt x="6174256" y="1382050"/>
                  </a:cubicBezTo>
                  <a:cubicBezTo>
                    <a:pt x="6272408" y="1156563"/>
                    <a:pt x="6376180" y="1036927"/>
                    <a:pt x="6429375" y="744187"/>
                  </a:cubicBezTo>
                  <a:close/>
                  <a:moveTo>
                    <a:pt x="3401962" y="6166059"/>
                  </a:moveTo>
                  <a:cubicBezTo>
                    <a:pt x="3362000" y="6165225"/>
                    <a:pt x="3326696" y="6166751"/>
                    <a:pt x="3295642" y="6166059"/>
                  </a:cubicBezTo>
                  <a:cubicBezTo>
                    <a:pt x="3279639" y="4695232"/>
                    <a:pt x="3377668" y="4246719"/>
                    <a:pt x="3295642" y="2764097"/>
                  </a:cubicBezTo>
                  <a:cubicBezTo>
                    <a:pt x="3331695" y="2763589"/>
                    <a:pt x="3369307" y="2754930"/>
                    <a:pt x="3401962" y="2753533"/>
                  </a:cubicBezTo>
                  <a:cubicBezTo>
                    <a:pt x="3485287" y="4380976"/>
                    <a:pt x="3551894" y="4925734"/>
                    <a:pt x="3401962" y="6166059"/>
                  </a:cubicBezTo>
                  <a:close/>
                  <a:moveTo>
                    <a:pt x="3401962" y="1913631"/>
                  </a:moveTo>
                  <a:cubicBezTo>
                    <a:pt x="3380426" y="1905971"/>
                    <a:pt x="3325743" y="1907329"/>
                    <a:pt x="3295642" y="1913631"/>
                  </a:cubicBezTo>
                  <a:cubicBezTo>
                    <a:pt x="3343015" y="1154163"/>
                    <a:pt x="3295598" y="1027503"/>
                    <a:pt x="3295642" y="265811"/>
                  </a:cubicBezTo>
                  <a:cubicBezTo>
                    <a:pt x="3300547" y="234084"/>
                    <a:pt x="3318771" y="213047"/>
                    <a:pt x="3348802" y="212649"/>
                  </a:cubicBezTo>
                  <a:cubicBezTo>
                    <a:pt x="3376046" y="209060"/>
                    <a:pt x="3402755" y="236270"/>
                    <a:pt x="3401962" y="265811"/>
                  </a:cubicBezTo>
                  <a:cubicBezTo>
                    <a:pt x="3384425" y="907232"/>
                    <a:pt x="3389896" y="1527435"/>
                    <a:pt x="3401962" y="1913631"/>
                  </a:cubicBezTo>
                  <a:close/>
                  <a:moveTo>
                    <a:pt x="3614571" y="531580"/>
                  </a:moveTo>
                  <a:cubicBezTo>
                    <a:pt x="3929561" y="496069"/>
                    <a:pt x="4330020" y="466241"/>
                    <a:pt x="4996618" y="531580"/>
                  </a:cubicBezTo>
                  <a:cubicBezTo>
                    <a:pt x="4982114" y="863036"/>
                    <a:pt x="4928646" y="1121498"/>
                    <a:pt x="4996618" y="1382050"/>
                  </a:cubicBezTo>
                  <a:cubicBezTo>
                    <a:pt x="4666829" y="1482836"/>
                    <a:pt x="4101526" y="1302712"/>
                    <a:pt x="3614571" y="1382050"/>
                  </a:cubicBezTo>
                  <a:cubicBezTo>
                    <a:pt x="3631135" y="1086441"/>
                    <a:pt x="3658195" y="925763"/>
                    <a:pt x="3614571" y="531580"/>
                  </a:cubicBezTo>
                  <a:close/>
                  <a:moveTo>
                    <a:pt x="6115313" y="1807310"/>
                  </a:moveTo>
                  <a:cubicBezTo>
                    <a:pt x="5579582" y="1828016"/>
                    <a:pt x="5471971" y="1817278"/>
                    <a:pt x="4890297" y="1807310"/>
                  </a:cubicBezTo>
                  <a:cubicBezTo>
                    <a:pt x="4873129" y="1753003"/>
                    <a:pt x="4899470" y="1640900"/>
                    <a:pt x="4890297" y="1594702"/>
                  </a:cubicBezTo>
                  <a:cubicBezTo>
                    <a:pt x="4927679" y="1600232"/>
                    <a:pt x="5145877" y="1568770"/>
                    <a:pt x="5209226" y="1594702"/>
                  </a:cubicBezTo>
                  <a:cubicBezTo>
                    <a:pt x="5168703" y="1282974"/>
                    <a:pt x="5225362" y="1261905"/>
                    <a:pt x="5209226" y="956835"/>
                  </a:cubicBezTo>
                  <a:cubicBezTo>
                    <a:pt x="5374899" y="925390"/>
                    <a:pt x="5727300" y="1018748"/>
                    <a:pt x="6115313" y="956835"/>
                  </a:cubicBezTo>
                  <a:cubicBezTo>
                    <a:pt x="6039530" y="1125879"/>
                    <a:pt x="5989870" y="1211043"/>
                    <a:pt x="5945215" y="1382050"/>
                  </a:cubicBezTo>
                  <a:cubicBezTo>
                    <a:pt x="6006149" y="1525102"/>
                    <a:pt x="6056346" y="1754870"/>
                    <a:pt x="6115313" y="1807310"/>
                  </a:cubicBezTo>
                  <a:close/>
                </a:path>
                <a:path w="6429375" h="6378667" stroke="0" extrusionOk="0">
                  <a:moveTo>
                    <a:pt x="6429375" y="744187"/>
                  </a:moveTo>
                  <a:cubicBezTo>
                    <a:pt x="5953034" y="768027"/>
                    <a:pt x="5532385" y="832495"/>
                    <a:pt x="5209226" y="744187"/>
                  </a:cubicBezTo>
                  <a:cubicBezTo>
                    <a:pt x="5177425" y="635637"/>
                    <a:pt x="5226278" y="375502"/>
                    <a:pt x="5209226" y="318932"/>
                  </a:cubicBezTo>
                  <a:cubicBezTo>
                    <a:pt x="4515347" y="353319"/>
                    <a:pt x="4045826" y="297309"/>
                    <a:pt x="3614571" y="318932"/>
                  </a:cubicBezTo>
                  <a:cubicBezTo>
                    <a:pt x="3614835" y="313361"/>
                    <a:pt x="3616746" y="290249"/>
                    <a:pt x="3614571" y="265811"/>
                  </a:cubicBezTo>
                  <a:cubicBezTo>
                    <a:pt x="3607299" y="94863"/>
                    <a:pt x="3503587" y="2994"/>
                    <a:pt x="3348802" y="0"/>
                  </a:cubicBezTo>
                  <a:cubicBezTo>
                    <a:pt x="3202546" y="7317"/>
                    <a:pt x="3085997" y="120340"/>
                    <a:pt x="3083033" y="265811"/>
                  </a:cubicBezTo>
                  <a:cubicBezTo>
                    <a:pt x="3010137" y="521814"/>
                    <a:pt x="3099799" y="1154891"/>
                    <a:pt x="3083033" y="1913631"/>
                  </a:cubicBezTo>
                  <a:cubicBezTo>
                    <a:pt x="2575667" y="1992776"/>
                    <a:pt x="1176603" y="1904020"/>
                    <a:pt x="744187" y="1913631"/>
                  </a:cubicBezTo>
                  <a:cubicBezTo>
                    <a:pt x="360284" y="1902960"/>
                    <a:pt x="-27236" y="2233885"/>
                    <a:pt x="0" y="2657777"/>
                  </a:cubicBezTo>
                  <a:cubicBezTo>
                    <a:pt x="-30786" y="2840737"/>
                    <a:pt x="-21781" y="3296268"/>
                    <a:pt x="0" y="3720895"/>
                  </a:cubicBezTo>
                  <a:cubicBezTo>
                    <a:pt x="-16879" y="3998253"/>
                    <a:pt x="268214" y="4267329"/>
                    <a:pt x="531539" y="4252475"/>
                  </a:cubicBezTo>
                  <a:cubicBezTo>
                    <a:pt x="559046" y="4260466"/>
                    <a:pt x="593888" y="4256035"/>
                    <a:pt x="637862" y="4252475"/>
                  </a:cubicBezTo>
                  <a:cubicBezTo>
                    <a:pt x="584474" y="4946532"/>
                    <a:pt x="636092" y="5954421"/>
                    <a:pt x="637862" y="6378668"/>
                  </a:cubicBezTo>
                  <a:cubicBezTo>
                    <a:pt x="729139" y="6394916"/>
                    <a:pt x="784037" y="6384158"/>
                    <a:pt x="850470" y="6378668"/>
                  </a:cubicBezTo>
                  <a:cubicBezTo>
                    <a:pt x="727365" y="5866940"/>
                    <a:pt x="891511" y="4136098"/>
                    <a:pt x="850470" y="2551489"/>
                  </a:cubicBezTo>
                  <a:cubicBezTo>
                    <a:pt x="816380" y="2548703"/>
                    <a:pt x="725409" y="2557063"/>
                    <a:pt x="637862" y="2551489"/>
                  </a:cubicBezTo>
                  <a:cubicBezTo>
                    <a:pt x="713208" y="3154332"/>
                    <a:pt x="554290" y="3344783"/>
                    <a:pt x="637862" y="4039824"/>
                  </a:cubicBezTo>
                  <a:cubicBezTo>
                    <a:pt x="618758" y="4046242"/>
                    <a:pt x="575907" y="4042260"/>
                    <a:pt x="531539" y="4039824"/>
                  </a:cubicBezTo>
                  <a:cubicBezTo>
                    <a:pt x="360296" y="4030911"/>
                    <a:pt x="204789" y="3915188"/>
                    <a:pt x="212607" y="3720895"/>
                  </a:cubicBezTo>
                  <a:cubicBezTo>
                    <a:pt x="265997" y="3506301"/>
                    <a:pt x="304684" y="3143434"/>
                    <a:pt x="212607" y="2657777"/>
                  </a:cubicBezTo>
                  <a:cubicBezTo>
                    <a:pt x="198313" y="2335964"/>
                    <a:pt x="490391" y="2105667"/>
                    <a:pt x="744187" y="2126239"/>
                  </a:cubicBezTo>
                  <a:cubicBezTo>
                    <a:pt x="1733642" y="1998271"/>
                    <a:pt x="2253814" y="2146628"/>
                    <a:pt x="3614571" y="2126239"/>
                  </a:cubicBezTo>
                  <a:cubicBezTo>
                    <a:pt x="3607619" y="2148110"/>
                    <a:pt x="3612150" y="2195599"/>
                    <a:pt x="3614571" y="2232560"/>
                  </a:cubicBezTo>
                  <a:cubicBezTo>
                    <a:pt x="3613401" y="2423278"/>
                    <a:pt x="3479222" y="2547325"/>
                    <a:pt x="3295642" y="2551489"/>
                  </a:cubicBezTo>
                  <a:cubicBezTo>
                    <a:pt x="2905492" y="2661507"/>
                    <a:pt x="2193147" y="2645336"/>
                    <a:pt x="1913584" y="2551489"/>
                  </a:cubicBezTo>
                  <a:cubicBezTo>
                    <a:pt x="2029429" y="3561752"/>
                    <a:pt x="1842481" y="5234371"/>
                    <a:pt x="1913584" y="6378668"/>
                  </a:cubicBezTo>
                  <a:cubicBezTo>
                    <a:pt x="2000328" y="6384762"/>
                    <a:pt x="2096667" y="6396992"/>
                    <a:pt x="2126236" y="6378668"/>
                  </a:cubicBezTo>
                  <a:cubicBezTo>
                    <a:pt x="2038389" y="4643984"/>
                    <a:pt x="1956726" y="3464363"/>
                    <a:pt x="2126236" y="2764097"/>
                  </a:cubicBezTo>
                  <a:cubicBezTo>
                    <a:pt x="2429149" y="2784192"/>
                    <a:pt x="2625098" y="2738527"/>
                    <a:pt x="3083033" y="2764097"/>
                  </a:cubicBezTo>
                  <a:cubicBezTo>
                    <a:pt x="3129283" y="3558215"/>
                    <a:pt x="2999169" y="4945751"/>
                    <a:pt x="3083033" y="6378668"/>
                  </a:cubicBezTo>
                  <a:cubicBezTo>
                    <a:pt x="3206575" y="6414075"/>
                    <a:pt x="3387522" y="6347230"/>
                    <a:pt x="3614571" y="6378668"/>
                  </a:cubicBezTo>
                  <a:cubicBezTo>
                    <a:pt x="3482646" y="4671563"/>
                    <a:pt x="3737622" y="4274402"/>
                    <a:pt x="3614571" y="2655029"/>
                  </a:cubicBezTo>
                  <a:cubicBezTo>
                    <a:pt x="3741817" y="2564513"/>
                    <a:pt x="3799443" y="2381864"/>
                    <a:pt x="3827222" y="2232560"/>
                  </a:cubicBezTo>
                  <a:cubicBezTo>
                    <a:pt x="3849493" y="2086646"/>
                    <a:pt x="3805860" y="2007675"/>
                    <a:pt x="3827222" y="1913631"/>
                  </a:cubicBezTo>
                  <a:cubicBezTo>
                    <a:pt x="3785007" y="1901237"/>
                    <a:pt x="3665659" y="1922706"/>
                    <a:pt x="3614571" y="1913631"/>
                  </a:cubicBezTo>
                  <a:cubicBezTo>
                    <a:pt x="3619397" y="1837481"/>
                    <a:pt x="3595028" y="1689442"/>
                    <a:pt x="3614571" y="1594702"/>
                  </a:cubicBezTo>
                  <a:cubicBezTo>
                    <a:pt x="4104347" y="1637219"/>
                    <a:pt x="4421040" y="1544268"/>
                    <a:pt x="4677689" y="1594702"/>
                  </a:cubicBezTo>
                  <a:cubicBezTo>
                    <a:pt x="4677688" y="1744939"/>
                    <a:pt x="4673563" y="1948734"/>
                    <a:pt x="4677689" y="2019908"/>
                  </a:cubicBezTo>
                  <a:cubicBezTo>
                    <a:pt x="5419527" y="1922473"/>
                    <a:pt x="5643355" y="1991886"/>
                    <a:pt x="6429375" y="2019908"/>
                  </a:cubicBezTo>
                  <a:cubicBezTo>
                    <a:pt x="6249009" y="1725953"/>
                    <a:pt x="6305775" y="1647889"/>
                    <a:pt x="6174256" y="1382050"/>
                  </a:cubicBezTo>
                  <a:cubicBezTo>
                    <a:pt x="6241002" y="1174983"/>
                    <a:pt x="6406748" y="880871"/>
                    <a:pt x="6429375" y="744187"/>
                  </a:cubicBezTo>
                  <a:close/>
                  <a:moveTo>
                    <a:pt x="3401962" y="6166059"/>
                  </a:moveTo>
                  <a:cubicBezTo>
                    <a:pt x="3388263" y="6164689"/>
                    <a:pt x="3339072" y="6173873"/>
                    <a:pt x="3295642" y="6166059"/>
                  </a:cubicBezTo>
                  <a:cubicBezTo>
                    <a:pt x="3190333" y="5642242"/>
                    <a:pt x="3155951" y="4069111"/>
                    <a:pt x="3295642" y="2764097"/>
                  </a:cubicBezTo>
                  <a:cubicBezTo>
                    <a:pt x="3331386" y="2768564"/>
                    <a:pt x="3370312" y="2755893"/>
                    <a:pt x="3401962" y="2753533"/>
                  </a:cubicBezTo>
                  <a:cubicBezTo>
                    <a:pt x="3531472" y="4169256"/>
                    <a:pt x="3384363" y="5085647"/>
                    <a:pt x="3401962" y="6166059"/>
                  </a:cubicBezTo>
                  <a:close/>
                  <a:moveTo>
                    <a:pt x="3401962" y="1913631"/>
                  </a:moveTo>
                  <a:cubicBezTo>
                    <a:pt x="3353863" y="1911148"/>
                    <a:pt x="3324302" y="1907685"/>
                    <a:pt x="3295642" y="1913631"/>
                  </a:cubicBezTo>
                  <a:cubicBezTo>
                    <a:pt x="3218204" y="1210567"/>
                    <a:pt x="3325433" y="1058445"/>
                    <a:pt x="3295642" y="265811"/>
                  </a:cubicBezTo>
                  <a:cubicBezTo>
                    <a:pt x="3295768" y="235559"/>
                    <a:pt x="3318865" y="214350"/>
                    <a:pt x="3348802" y="212649"/>
                  </a:cubicBezTo>
                  <a:cubicBezTo>
                    <a:pt x="3375193" y="212842"/>
                    <a:pt x="3404209" y="232983"/>
                    <a:pt x="3401962" y="265811"/>
                  </a:cubicBezTo>
                  <a:cubicBezTo>
                    <a:pt x="3388156" y="803437"/>
                    <a:pt x="3477777" y="1482865"/>
                    <a:pt x="3401962" y="1913631"/>
                  </a:cubicBezTo>
                  <a:close/>
                  <a:moveTo>
                    <a:pt x="3614571" y="531580"/>
                  </a:moveTo>
                  <a:cubicBezTo>
                    <a:pt x="3798102" y="411027"/>
                    <a:pt x="4831409" y="644924"/>
                    <a:pt x="4996618" y="531580"/>
                  </a:cubicBezTo>
                  <a:cubicBezTo>
                    <a:pt x="4981329" y="657038"/>
                    <a:pt x="4983841" y="991773"/>
                    <a:pt x="4996618" y="1382050"/>
                  </a:cubicBezTo>
                  <a:cubicBezTo>
                    <a:pt x="4827218" y="1437435"/>
                    <a:pt x="3796033" y="1271460"/>
                    <a:pt x="3614571" y="1382050"/>
                  </a:cubicBezTo>
                  <a:cubicBezTo>
                    <a:pt x="3554455" y="1291623"/>
                    <a:pt x="3540086" y="803671"/>
                    <a:pt x="3614571" y="531580"/>
                  </a:cubicBezTo>
                  <a:close/>
                  <a:moveTo>
                    <a:pt x="6115313" y="1807310"/>
                  </a:moveTo>
                  <a:cubicBezTo>
                    <a:pt x="5754058" y="1728349"/>
                    <a:pt x="5122264" y="1758638"/>
                    <a:pt x="4890297" y="1807310"/>
                  </a:cubicBezTo>
                  <a:cubicBezTo>
                    <a:pt x="4899139" y="1760689"/>
                    <a:pt x="4873201" y="1699908"/>
                    <a:pt x="4890297" y="1594702"/>
                  </a:cubicBezTo>
                  <a:cubicBezTo>
                    <a:pt x="5027449" y="1612551"/>
                    <a:pt x="5173007" y="1572797"/>
                    <a:pt x="5209226" y="1594702"/>
                  </a:cubicBezTo>
                  <a:cubicBezTo>
                    <a:pt x="5168154" y="1279461"/>
                    <a:pt x="5220024" y="1173212"/>
                    <a:pt x="5209226" y="956835"/>
                  </a:cubicBezTo>
                  <a:cubicBezTo>
                    <a:pt x="5653551" y="965498"/>
                    <a:pt x="5742545" y="933087"/>
                    <a:pt x="6115313" y="956835"/>
                  </a:cubicBezTo>
                  <a:cubicBezTo>
                    <a:pt x="6112281" y="1070214"/>
                    <a:pt x="6001640" y="1295846"/>
                    <a:pt x="5945215" y="1382050"/>
                  </a:cubicBezTo>
                  <a:cubicBezTo>
                    <a:pt x="5987788" y="1595801"/>
                    <a:pt x="6091009" y="1658004"/>
                    <a:pt x="6115313" y="180731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2151296677">
                    <a:custGeom>
                      <a:avLst/>
                      <a:gdLst>
                        <a:gd name="connsiteX0" fmla="*/ 6429375 w 6429375"/>
                        <a:gd name="connsiteY0" fmla="*/ 744187 h 6378667"/>
                        <a:gd name="connsiteX1" fmla="*/ 5209226 w 6429375"/>
                        <a:gd name="connsiteY1" fmla="*/ 744187 h 6378667"/>
                        <a:gd name="connsiteX2" fmla="*/ 5209226 w 6429375"/>
                        <a:gd name="connsiteY2" fmla="*/ 318932 h 6378667"/>
                        <a:gd name="connsiteX3" fmla="*/ 3614571 w 6429375"/>
                        <a:gd name="connsiteY3" fmla="*/ 318932 h 6378667"/>
                        <a:gd name="connsiteX4" fmla="*/ 3614571 w 6429375"/>
                        <a:gd name="connsiteY4" fmla="*/ 265811 h 6378667"/>
                        <a:gd name="connsiteX5" fmla="*/ 3348802 w 6429375"/>
                        <a:gd name="connsiteY5" fmla="*/ 0 h 6378667"/>
                        <a:gd name="connsiteX6" fmla="*/ 3083033 w 6429375"/>
                        <a:gd name="connsiteY6" fmla="*/ 265811 h 6378667"/>
                        <a:gd name="connsiteX7" fmla="*/ 3083033 w 6429375"/>
                        <a:gd name="connsiteY7" fmla="*/ 1913631 h 6378667"/>
                        <a:gd name="connsiteX8" fmla="*/ 744187 w 6429375"/>
                        <a:gd name="connsiteY8" fmla="*/ 1913631 h 6378667"/>
                        <a:gd name="connsiteX9" fmla="*/ 0 w 6429375"/>
                        <a:gd name="connsiteY9" fmla="*/ 2657777 h 6378667"/>
                        <a:gd name="connsiteX10" fmla="*/ 0 w 6429375"/>
                        <a:gd name="connsiteY10" fmla="*/ 3720895 h 6378667"/>
                        <a:gd name="connsiteX11" fmla="*/ 531539 w 6429375"/>
                        <a:gd name="connsiteY11" fmla="*/ 4252475 h 6378667"/>
                        <a:gd name="connsiteX12" fmla="*/ 637862 w 6429375"/>
                        <a:gd name="connsiteY12" fmla="*/ 4252475 h 6378667"/>
                        <a:gd name="connsiteX13" fmla="*/ 637862 w 6429375"/>
                        <a:gd name="connsiteY13" fmla="*/ 6378668 h 6378667"/>
                        <a:gd name="connsiteX14" fmla="*/ 850470 w 6429375"/>
                        <a:gd name="connsiteY14" fmla="*/ 6378668 h 6378667"/>
                        <a:gd name="connsiteX15" fmla="*/ 850470 w 6429375"/>
                        <a:gd name="connsiteY15" fmla="*/ 2551489 h 6378667"/>
                        <a:gd name="connsiteX16" fmla="*/ 637862 w 6429375"/>
                        <a:gd name="connsiteY16" fmla="*/ 2551489 h 6378667"/>
                        <a:gd name="connsiteX17" fmla="*/ 637862 w 6429375"/>
                        <a:gd name="connsiteY17" fmla="*/ 4039824 h 6378667"/>
                        <a:gd name="connsiteX18" fmla="*/ 531539 w 6429375"/>
                        <a:gd name="connsiteY18" fmla="*/ 4039824 h 6378667"/>
                        <a:gd name="connsiteX19" fmla="*/ 212607 w 6429375"/>
                        <a:gd name="connsiteY19" fmla="*/ 3720895 h 6378667"/>
                        <a:gd name="connsiteX20" fmla="*/ 212607 w 6429375"/>
                        <a:gd name="connsiteY20" fmla="*/ 2657777 h 6378667"/>
                        <a:gd name="connsiteX21" fmla="*/ 744187 w 6429375"/>
                        <a:gd name="connsiteY21" fmla="*/ 2126239 h 6378667"/>
                        <a:gd name="connsiteX22" fmla="*/ 3614571 w 6429375"/>
                        <a:gd name="connsiteY22" fmla="*/ 2126239 h 6378667"/>
                        <a:gd name="connsiteX23" fmla="*/ 3614571 w 6429375"/>
                        <a:gd name="connsiteY23" fmla="*/ 2232560 h 6378667"/>
                        <a:gd name="connsiteX24" fmla="*/ 3295642 w 6429375"/>
                        <a:gd name="connsiteY24" fmla="*/ 2551489 h 6378667"/>
                        <a:gd name="connsiteX25" fmla="*/ 1913584 w 6429375"/>
                        <a:gd name="connsiteY25" fmla="*/ 2551489 h 6378667"/>
                        <a:gd name="connsiteX26" fmla="*/ 1913584 w 6429375"/>
                        <a:gd name="connsiteY26" fmla="*/ 6378668 h 6378667"/>
                        <a:gd name="connsiteX27" fmla="*/ 2126236 w 6429375"/>
                        <a:gd name="connsiteY27" fmla="*/ 6378668 h 6378667"/>
                        <a:gd name="connsiteX28" fmla="*/ 2126236 w 6429375"/>
                        <a:gd name="connsiteY28" fmla="*/ 2764097 h 6378667"/>
                        <a:gd name="connsiteX29" fmla="*/ 3083033 w 6429375"/>
                        <a:gd name="connsiteY29" fmla="*/ 2764097 h 6378667"/>
                        <a:gd name="connsiteX30" fmla="*/ 3083033 w 6429375"/>
                        <a:gd name="connsiteY30" fmla="*/ 6378668 h 6378667"/>
                        <a:gd name="connsiteX31" fmla="*/ 3614571 w 6429375"/>
                        <a:gd name="connsiteY31" fmla="*/ 6378668 h 6378667"/>
                        <a:gd name="connsiteX32" fmla="*/ 3614571 w 6429375"/>
                        <a:gd name="connsiteY32" fmla="*/ 2655029 h 6378667"/>
                        <a:gd name="connsiteX33" fmla="*/ 3827222 w 6429375"/>
                        <a:gd name="connsiteY33" fmla="*/ 2232560 h 6378667"/>
                        <a:gd name="connsiteX34" fmla="*/ 3827222 w 6429375"/>
                        <a:gd name="connsiteY34" fmla="*/ 1913631 h 6378667"/>
                        <a:gd name="connsiteX35" fmla="*/ 3614571 w 6429375"/>
                        <a:gd name="connsiteY35" fmla="*/ 1913631 h 6378667"/>
                        <a:gd name="connsiteX36" fmla="*/ 3614571 w 6429375"/>
                        <a:gd name="connsiteY36" fmla="*/ 1594702 h 6378667"/>
                        <a:gd name="connsiteX37" fmla="*/ 4677689 w 6429375"/>
                        <a:gd name="connsiteY37" fmla="*/ 1594702 h 6378667"/>
                        <a:gd name="connsiteX38" fmla="*/ 4677689 w 6429375"/>
                        <a:gd name="connsiteY38" fmla="*/ 2019908 h 6378667"/>
                        <a:gd name="connsiteX39" fmla="*/ 6429375 w 6429375"/>
                        <a:gd name="connsiteY39" fmla="*/ 2019908 h 6378667"/>
                        <a:gd name="connsiteX40" fmla="*/ 6174256 w 6429375"/>
                        <a:gd name="connsiteY40" fmla="*/ 1382050 h 6378667"/>
                        <a:gd name="connsiteX41" fmla="*/ 3401962 w 6429375"/>
                        <a:gd name="connsiteY41" fmla="*/ 6166059 h 6378667"/>
                        <a:gd name="connsiteX42" fmla="*/ 3295642 w 6429375"/>
                        <a:gd name="connsiteY42" fmla="*/ 6166059 h 6378667"/>
                        <a:gd name="connsiteX43" fmla="*/ 3295642 w 6429375"/>
                        <a:gd name="connsiteY43" fmla="*/ 2764097 h 6378667"/>
                        <a:gd name="connsiteX44" fmla="*/ 3401962 w 6429375"/>
                        <a:gd name="connsiteY44" fmla="*/ 2753533 h 6378667"/>
                        <a:gd name="connsiteX45" fmla="*/ 3401962 w 6429375"/>
                        <a:gd name="connsiteY45" fmla="*/ 1913631 h 6378667"/>
                        <a:gd name="connsiteX46" fmla="*/ 3295642 w 6429375"/>
                        <a:gd name="connsiteY46" fmla="*/ 1913631 h 6378667"/>
                        <a:gd name="connsiteX47" fmla="*/ 3295642 w 6429375"/>
                        <a:gd name="connsiteY47" fmla="*/ 265811 h 6378667"/>
                        <a:gd name="connsiteX48" fmla="*/ 3348802 w 6429375"/>
                        <a:gd name="connsiteY48" fmla="*/ 212649 h 6378667"/>
                        <a:gd name="connsiteX49" fmla="*/ 3401962 w 6429375"/>
                        <a:gd name="connsiteY49" fmla="*/ 265811 h 6378667"/>
                        <a:gd name="connsiteX50" fmla="*/ 3614571 w 6429375"/>
                        <a:gd name="connsiteY50" fmla="*/ 531580 h 6378667"/>
                        <a:gd name="connsiteX51" fmla="*/ 4996618 w 6429375"/>
                        <a:gd name="connsiteY51" fmla="*/ 531580 h 6378667"/>
                        <a:gd name="connsiteX52" fmla="*/ 4996618 w 6429375"/>
                        <a:gd name="connsiteY52" fmla="*/ 1382050 h 6378667"/>
                        <a:gd name="connsiteX53" fmla="*/ 3614571 w 6429375"/>
                        <a:gd name="connsiteY53" fmla="*/ 1382050 h 6378667"/>
                        <a:gd name="connsiteX54" fmla="*/ 6115313 w 6429375"/>
                        <a:gd name="connsiteY54" fmla="*/ 1807310 h 6378667"/>
                        <a:gd name="connsiteX55" fmla="*/ 4890297 w 6429375"/>
                        <a:gd name="connsiteY55" fmla="*/ 1807310 h 6378667"/>
                        <a:gd name="connsiteX56" fmla="*/ 4890297 w 6429375"/>
                        <a:gd name="connsiteY56" fmla="*/ 1594702 h 6378667"/>
                        <a:gd name="connsiteX57" fmla="*/ 5209226 w 6429375"/>
                        <a:gd name="connsiteY57" fmla="*/ 1594702 h 6378667"/>
                        <a:gd name="connsiteX58" fmla="*/ 5209226 w 6429375"/>
                        <a:gd name="connsiteY58" fmla="*/ 956835 h 6378667"/>
                        <a:gd name="connsiteX59" fmla="*/ 6115313 w 6429375"/>
                        <a:gd name="connsiteY59" fmla="*/ 956835 h 6378667"/>
                        <a:gd name="connsiteX60" fmla="*/ 5945215 w 6429375"/>
                        <a:gd name="connsiteY60" fmla="*/ 1382050 h 63786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</a:cxnLst>
                      <a:rect l="l" t="t" r="r" b="b"/>
                      <a:pathLst>
                        <a:path w="6429375" h="6378667">
                          <a:moveTo>
                            <a:pt x="6429375" y="744187"/>
                          </a:moveTo>
                          <a:lnTo>
                            <a:pt x="5209226" y="744187"/>
                          </a:lnTo>
                          <a:lnTo>
                            <a:pt x="5209226" y="318932"/>
                          </a:lnTo>
                          <a:lnTo>
                            <a:pt x="3614571" y="318932"/>
                          </a:lnTo>
                          <a:lnTo>
                            <a:pt x="3614571" y="265811"/>
                          </a:lnTo>
                          <a:cubicBezTo>
                            <a:pt x="3614571" y="119053"/>
                            <a:pt x="3495599" y="0"/>
                            <a:pt x="3348802" y="0"/>
                          </a:cubicBezTo>
                          <a:cubicBezTo>
                            <a:pt x="3202004" y="0"/>
                            <a:pt x="3083033" y="119053"/>
                            <a:pt x="3083033" y="265811"/>
                          </a:cubicBezTo>
                          <a:lnTo>
                            <a:pt x="3083033" y="1913631"/>
                          </a:lnTo>
                          <a:lnTo>
                            <a:pt x="744187" y="1913631"/>
                          </a:lnTo>
                          <a:cubicBezTo>
                            <a:pt x="333366" y="1914089"/>
                            <a:pt x="458" y="2247032"/>
                            <a:pt x="0" y="2657777"/>
                          </a:cubicBezTo>
                          <a:lnTo>
                            <a:pt x="0" y="3720895"/>
                          </a:lnTo>
                          <a:cubicBezTo>
                            <a:pt x="374" y="4014362"/>
                            <a:pt x="238107" y="4252145"/>
                            <a:pt x="531539" y="4252475"/>
                          </a:cubicBezTo>
                          <a:lnTo>
                            <a:pt x="637862" y="4252475"/>
                          </a:lnTo>
                          <a:lnTo>
                            <a:pt x="637862" y="6378668"/>
                          </a:lnTo>
                          <a:lnTo>
                            <a:pt x="850470" y="6378668"/>
                          </a:lnTo>
                          <a:lnTo>
                            <a:pt x="850470" y="2551489"/>
                          </a:lnTo>
                          <a:lnTo>
                            <a:pt x="637862" y="2551489"/>
                          </a:lnTo>
                          <a:lnTo>
                            <a:pt x="637862" y="4039824"/>
                          </a:lnTo>
                          <a:lnTo>
                            <a:pt x="531539" y="4039824"/>
                          </a:lnTo>
                          <a:cubicBezTo>
                            <a:pt x="355413" y="4039824"/>
                            <a:pt x="212607" y="3897105"/>
                            <a:pt x="212607" y="3720895"/>
                          </a:cubicBezTo>
                          <a:lnTo>
                            <a:pt x="212607" y="2657777"/>
                          </a:lnTo>
                          <a:cubicBezTo>
                            <a:pt x="212981" y="2364384"/>
                            <a:pt x="450713" y="2126612"/>
                            <a:pt x="744187" y="2126239"/>
                          </a:cubicBezTo>
                          <a:lnTo>
                            <a:pt x="3614571" y="2126239"/>
                          </a:lnTo>
                          <a:lnTo>
                            <a:pt x="3614571" y="2232560"/>
                          </a:lnTo>
                          <a:cubicBezTo>
                            <a:pt x="3614571" y="2408727"/>
                            <a:pt x="3471767" y="2551489"/>
                            <a:pt x="3295642" y="2551489"/>
                          </a:cubicBezTo>
                          <a:lnTo>
                            <a:pt x="1913584" y="2551489"/>
                          </a:lnTo>
                          <a:lnTo>
                            <a:pt x="1913584" y="6378668"/>
                          </a:lnTo>
                          <a:lnTo>
                            <a:pt x="2126236" y="6378668"/>
                          </a:lnTo>
                          <a:lnTo>
                            <a:pt x="2126236" y="2764097"/>
                          </a:lnTo>
                          <a:lnTo>
                            <a:pt x="3083033" y="2764097"/>
                          </a:lnTo>
                          <a:lnTo>
                            <a:pt x="3083033" y="6378668"/>
                          </a:lnTo>
                          <a:lnTo>
                            <a:pt x="3614571" y="6378668"/>
                          </a:lnTo>
                          <a:lnTo>
                            <a:pt x="3614571" y="2655029"/>
                          </a:lnTo>
                          <a:cubicBezTo>
                            <a:pt x="3747929" y="2555482"/>
                            <a:pt x="3826721" y="2399037"/>
                            <a:pt x="3827222" y="2232560"/>
                          </a:cubicBezTo>
                          <a:lnTo>
                            <a:pt x="3827222" y="1913631"/>
                          </a:lnTo>
                          <a:lnTo>
                            <a:pt x="3614571" y="1913631"/>
                          </a:lnTo>
                          <a:lnTo>
                            <a:pt x="3614571" y="1594702"/>
                          </a:lnTo>
                          <a:lnTo>
                            <a:pt x="4677689" y="1594702"/>
                          </a:lnTo>
                          <a:lnTo>
                            <a:pt x="4677689" y="2019908"/>
                          </a:lnTo>
                          <a:lnTo>
                            <a:pt x="6429375" y="2019908"/>
                          </a:lnTo>
                          <a:lnTo>
                            <a:pt x="6174256" y="1382050"/>
                          </a:lnTo>
                          <a:close/>
                          <a:moveTo>
                            <a:pt x="3401962" y="6166059"/>
                          </a:moveTo>
                          <a:lnTo>
                            <a:pt x="3295642" y="6166059"/>
                          </a:lnTo>
                          <a:lnTo>
                            <a:pt x="3295642" y="2764097"/>
                          </a:lnTo>
                          <a:cubicBezTo>
                            <a:pt x="3331369" y="2764140"/>
                            <a:pt x="3366980" y="2760647"/>
                            <a:pt x="3401962" y="2753533"/>
                          </a:cubicBezTo>
                          <a:close/>
                          <a:moveTo>
                            <a:pt x="3401962" y="1913631"/>
                          </a:moveTo>
                          <a:lnTo>
                            <a:pt x="3295642" y="1913631"/>
                          </a:lnTo>
                          <a:lnTo>
                            <a:pt x="3295642" y="265811"/>
                          </a:lnTo>
                          <a:cubicBezTo>
                            <a:pt x="3295642" y="236484"/>
                            <a:pt x="3319432" y="212649"/>
                            <a:pt x="3348802" y="212649"/>
                          </a:cubicBezTo>
                          <a:cubicBezTo>
                            <a:pt x="3378172" y="212649"/>
                            <a:pt x="3401962" y="236484"/>
                            <a:pt x="3401962" y="265811"/>
                          </a:cubicBezTo>
                          <a:close/>
                          <a:moveTo>
                            <a:pt x="3614571" y="531580"/>
                          </a:moveTo>
                          <a:lnTo>
                            <a:pt x="4996618" y="531580"/>
                          </a:lnTo>
                          <a:lnTo>
                            <a:pt x="4996618" y="1382050"/>
                          </a:lnTo>
                          <a:lnTo>
                            <a:pt x="3614571" y="1382050"/>
                          </a:lnTo>
                          <a:close/>
                          <a:moveTo>
                            <a:pt x="6115313" y="1807310"/>
                          </a:moveTo>
                          <a:lnTo>
                            <a:pt x="4890297" y="1807310"/>
                          </a:lnTo>
                          <a:lnTo>
                            <a:pt x="4890297" y="1594702"/>
                          </a:lnTo>
                          <a:lnTo>
                            <a:pt x="5209226" y="1594702"/>
                          </a:lnTo>
                          <a:lnTo>
                            <a:pt x="5209226" y="956835"/>
                          </a:lnTo>
                          <a:lnTo>
                            <a:pt x="6115313" y="956835"/>
                          </a:lnTo>
                          <a:lnTo>
                            <a:pt x="5945215" y="1382050"/>
                          </a:ln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id="{E4F04B1C-ED5F-4380-ABBF-7631A7AC83B8}"/>
              </a:ext>
            </a:extLst>
          </p:cNvPr>
          <p:cNvSpPr/>
          <p:nvPr/>
        </p:nvSpPr>
        <p:spPr>
          <a:xfrm>
            <a:off x="664863" y="4689475"/>
            <a:ext cx="1871235" cy="12346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09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cs typeface="Arial"/>
            </a:endParaRPr>
          </a:p>
        </p:txBody>
      </p:sp>
      <p:grpSp>
        <p:nvGrpSpPr>
          <p:cNvPr id="159" name="Graphic 616">
            <a:extLst>
              <a:ext uri="{FF2B5EF4-FFF2-40B4-BE49-F238E27FC236}">
                <a16:creationId xmlns:a16="http://schemas.microsoft.com/office/drawing/2014/main" id="{96170250-0CC9-4D75-BD46-C59AA50ED882}"/>
              </a:ext>
            </a:extLst>
          </p:cNvPr>
          <p:cNvGrpSpPr/>
          <p:nvPr/>
        </p:nvGrpSpPr>
        <p:grpSpPr>
          <a:xfrm>
            <a:off x="777243" y="5064182"/>
            <a:ext cx="517554" cy="485207"/>
            <a:chOff x="3656806" y="1143000"/>
            <a:chExt cx="4876800" cy="4572000"/>
          </a:xfrm>
          <a:solidFill>
            <a:schemeClr val="bg1"/>
          </a:solidFill>
        </p:grpSpPr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2164D661-024F-401A-9CBF-5E85C6445CCB}"/>
                </a:ext>
              </a:extLst>
            </p:cNvPr>
            <p:cNvSpPr/>
            <p:nvPr/>
          </p:nvSpPr>
          <p:spPr>
            <a:xfrm>
              <a:off x="5523706" y="1143000"/>
              <a:ext cx="1143000" cy="1143000"/>
            </a:xfrm>
            <a:custGeom>
              <a:avLst/>
              <a:gdLst>
                <a:gd name="connsiteX0" fmla="*/ 1143000 w 1143000"/>
                <a:gd name="connsiteY0" fmla="*/ 571500 h 1143000"/>
                <a:gd name="connsiteX1" fmla="*/ 571500 w 1143000"/>
                <a:gd name="connsiteY1" fmla="*/ 0 h 1143000"/>
                <a:gd name="connsiteX2" fmla="*/ 0 w 1143000"/>
                <a:gd name="connsiteY2" fmla="*/ 571500 h 1143000"/>
                <a:gd name="connsiteX3" fmla="*/ 571500 w 1143000"/>
                <a:gd name="connsiteY3" fmla="*/ 1143000 h 1143000"/>
                <a:gd name="connsiteX4" fmla="*/ 1143000 w 1143000"/>
                <a:gd name="connsiteY4" fmla="*/ 571500 h 1143000"/>
                <a:gd name="connsiteX5" fmla="*/ 571500 w 1143000"/>
                <a:gd name="connsiteY5" fmla="*/ 952500 h 1143000"/>
                <a:gd name="connsiteX6" fmla="*/ 190500 w 1143000"/>
                <a:gd name="connsiteY6" fmla="*/ 571500 h 1143000"/>
                <a:gd name="connsiteX7" fmla="*/ 571500 w 1143000"/>
                <a:gd name="connsiteY7" fmla="*/ 190500 h 1143000"/>
                <a:gd name="connsiteX8" fmla="*/ 952500 w 1143000"/>
                <a:gd name="connsiteY8" fmla="*/ 571500 h 1143000"/>
                <a:gd name="connsiteX9" fmla="*/ 571500 w 1143000"/>
                <a:gd name="connsiteY9" fmla="*/ 95250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43000" h="1143000" fill="none" extrusionOk="0">
                  <a:moveTo>
                    <a:pt x="1143000" y="571500"/>
                  </a:moveTo>
                  <a:cubicBezTo>
                    <a:pt x="1135798" y="257631"/>
                    <a:pt x="894544" y="1461"/>
                    <a:pt x="571500" y="0"/>
                  </a:cubicBezTo>
                  <a:cubicBezTo>
                    <a:pt x="271583" y="44309"/>
                    <a:pt x="-28939" y="241527"/>
                    <a:pt x="0" y="571500"/>
                  </a:cubicBezTo>
                  <a:cubicBezTo>
                    <a:pt x="56253" y="860491"/>
                    <a:pt x="239508" y="1140079"/>
                    <a:pt x="571500" y="1143000"/>
                  </a:cubicBezTo>
                  <a:cubicBezTo>
                    <a:pt x="840345" y="1126727"/>
                    <a:pt x="1119702" y="932906"/>
                    <a:pt x="1143000" y="571500"/>
                  </a:cubicBezTo>
                  <a:close/>
                  <a:moveTo>
                    <a:pt x="571500" y="952500"/>
                  </a:moveTo>
                  <a:cubicBezTo>
                    <a:pt x="346404" y="973774"/>
                    <a:pt x="189291" y="744942"/>
                    <a:pt x="190500" y="571500"/>
                  </a:cubicBezTo>
                  <a:cubicBezTo>
                    <a:pt x="199035" y="386484"/>
                    <a:pt x="353144" y="181427"/>
                    <a:pt x="571500" y="190500"/>
                  </a:cubicBezTo>
                  <a:cubicBezTo>
                    <a:pt x="768714" y="209532"/>
                    <a:pt x="960108" y="327450"/>
                    <a:pt x="952500" y="571500"/>
                  </a:cubicBezTo>
                  <a:cubicBezTo>
                    <a:pt x="957930" y="784126"/>
                    <a:pt x="800271" y="952636"/>
                    <a:pt x="571500" y="952500"/>
                  </a:cubicBezTo>
                  <a:close/>
                </a:path>
                <a:path w="1143000" h="1143000" stroke="0" extrusionOk="0">
                  <a:moveTo>
                    <a:pt x="1143000" y="571500"/>
                  </a:moveTo>
                  <a:cubicBezTo>
                    <a:pt x="1164860" y="285379"/>
                    <a:pt x="892318" y="5930"/>
                    <a:pt x="571500" y="0"/>
                  </a:cubicBezTo>
                  <a:cubicBezTo>
                    <a:pt x="231382" y="-11416"/>
                    <a:pt x="-23425" y="259487"/>
                    <a:pt x="0" y="571500"/>
                  </a:cubicBezTo>
                  <a:cubicBezTo>
                    <a:pt x="39447" y="845161"/>
                    <a:pt x="275797" y="1149184"/>
                    <a:pt x="571500" y="1143000"/>
                  </a:cubicBezTo>
                  <a:cubicBezTo>
                    <a:pt x="904246" y="1135940"/>
                    <a:pt x="1159905" y="829506"/>
                    <a:pt x="1143000" y="571500"/>
                  </a:cubicBezTo>
                  <a:close/>
                  <a:moveTo>
                    <a:pt x="571500" y="952500"/>
                  </a:moveTo>
                  <a:cubicBezTo>
                    <a:pt x="331946" y="955463"/>
                    <a:pt x="189693" y="766958"/>
                    <a:pt x="190500" y="571500"/>
                  </a:cubicBezTo>
                  <a:cubicBezTo>
                    <a:pt x="198920" y="363370"/>
                    <a:pt x="363062" y="218043"/>
                    <a:pt x="571500" y="190500"/>
                  </a:cubicBezTo>
                  <a:cubicBezTo>
                    <a:pt x="752748" y="219427"/>
                    <a:pt x="953690" y="366054"/>
                    <a:pt x="952500" y="571500"/>
                  </a:cubicBezTo>
                  <a:cubicBezTo>
                    <a:pt x="927650" y="763121"/>
                    <a:pt x="794465" y="952283"/>
                    <a:pt x="571500" y="95250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1298929385">
                    <a:custGeom>
                      <a:avLst/>
                      <a:gdLst>
                        <a:gd name="connsiteX0" fmla="*/ 1143000 w 1143000"/>
                        <a:gd name="connsiteY0" fmla="*/ 571500 h 1143000"/>
                        <a:gd name="connsiteX1" fmla="*/ 571500 w 1143000"/>
                        <a:gd name="connsiteY1" fmla="*/ 0 h 1143000"/>
                        <a:gd name="connsiteX2" fmla="*/ 0 w 1143000"/>
                        <a:gd name="connsiteY2" fmla="*/ 571500 h 1143000"/>
                        <a:gd name="connsiteX3" fmla="*/ 571500 w 1143000"/>
                        <a:gd name="connsiteY3" fmla="*/ 1143000 h 1143000"/>
                        <a:gd name="connsiteX4" fmla="*/ 1143000 w 1143000"/>
                        <a:gd name="connsiteY4" fmla="*/ 571500 h 1143000"/>
                        <a:gd name="connsiteX5" fmla="*/ 571500 w 1143000"/>
                        <a:gd name="connsiteY5" fmla="*/ 952500 h 1143000"/>
                        <a:gd name="connsiteX6" fmla="*/ 190500 w 1143000"/>
                        <a:gd name="connsiteY6" fmla="*/ 571500 h 1143000"/>
                        <a:gd name="connsiteX7" fmla="*/ 571500 w 1143000"/>
                        <a:gd name="connsiteY7" fmla="*/ 190500 h 1143000"/>
                        <a:gd name="connsiteX8" fmla="*/ 952500 w 1143000"/>
                        <a:gd name="connsiteY8" fmla="*/ 571500 h 1143000"/>
                        <a:gd name="connsiteX9" fmla="*/ 571500 w 1143000"/>
                        <a:gd name="connsiteY9" fmla="*/ 952500 h 1143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1143000" h="1143000">
                          <a:moveTo>
                            <a:pt x="1143000" y="571500"/>
                          </a:moveTo>
                          <a:cubicBezTo>
                            <a:pt x="1143000" y="256375"/>
                            <a:pt x="886625" y="0"/>
                            <a:pt x="571500" y="0"/>
                          </a:cubicBezTo>
                          <a:cubicBezTo>
                            <a:pt x="256375" y="0"/>
                            <a:pt x="0" y="256375"/>
                            <a:pt x="0" y="571500"/>
                          </a:cubicBezTo>
                          <a:cubicBezTo>
                            <a:pt x="0" y="886625"/>
                            <a:pt x="256375" y="1143000"/>
                            <a:pt x="571500" y="1143000"/>
                          </a:cubicBezTo>
                          <a:cubicBezTo>
                            <a:pt x="886625" y="1143000"/>
                            <a:pt x="1143000" y="886625"/>
                            <a:pt x="1143000" y="571500"/>
                          </a:cubicBezTo>
                          <a:close/>
                          <a:moveTo>
                            <a:pt x="571500" y="952500"/>
                          </a:moveTo>
                          <a:cubicBezTo>
                            <a:pt x="361417" y="952500"/>
                            <a:pt x="190500" y="781583"/>
                            <a:pt x="190500" y="571500"/>
                          </a:cubicBezTo>
                          <a:cubicBezTo>
                            <a:pt x="190500" y="361417"/>
                            <a:pt x="361417" y="190500"/>
                            <a:pt x="571500" y="190500"/>
                          </a:cubicBezTo>
                          <a:cubicBezTo>
                            <a:pt x="781583" y="190500"/>
                            <a:pt x="952500" y="361417"/>
                            <a:pt x="952500" y="571500"/>
                          </a:cubicBezTo>
                          <a:cubicBezTo>
                            <a:pt x="952500" y="781583"/>
                            <a:pt x="781583" y="952500"/>
                            <a:pt x="571500" y="952500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1E0B3FB2-51C0-4D52-A392-7F7F564EB26C}"/>
                </a:ext>
              </a:extLst>
            </p:cNvPr>
            <p:cNvSpPr/>
            <p:nvPr/>
          </p:nvSpPr>
          <p:spPr>
            <a:xfrm>
              <a:off x="5237956" y="2286000"/>
              <a:ext cx="1714500" cy="1333500"/>
            </a:xfrm>
            <a:custGeom>
              <a:avLst/>
              <a:gdLst>
                <a:gd name="connsiteX0" fmla="*/ 1714500 w 1714500"/>
                <a:gd name="connsiteY0" fmla="*/ 1238250 h 1333500"/>
                <a:gd name="connsiteX1" fmla="*/ 1714500 w 1714500"/>
                <a:gd name="connsiteY1" fmla="*/ 857250 h 1333500"/>
                <a:gd name="connsiteX2" fmla="*/ 857250 w 1714500"/>
                <a:gd name="connsiteY2" fmla="*/ 0 h 1333500"/>
                <a:gd name="connsiteX3" fmla="*/ 0 w 1714500"/>
                <a:gd name="connsiteY3" fmla="*/ 857250 h 1333500"/>
                <a:gd name="connsiteX4" fmla="*/ 0 w 1714500"/>
                <a:gd name="connsiteY4" fmla="*/ 1238250 h 1333500"/>
                <a:gd name="connsiteX5" fmla="*/ 95250 w 1714500"/>
                <a:gd name="connsiteY5" fmla="*/ 1333500 h 1333500"/>
                <a:gd name="connsiteX6" fmla="*/ 1619250 w 1714500"/>
                <a:gd name="connsiteY6" fmla="*/ 1333500 h 1333500"/>
                <a:gd name="connsiteX7" fmla="*/ 1714500 w 1714500"/>
                <a:gd name="connsiteY7" fmla="*/ 1238250 h 1333500"/>
                <a:gd name="connsiteX8" fmla="*/ 1524000 w 1714500"/>
                <a:gd name="connsiteY8" fmla="*/ 1143000 h 1333500"/>
                <a:gd name="connsiteX9" fmla="*/ 190500 w 1714500"/>
                <a:gd name="connsiteY9" fmla="*/ 1143000 h 1333500"/>
                <a:gd name="connsiteX10" fmla="*/ 190500 w 1714500"/>
                <a:gd name="connsiteY10" fmla="*/ 857250 h 1333500"/>
                <a:gd name="connsiteX11" fmla="*/ 857250 w 1714500"/>
                <a:gd name="connsiteY11" fmla="*/ 190500 h 1333500"/>
                <a:gd name="connsiteX12" fmla="*/ 1524000 w 1714500"/>
                <a:gd name="connsiteY12" fmla="*/ 857250 h 1333500"/>
                <a:gd name="connsiteX13" fmla="*/ 1524000 w 1714500"/>
                <a:gd name="connsiteY13" fmla="*/ 1143000 h 133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14500" h="1333500" fill="none" extrusionOk="0">
                  <a:moveTo>
                    <a:pt x="1714500" y="1238250"/>
                  </a:moveTo>
                  <a:cubicBezTo>
                    <a:pt x="1742386" y="1109198"/>
                    <a:pt x="1682595" y="1038907"/>
                    <a:pt x="1714500" y="857250"/>
                  </a:cubicBezTo>
                  <a:cubicBezTo>
                    <a:pt x="1736418" y="382947"/>
                    <a:pt x="1347284" y="39530"/>
                    <a:pt x="857250" y="0"/>
                  </a:cubicBezTo>
                  <a:cubicBezTo>
                    <a:pt x="394122" y="-21267"/>
                    <a:pt x="-49020" y="310386"/>
                    <a:pt x="0" y="857250"/>
                  </a:cubicBezTo>
                  <a:cubicBezTo>
                    <a:pt x="26485" y="983626"/>
                    <a:pt x="-23275" y="1078091"/>
                    <a:pt x="0" y="1238250"/>
                  </a:cubicBezTo>
                  <a:cubicBezTo>
                    <a:pt x="611" y="1289894"/>
                    <a:pt x="47132" y="1332184"/>
                    <a:pt x="95250" y="1333500"/>
                  </a:cubicBezTo>
                  <a:cubicBezTo>
                    <a:pt x="348347" y="1208087"/>
                    <a:pt x="1207709" y="1247781"/>
                    <a:pt x="1619250" y="1333500"/>
                  </a:cubicBezTo>
                  <a:cubicBezTo>
                    <a:pt x="1674907" y="1337243"/>
                    <a:pt x="1719142" y="1296396"/>
                    <a:pt x="1714500" y="1238250"/>
                  </a:cubicBezTo>
                  <a:close/>
                  <a:moveTo>
                    <a:pt x="1524000" y="1143000"/>
                  </a:moveTo>
                  <a:cubicBezTo>
                    <a:pt x="1328645" y="1195577"/>
                    <a:pt x="550004" y="1147162"/>
                    <a:pt x="190500" y="1143000"/>
                  </a:cubicBezTo>
                  <a:cubicBezTo>
                    <a:pt x="194440" y="1053254"/>
                    <a:pt x="171476" y="976721"/>
                    <a:pt x="190500" y="857250"/>
                  </a:cubicBezTo>
                  <a:cubicBezTo>
                    <a:pt x="163048" y="540705"/>
                    <a:pt x="512389" y="191485"/>
                    <a:pt x="857250" y="190500"/>
                  </a:cubicBezTo>
                  <a:cubicBezTo>
                    <a:pt x="1272754" y="137485"/>
                    <a:pt x="1503946" y="520780"/>
                    <a:pt x="1524000" y="857250"/>
                  </a:cubicBezTo>
                  <a:cubicBezTo>
                    <a:pt x="1513929" y="913670"/>
                    <a:pt x="1537476" y="1060615"/>
                    <a:pt x="1524000" y="1143000"/>
                  </a:cubicBezTo>
                  <a:close/>
                </a:path>
                <a:path w="1714500" h="1333500" stroke="0" extrusionOk="0">
                  <a:moveTo>
                    <a:pt x="1714500" y="1238250"/>
                  </a:moveTo>
                  <a:cubicBezTo>
                    <a:pt x="1742812" y="1092589"/>
                    <a:pt x="1684228" y="1041369"/>
                    <a:pt x="1714500" y="857250"/>
                  </a:cubicBezTo>
                  <a:cubicBezTo>
                    <a:pt x="1722941" y="387955"/>
                    <a:pt x="1368781" y="61837"/>
                    <a:pt x="857250" y="0"/>
                  </a:cubicBezTo>
                  <a:cubicBezTo>
                    <a:pt x="383989" y="58933"/>
                    <a:pt x="28165" y="384943"/>
                    <a:pt x="0" y="857250"/>
                  </a:cubicBezTo>
                  <a:cubicBezTo>
                    <a:pt x="-13179" y="906562"/>
                    <a:pt x="-7730" y="1066983"/>
                    <a:pt x="0" y="1238250"/>
                  </a:cubicBezTo>
                  <a:cubicBezTo>
                    <a:pt x="3635" y="1293959"/>
                    <a:pt x="41379" y="1333629"/>
                    <a:pt x="95250" y="1333500"/>
                  </a:cubicBezTo>
                  <a:cubicBezTo>
                    <a:pt x="547541" y="1241970"/>
                    <a:pt x="1261012" y="1312347"/>
                    <a:pt x="1619250" y="1333500"/>
                  </a:cubicBezTo>
                  <a:cubicBezTo>
                    <a:pt x="1673467" y="1332098"/>
                    <a:pt x="1715124" y="1291160"/>
                    <a:pt x="1714500" y="1238250"/>
                  </a:cubicBezTo>
                  <a:close/>
                  <a:moveTo>
                    <a:pt x="1524000" y="1143000"/>
                  </a:moveTo>
                  <a:cubicBezTo>
                    <a:pt x="961295" y="1036476"/>
                    <a:pt x="526152" y="1216507"/>
                    <a:pt x="190500" y="1143000"/>
                  </a:cubicBezTo>
                  <a:cubicBezTo>
                    <a:pt x="186355" y="1047812"/>
                    <a:pt x="213632" y="979133"/>
                    <a:pt x="190500" y="857250"/>
                  </a:cubicBezTo>
                  <a:cubicBezTo>
                    <a:pt x="136905" y="479555"/>
                    <a:pt x="497494" y="170589"/>
                    <a:pt x="857250" y="190500"/>
                  </a:cubicBezTo>
                  <a:cubicBezTo>
                    <a:pt x="1231892" y="206430"/>
                    <a:pt x="1596069" y="485123"/>
                    <a:pt x="1524000" y="857250"/>
                  </a:cubicBezTo>
                  <a:cubicBezTo>
                    <a:pt x="1509311" y="964124"/>
                    <a:pt x="1514212" y="1053882"/>
                    <a:pt x="1524000" y="114300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2027438759">
                    <a:custGeom>
                      <a:avLst/>
                      <a:gdLst>
                        <a:gd name="connsiteX0" fmla="*/ 1714500 w 1714500"/>
                        <a:gd name="connsiteY0" fmla="*/ 1238250 h 1333500"/>
                        <a:gd name="connsiteX1" fmla="*/ 1714500 w 1714500"/>
                        <a:gd name="connsiteY1" fmla="*/ 857250 h 1333500"/>
                        <a:gd name="connsiteX2" fmla="*/ 857250 w 1714500"/>
                        <a:gd name="connsiteY2" fmla="*/ 0 h 1333500"/>
                        <a:gd name="connsiteX3" fmla="*/ 0 w 1714500"/>
                        <a:gd name="connsiteY3" fmla="*/ 857250 h 1333500"/>
                        <a:gd name="connsiteX4" fmla="*/ 0 w 1714500"/>
                        <a:gd name="connsiteY4" fmla="*/ 1238250 h 1333500"/>
                        <a:gd name="connsiteX5" fmla="*/ 95250 w 1714500"/>
                        <a:gd name="connsiteY5" fmla="*/ 1333500 h 1333500"/>
                        <a:gd name="connsiteX6" fmla="*/ 1619250 w 1714500"/>
                        <a:gd name="connsiteY6" fmla="*/ 1333500 h 1333500"/>
                        <a:gd name="connsiteX7" fmla="*/ 1714500 w 1714500"/>
                        <a:gd name="connsiteY7" fmla="*/ 1238250 h 1333500"/>
                        <a:gd name="connsiteX8" fmla="*/ 1524000 w 1714500"/>
                        <a:gd name="connsiteY8" fmla="*/ 1143000 h 1333500"/>
                        <a:gd name="connsiteX9" fmla="*/ 190500 w 1714500"/>
                        <a:gd name="connsiteY9" fmla="*/ 1143000 h 1333500"/>
                        <a:gd name="connsiteX10" fmla="*/ 190500 w 1714500"/>
                        <a:gd name="connsiteY10" fmla="*/ 857250 h 1333500"/>
                        <a:gd name="connsiteX11" fmla="*/ 857250 w 1714500"/>
                        <a:gd name="connsiteY11" fmla="*/ 190500 h 1333500"/>
                        <a:gd name="connsiteX12" fmla="*/ 1524000 w 1714500"/>
                        <a:gd name="connsiteY12" fmla="*/ 857250 h 1333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1714500" h="1333500">
                          <a:moveTo>
                            <a:pt x="1714500" y="1238250"/>
                          </a:moveTo>
                          <a:lnTo>
                            <a:pt x="1714500" y="857250"/>
                          </a:lnTo>
                          <a:cubicBezTo>
                            <a:pt x="1714500" y="384562"/>
                            <a:pt x="1329938" y="0"/>
                            <a:pt x="857250" y="0"/>
                          </a:cubicBezTo>
                          <a:cubicBezTo>
                            <a:pt x="384562" y="0"/>
                            <a:pt x="0" y="384562"/>
                            <a:pt x="0" y="857250"/>
                          </a:cubicBezTo>
                          <a:lnTo>
                            <a:pt x="0" y="1238250"/>
                          </a:lnTo>
                          <a:cubicBezTo>
                            <a:pt x="0" y="1290857"/>
                            <a:pt x="42653" y="1333500"/>
                            <a:pt x="95250" y="1333500"/>
                          </a:cubicBezTo>
                          <a:lnTo>
                            <a:pt x="1619250" y="1333500"/>
                          </a:lnTo>
                          <a:cubicBezTo>
                            <a:pt x="1671847" y="1333500"/>
                            <a:pt x="1714500" y="1290857"/>
                            <a:pt x="1714500" y="1238250"/>
                          </a:cubicBezTo>
                          <a:close/>
                          <a:moveTo>
                            <a:pt x="1524000" y="1143000"/>
                          </a:moveTo>
                          <a:lnTo>
                            <a:pt x="190500" y="1143000"/>
                          </a:lnTo>
                          <a:lnTo>
                            <a:pt x="190500" y="857250"/>
                          </a:lnTo>
                          <a:cubicBezTo>
                            <a:pt x="190500" y="489604"/>
                            <a:pt x="489604" y="190500"/>
                            <a:pt x="857250" y="190500"/>
                          </a:cubicBezTo>
                          <a:cubicBezTo>
                            <a:pt x="1224896" y="190500"/>
                            <a:pt x="1524000" y="489604"/>
                            <a:pt x="1524000" y="857250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1B78CA30-C806-45DE-B6D4-E6E2C2376B63}"/>
                </a:ext>
              </a:extLst>
            </p:cNvPr>
            <p:cNvSpPr/>
            <p:nvPr/>
          </p:nvSpPr>
          <p:spPr>
            <a:xfrm>
              <a:off x="3656806" y="2095500"/>
              <a:ext cx="2343150" cy="3619500"/>
            </a:xfrm>
            <a:custGeom>
              <a:avLst/>
              <a:gdLst>
                <a:gd name="connsiteX0" fmla="*/ 684447 w 2343150"/>
                <a:gd name="connsiteY0" fmla="*/ 2782386 h 3619500"/>
                <a:gd name="connsiteX1" fmla="*/ 1143000 w 2343150"/>
                <a:gd name="connsiteY1" fmla="*/ 3011624 h 3619500"/>
                <a:gd name="connsiteX2" fmla="*/ 1143000 w 2343150"/>
                <a:gd name="connsiteY2" fmla="*/ 3524250 h 3619500"/>
                <a:gd name="connsiteX3" fmla="*/ 1238250 w 2343150"/>
                <a:gd name="connsiteY3" fmla="*/ 3619500 h 3619500"/>
                <a:gd name="connsiteX4" fmla="*/ 2247900 w 2343150"/>
                <a:gd name="connsiteY4" fmla="*/ 3619500 h 3619500"/>
                <a:gd name="connsiteX5" fmla="*/ 2343150 w 2343150"/>
                <a:gd name="connsiteY5" fmla="*/ 3524250 h 3619500"/>
                <a:gd name="connsiteX6" fmla="*/ 2343150 w 2343150"/>
                <a:gd name="connsiteY6" fmla="*/ 2312480 h 3619500"/>
                <a:gd name="connsiteX7" fmla="*/ 1834601 w 2343150"/>
                <a:gd name="connsiteY7" fmla="*/ 1717900 h 3619500"/>
                <a:gd name="connsiteX8" fmla="*/ 1292171 w 2343150"/>
                <a:gd name="connsiteY8" fmla="*/ 1515418 h 3619500"/>
                <a:gd name="connsiteX9" fmla="*/ 1031377 w 2343150"/>
                <a:gd name="connsiteY9" fmla="*/ 1254633 h 3619500"/>
                <a:gd name="connsiteX10" fmla="*/ 762000 w 2343150"/>
                <a:gd name="connsiteY10" fmla="*/ 1143000 h 3619500"/>
                <a:gd name="connsiteX11" fmla="*/ 762000 w 2343150"/>
                <a:gd name="connsiteY11" fmla="*/ 381000 h 3619500"/>
                <a:gd name="connsiteX12" fmla="*/ 381000 w 2343150"/>
                <a:gd name="connsiteY12" fmla="*/ 0 h 3619500"/>
                <a:gd name="connsiteX13" fmla="*/ 0 w 2343150"/>
                <a:gd name="connsiteY13" fmla="*/ 381000 h 3619500"/>
                <a:gd name="connsiteX14" fmla="*/ 0 w 2343150"/>
                <a:gd name="connsiteY14" fmla="*/ 1674876 h 3619500"/>
                <a:gd name="connsiteX15" fmla="*/ 684447 w 2343150"/>
                <a:gd name="connsiteY15" fmla="*/ 2782386 h 3619500"/>
                <a:gd name="connsiteX16" fmla="*/ 190500 w 2343150"/>
                <a:gd name="connsiteY16" fmla="*/ 381000 h 3619500"/>
                <a:gd name="connsiteX17" fmla="*/ 381000 w 2343150"/>
                <a:gd name="connsiteY17" fmla="*/ 190500 h 3619500"/>
                <a:gd name="connsiteX18" fmla="*/ 571500 w 2343150"/>
                <a:gd name="connsiteY18" fmla="*/ 381000 h 3619500"/>
                <a:gd name="connsiteX19" fmla="*/ 571500 w 2343150"/>
                <a:gd name="connsiteY19" fmla="*/ 1194064 h 3619500"/>
                <a:gd name="connsiteX20" fmla="*/ 381000 w 2343150"/>
                <a:gd name="connsiteY20" fmla="*/ 1524000 h 3619500"/>
                <a:gd name="connsiteX21" fmla="*/ 492624 w 2343150"/>
                <a:gd name="connsiteY21" fmla="*/ 1793367 h 3619500"/>
                <a:gd name="connsiteX22" fmla="*/ 980399 w 2343150"/>
                <a:gd name="connsiteY22" fmla="*/ 2281238 h 3619500"/>
                <a:gd name="connsiteX23" fmla="*/ 1115101 w 2343150"/>
                <a:gd name="connsiteY23" fmla="*/ 2281247 h 3619500"/>
                <a:gd name="connsiteX24" fmla="*/ 1115111 w 2343150"/>
                <a:gd name="connsiteY24" fmla="*/ 2146545 h 3619500"/>
                <a:gd name="connsiteX25" fmla="*/ 627336 w 2343150"/>
                <a:gd name="connsiteY25" fmla="*/ 1658665 h 3619500"/>
                <a:gd name="connsiteX26" fmla="*/ 571500 w 2343150"/>
                <a:gd name="connsiteY26" fmla="*/ 1524000 h 3619500"/>
                <a:gd name="connsiteX27" fmla="*/ 698487 w 2343150"/>
                <a:gd name="connsiteY27" fmla="*/ 1344349 h 3619500"/>
                <a:gd name="connsiteX28" fmla="*/ 698573 w 2343150"/>
                <a:gd name="connsiteY28" fmla="*/ 1344311 h 3619500"/>
                <a:gd name="connsiteX29" fmla="*/ 698583 w 2343150"/>
                <a:gd name="connsiteY29" fmla="*/ 1344311 h 3619500"/>
                <a:gd name="connsiteX30" fmla="*/ 896674 w 2343150"/>
                <a:gd name="connsiteY30" fmla="*/ 1389326 h 3619500"/>
                <a:gd name="connsiteX31" fmla="*/ 1157497 w 2343150"/>
                <a:gd name="connsiteY31" fmla="*/ 1650149 h 3619500"/>
                <a:gd name="connsiteX32" fmla="*/ 1813160 w 2343150"/>
                <a:gd name="connsiteY32" fmla="*/ 1907191 h 3619500"/>
                <a:gd name="connsiteX33" fmla="*/ 1814236 w 2343150"/>
                <a:gd name="connsiteY33" fmla="*/ 1907315 h 3619500"/>
                <a:gd name="connsiteX34" fmla="*/ 2152650 w 2343150"/>
                <a:gd name="connsiteY34" fmla="*/ 2312480 h 3619500"/>
                <a:gd name="connsiteX35" fmla="*/ 2152650 w 2343150"/>
                <a:gd name="connsiteY35" fmla="*/ 3429000 h 3619500"/>
                <a:gd name="connsiteX36" fmla="*/ 1333500 w 2343150"/>
                <a:gd name="connsiteY36" fmla="*/ 3429000 h 3619500"/>
                <a:gd name="connsiteX37" fmla="*/ 1333500 w 2343150"/>
                <a:gd name="connsiteY37" fmla="*/ 2952750 h 3619500"/>
                <a:gd name="connsiteX38" fmla="*/ 1280846 w 2343150"/>
                <a:gd name="connsiteY38" fmla="*/ 2867559 h 3619500"/>
                <a:gd name="connsiteX39" fmla="*/ 769649 w 2343150"/>
                <a:gd name="connsiteY39" fmla="*/ 2612003 h 3619500"/>
                <a:gd name="connsiteX40" fmla="*/ 190500 w 2343150"/>
                <a:gd name="connsiteY40" fmla="*/ 1674876 h 3619500"/>
                <a:gd name="connsiteX41" fmla="*/ 190500 w 2343150"/>
                <a:gd name="connsiteY41" fmla="*/ 381000 h 3619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43150" h="3619500" fill="none" extrusionOk="0">
                  <a:moveTo>
                    <a:pt x="684447" y="2782386"/>
                  </a:moveTo>
                  <a:cubicBezTo>
                    <a:pt x="862786" y="2913759"/>
                    <a:pt x="1022304" y="2941433"/>
                    <a:pt x="1143000" y="3011624"/>
                  </a:cubicBezTo>
                  <a:cubicBezTo>
                    <a:pt x="1188300" y="3165259"/>
                    <a:pt x="1111723" y="3404157"/>
                    <a:pt x="1143000" y="3524250"/>
                  </a:cubicBezTo>
                  <a:cubicBezTo>
                    <a:pt x="1142257" y="3578553"/>
                    <a:pt x="1176037" y="3615803"/>
                    <a:pt x="1238250" y="3619500"/>
                  </a:cubicBezTo>
                  <a:cubicBezTo>
                    <a:pt x="1463657" y="3576600"/>
                    <a:pt x="2146565" y="3677411"/>
                    <a:pt x="2247900" y="3619500"/>
                  </a:cubicBezTo>
                  <a:cubicBezTo>
                    <a:pt x="2298761" y="3619331"/>
                    <a:pt x="2341284" y="3576065"/>
                    <a:pt x="2343150" y="3524250"/>
                  </a:cubicBezTo>
                  <a:cubicBezTo>
                    <a:pt x="2399895" y="3105247"/>
                    <a:pt x="2243614" y="2902036"/>
                    <a:pt x="2343150" y="2312480"/>
                  </a:cubicBezTo>
                  <a:cubicBezTo>
                    <a:pt x="2351355" y="2053604"/>
                    <a:pt x="2116117" y="1768896"/>
                    <a:pt x="1834601" y="1717900"/>
                  </a:cubicBezTo>
                  <a:cubicBezTo>
                    <a:pt x="1827464" y="1721171"/>
                    <a:pt x="1448555" y="1691270"/>
                    <a:pt x="1292171" y="1515418"/>
                  </a:cubicBezTo>
                  <a:cubicBezTo>
                    <a:pt x="1264067" y="1488997"/>
                    <a:pt x="1105870" y="1319342"/>
                    <a:pt x="1031377" y="1254633"/>
                  </a:cubicBezTo>
                  <a:cubicBezTo>
                    <a:pt x="963299" y="1178075"/>
                    <a:pt x="860201" y="1143579"/>
                    <a:pt x="762000" y="1143000"/>
                  </a:cubicBezTo>
                  <a:cubicBezTo>
                    <a:pt x="714345" y="850640"/>
                    <a:pt x="796394" y="742122"/>
                    <a:pt x="762000" y="381000"/>
                  </a:cubicBezTo>
                  <a:cubicBezTo>
                    <a:pt x="752559" y="140509"/>
                    <a:pt x="590112" y="-8212"/>
                    <a:pt x="381000" y="0"/>
                  </a:cubicBezTo>
                  <a:cubicBezTo>
                    <a:pt x="173176" y="-5335"/>
                    <a:pt x="10263" y="165813"/>
                    <a:pt x="0" y="381000"/>
                  </a:cubicBezTo>
                  <a:cubicBezTo>
                    <a:pt x="45517" y="947821"/>
                    <a:pt x="86617" y="1135755"/>
                    <a:pt x="0" y="1674876"/>
                  </a:cubicBezTo>
                  <a:cubicBezTo>
                    <a:pt x="43643" y="2168729"/>
                    <a:pt x="209345" y="2582727"/>
                    <a:pt x="684447" y="2782386"/>
                  </a:cubicBezTo>
                  <a:close/>
                  <a:moveTo>
                    <a:pt x="190500" y="381000"/>
                  </a:moveTo>
                  <a:cubicBezTo>
                    <a:pt x="171153" y="268950"/>
                    <a:pt x="269155" y="197695"/>
                    <a:pt x="381000" y="190500"/>
                  </a:cubicBezTo>
                  <a:cubicBezTo>
                    <a:pt x="490379" y="196106"/>
                    <a:pt x="586143" y="280392"/>
                    <a:pt x="571500" y="381000"/>
                  </a:cubicBezTo>
                  <a:cubicBezTo>
                    <a:pt x="534384" y="556581"/>
                    <a:pt x="565598" y="1060286"/>
                    <a:pt x="571500" y="1194064"/>
                  </a:cubicBezTo>
                  <a:cubicBezTo>
                    <a:pt x="454403" y="1273384"/>
                    <a:pt x="401453" y="1370392"/>
                    <a:pt x="381000" y="1524000"/>
                  </a:cubicBezTo>
                  <a:cubicBezTo>
                    <a:pt x="392673" y="1635387"/>
                    <a:pt x="422818" y="1714723"/>
                    <a:pt x="492624" y="1793367"/>
                  </a:cubicBezTo>
                  <a:cubicBezTo>
                    <a:pt x="645958" y="1978773"/>
                    <a:pt x="906219" y="2235513"/>
                    <a:pt x="980399" y="2281238"/>
                  </a:cubicBezTo>
                  <a:cubicBezTo>
                    <a:pt x="1013187" y="2321998"/>
                    <a:pt x="1080408" y="2320521"/>
                    <a:pt x="1115101" y="2281247"/>
                  </a:cubicBezTo>
                  <a:cubicBezTo>
                    <a:pt x="1152141" y="2246831"/>
                    <a:pt x="1156419" y="2174441"/>
                    <a:pt x="1115111" y="2146545"/>
                  </a:cubicBezTo>
                  <a:cubicBezTo>
                    <a:pt x="952646" y="1945369"/>
                    <a:pt x="810502" y="1842674"/>
                    <a:pt x="627336" y="1658665"/>
                  </a:cubicBezTo>
                  <a:cubicBezTo>
                    <a:pt x="589646" y="1618466"/>
                    <a:pt x="569961" y="1573166"/>
                    <a:pt x="571500" y="1524000"/>
                  </a:cubicBezTo>
                  <a:cubicBezTo>
                    <a:pt x="571329" y="1438327"/>
                    <a:pt x="625941" y="1377990"/>
                    <a:pt x="698487" y="1344349"/>
                  </a:cubicBezTo>
                  <a:cubicBezTo>
                    <a:pt x="698515" y="1344339"/>
                    <a:pt x="698543" y="1344322"/>
                    <a:pt x="698573" y="1344311"/>
                  </a:cubicBezTo>
                  <a:cubicBezTo>
                    <a:pt x="698574" y="1344312"/>
                    <a:pt x="698582" y="1344311"/>
                    <a:pt x="698583" y="1344311"/>
                  </a:cubicBezTo>
                  <a:cubicBezTo>
                    <a:pt x="754136" y="1332398"/>
                    <a:pt x="835251" y="1323398"/>
                    <a:pt x="896674" y="1389326"/>
                  </a:cubicBezTo>
                  <a:cubicBezTo>
                    <a:pt x="1041309" y="1497883"/>
                    <a:pt x="1078235" y="1572780"/>
                    <a:pt x="1157497" y="1650149"/>
                  </a:cubicBezTo>
                  <a:cubicBezTo>
                    <a:pt x="1356013" y="1856146"/>
                    <a:pt x="1613000" y="1871002"/>
                    <a:pt x="1813160" y="1907191"/>
                  </a:cubicBezTo>
                  <a:cubicBezTo>
                    <a:pt x="1813683" y="1907282"/>
                    <a:pt x="1813794" y="1907195"/>
                    <a:pt x="1814236" y="1907315"/>
                  </a:cubicBezTo>
                  <a:cubicBezTo>
                    <a:pt x="2010037" y="1910413"/>
                    <a:pt x="2162021" y="2106249"/>
                    <a:pt x="2152650" y="2312480"/>
                  </a:cubicBezTo>
                  <a:cubicBezTo>
                    <a:pt x="2223732" y="2825006"/>
                    <a:pt x="2239819" y="2939652"/>
                    <a:pt x="2152650" y="3429000"/>
                  </a:cubicBezTo>
                  <a:cubicBezTo>
                    <a:pt x="1995040" y="3437542"/>
                    <a:pt x="1517084" y="3426927"/>
                    <a:pt x="1333500" y="3429000"/>
                  </a:cubicBezTo>
                  <a:cubicBezTo>
                    <a:pt x="1294168" y="3331932"/>
                    <a:pt x="1322418" y="3163386"/>
                    <a:pt x="1333500" y="2952750"/>
                  </a:cubicBezTo>
                  <a:cubicBezTo>
                    <a:pt x="1338893" y="2912915"/>
                    <a:pt x="1311648" y="2882889"/>
                    <a:pt x="1280846" y="2867559"/>
                  </a:cubicBezTo>
                  <a:cubicBezTo>
                    <a:pt x="1044319" y="2722151"/>
                    <a:pt x="860682" y="2670747"/>
                    <a:pt x="769649" y="2612003"/>
                  </a:cubicBezTo>
                  <a:cubicBezTo>
                    <a:pt x="417716" y="2464166"/>
                    <a:pt x="221086" y="2019504"/>
                    <a:pt x="190500" y="1674876"/>
                  </a:cubicBezTo>
                  <a:cubicBezTo>
                    <a:pt x="143668" y="1209416"/>
                    <a:pt x="157722" y="952132"/>
                    <a:pt x="190500" y="381000"/>
                  </a:cubicBezTo>
                  <a:close/>
                </a:path>
                <a:path w="2343150" h="3619500" stroke="0" extrusionOk="0">
                  <a:moveTo>
                    <a:pt x="684447" y="2782386"/>
                  </a:moveTo>
                  <a:cubicBezTo>
                    <a:pt x="796616" y="2835371"/>
                    <a:pt x="1100057" y="2981021"/>
                    <a:pt x="1143000" y="3011624"/>
                  </a:cubicBezTo>
                  <a:cubicBezTo>
                    <a:pt x="1157943" y="3121483"/>
                    <a:pt x="1147732" y="3398295"/>
                    <a:pt x="1143000" y="3524250"/>
                  </a:cubicBezTo>
                  <a:cubicBezTo>
                    <a:pt x="1137928" y="3572612"/>
                    <a:pt x="1188027" y="3610530"/>
                    <a:pt x="1238250" y="3619500"/>
                  </a:cubicBezTo>
                  <a:cubicBezTo>
                    <a:pt x="1400632" y="3619781"/>
                    <a:pt x="1847539" y="3594182"/>
                    <a:pt x="2247900" y="3619500"/>
                  </a:cubicBezTo>
                  <a:cubicBezTo>
                    <a:pt x="2305765" y="3614371"/>
                    <a:pt x="2343833" y="3576482"/>
                    <a:pt x="2343150" y="3524250"/>
                  </a:cubicBezTo>
                  <a:cubicBezTo>
                    <a:pt x="2433722" y="3345239"/>
                    <a:pt x="2416937" y="2746431"/>
                    <a:pt x="2343150" y="2312480"/>
                  </a:cubicBezTo>
                  <a:cubicBezTo>
                    <a:pt x="2388980" y="1998317"/>
                    <a:pt x="2145949" y="1744683"/>
                    <a:pt x="1834601" y="1717900"/>
                  </a:cubicBezTo>
                  <a:cubicBezTo>
                    <a:pt x="1817117" y="1707705"/>
                    <a:pt x="1438597" y="1704513"/>
                    <a:pt x="1292171" y="1515418"/>
                  </a:cubicBezTo>
                  <a:cubicBezTo>
                    <a:pt x="1191685" y="1375377"/>
                    <a:pt x="1072171" y="1318497"/>
                    <a:pt x="1031377" y="1254633"/>
                  </a:cubicBezTo>
                  <a:cubicBezTo>
                    <a:pt x="953014" y="1168299"/>
                    <a:pt x="863733" y="1144421"/>
                    <a:pt x="762000" y="1143000"/>
                  </a:cubicBezTo>
                  <a:cubicBezTo>
                    <a:pt x="759919" y="824355"/>
                    <a:pt x="762012" y="644710"/>
                    <a:pt x="762000" y="381000"/>
                  </a:cubicBezTo>
                  <a:cubicBezTo>
                    <a:pt x="782638" y="174853"/>
                    <a:pt x="570486" y="-378"/>
                    <a:pt x="381000" y="0"/>
                  </a:cubicBezTo>
                  <a:cubicBezTo>
                    <a:pt x="172847" y="11736"/>
                    <a:pt x="-8117" y="165132"/>
                    <a:pt x="0" y="381000"/>
                  </a:cubicBezTo>
                  <a:cubicBezTo>
                    <a:pt x="46012" y="910611"/>
                    <a:pt x="107562" y="1482405"/>
                    <a:pt x="0" y="1674876"/>
                  </a:cubicBezTo>
                  <a:cubicBezTo>
                    <a:pt x="-41636" y="2170587"/>
                    <a:pt x="286262" y="2568966"/>
                    <a:pt x="684447" y="2782386"/>
                  </a:cubicBezTo>
                  <a:close/>
                  <a:moveTo>
                    <a:pt x="190500" y="381000"/>
                  </a:moveTo>
                  <a:cubicBezTo>
                    <a:pt x="199891" y="275828"/>
                    <a:pt x="272143" y="193415"/>
                    <a:pt x="381000" y="190500"/>
                  </a:cubicBezTo>
                  <a:cubicBezTo>
                    <a:pt x="483943" y="200394"/>
                    <a:pt x="575528" y="280945"/>
                    <a:pt x="571500" y="381000"/>
                  </a:cubicBezTo>
                  <a:cubicBezTo>
                    <a:pt x="584439" y="610120"/>
                    <a:pt x="570131" y="1004849"/>
                    <a:pt x="571500" y="1194064"/>
                  </a:cubicBezTo>
                  <a:cubicBezTo>
                    <a:pt x="479467" y="1259416"/>
                    <a:pt x="377259" y="1390174"/>
                    <a:pt x="381000" y="1524000"/>
                  </a:cubicBezTo>
                  <a:cubicBezTo>
                    <a:pt x="385314" y="1608564"/>
                    <a:pt x="421056" y="1725218"/>
                    <a:pt x="492624" y="1793367"/>
                  </a:cubicBezTo>
                  <a:cubicBezTo>
                    <a:pt x="725035" y="2029199"/>
                    <a:pt x="864842" y="2151421"/>
                    <a:pt x="980399" y="2281238"/>
                  </a:cubicBezTo>
                  <a:cubicBezTo>
                    <a:pt x="1015567" y="2316389"/>
                    <a:pt x="1075669" y="2312353"/>
                    <a:pt x="1115101" y="2281247"/>
                  </a:cubicBezTo>
                  <a:cubicBezTo>
                    <a:pt x="1155287" y="2239046"/>
                    <a:pt x="1153574" y="2192539"/>
                    <a:pt x="1115111" y="2146545"/>
                  </a:cubicBezTo>
                  <a:cubicBezTo>
                    <a:pt x="980565" y="1955503"/>
                    <a:pt x="838305" y="1873291"/>
                    <a:pt x="627336" y="1658665"/>
                  </a:cubicBezTo>
                  <a:cubicBezTo>
                    <a:pt x="592404" y="1624712"/>
                    <a:pt x="577394" y="1572261"/>
                    <a:pt x="571500" y="1524000"/>
                  </a:cubicBezTo>
                  <a:cubicBezTo>
                    <a:pt x="575899" y="1438177"/>
                    <a:pt x="638403" y="1373893"/>
                    <a:pt x="698487" y="1344349"/>
                  </a:cubicBezTo>
                  <a:cubicBezTo>
                    <a:pt x="698513" y="1344343"/>
                    <a:pt x="698543" y="1344325"/>
                    <a:pt x="698573" y="1344311"/>
                  </a:cubicBezTo>
                  <a:cubicBezTo>
                    <a:pt x="698574" y="1344310"/>
                    <a:pt x="698582" y="1344310"/>
                    <a:pt x="698583" y="1344311"/>
                  </a:cubicBezTo>
                  <a:cubicBezTo>
                    <a:pt x="768612" y="1316896"/>
                    <a:pt x="836740" y="1347764"/>
                    <a:pt x="896674" y="1389326"/>
                  </a:cubicBezTo>
                  <a:cubicBezTo>
                    <a:pt x="1027861" y="1510312"/>
                    <a:pt x="1065985" y="1523661"/>
                    <a:pt x="1157497" y="1650149"/>
                  </a:cubicBezTo>
                  <a:cubicBezTo>
                    <a:pt x="1344786" y="1829799"/>
                    <a:pt x="1592139" y="1888045"/>
                    <a:pt x="1813160" y="1907191"/>
                  </a:cubicBezTo>
                  <a:cubicBezTo>
                    <a:pt x="1813609" y="1907250"/>
                    <a:pt x="1813960" y="1907253"/>
                    <a:pt x="1814236" y="1907315"/>
                  </a:cubicBezTo>
                  <a:cubicBezTo>
                    <a:pt x="1976017" y="1947953"/>
                    <a:pt x="2119714" y="2089241"/>
                    <a:pt x="2152650" y="2312480"/>
                  </a:cubicBezTo>
                  <a:cubicBezTo>
                    <a:pt x="2234829" y="2496273"/>
                    <a:pt x="2076302" y="3049093"/>
                    <a:pt x="2152650" y="3429000"/>
                  </a:cubicBezTo>
                  <a:cubicBezTo>
                    <a:pt x="1863706" y="3375871"/>
                    <a:pt x="1578166" y="3472534"/>
                    <a:pt x="1333500" y="3429000"/>
                  </a:cubicBezTo>
                  <a:cubicBezTo>
                    <a:pt x="1310713" y="3272317"/>
                    <a:pt x="1350067" y="3041840"/>
                    <a:pt x="1333500" y="2952750"/>
                  </a:cubicBezTo>
                  <a:cubicBezTo>
                    <a:pt x="1328297" y="2915968"/>
                    <a:pt x="1306553" y="2885482"/>
                    <a:pt x="1280846" y="2867559"/>
                  </a:cubicBezTo>
                  <a:cubicBezTo>
                    <a:pt x="1157521" y="2829159"/>
                    <a:pt x="983222" y="2745270"/>
                    <a:pt x="769649" y="2612003"/>
                  </a:cubicBezTo>
                  <a:cubicBezTo>
                    <a:pt x="417466" y="2445358"/>
                    <a:pt x="253117" y="2032213"/>
                    <a:pt x="190500" y="1674876"/>
                  </a:cubicBezTo>
                  <a:cubicBezTo>
                    <a:pt x="259078" y="1196917"/>
                    <a:pt x="242852" y="856907"/>
                    <a:pt x="190500" y="38100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3065913895">
                    <a:custGeom>
                      <a:avLst/>
                      <a:gdLst>
                        <a:gd name="connsiteX0" fmla="*/ 684447 w 2343150"/>
                        <a:gd name="connsiteY0" fmla="*/ 2782386 h 3619500"/>
                        <a:gd name="connsiteX1" fmla="*/ 1143000 w 2343150"/>
                        <a:gd name="connsiteY1" fmla="*/ 3011624 h 3619500"/>
                        <a:gd name="connsiteX2" fmla="*/ 1143000 w 2343150"/>
                        <a:gd name="connsiteY2" fmla="*/ 3524250 h 3619500"/>
                        <a:gd name="connsiteX3" fmla="*/ 1238250 w 2343150"/>
                        <a:gd name="connsiteY3" fmla="*/ 3619500 h 3619500"/>
                        <a:gd name="connsiteX4" fmla="*/ 2247900 w 2343150"/>
                        <a:gd name="connsiteY4" fmla="*/ 3619500 h 3619500"/>
                        <a:gd name="connsiteX5" fmla="*/ 2343150 w 2343150"/>
                        <a:gd name="connsiteY5" fmla="*/ 3524250 h 3619500"/>
                        <a:gd name="connsiteX6" fmla="*/ 2343150 w 2343150"/>
                        <a:gd name="connsiteY6" fmla="*/ 2312480 h 3619500"/>
                        <a:gd name="connsiteX7" fmla="*/ 1834601 w 2343150"/>
                        <a:gd name="connsiteY7" fmla="*/ 1717900 h 3619500"/>
                        <a:gd name="connsiteX8" fmla="*/ 1292171 w 2343150"/>
                        <a:gd name="connsiteY8" fmla="*/ 1515418 h 3619500"/>
                        <a:gd name="connsiteX9" fmla="*/ 1031377 w 2343150"/>
                        <a:gd name="connsiteY9" fmla="*/ 1254633 h 3619500"/>
                        <a:gd name="connsiteX10" fmla="*/ 762000 w 2343150"/>
                        <a:gd name="connsiteY10" fmla="*/ 1143000 h 3619500"/>
                        <a:gd name="connsiteX11" fmla="*/ 762000 w 2343150"/>
                        <a:gd name="connsiteY11" fmla="*/ 381000 h 3619500"/>
                        <a:gd name="connsiteX12" fmla="*/ 381000 w 2343150"/>
                        <a:gd name="connsiteY12" fmla="*/ 0 h 3619500"/>
                        <a:gd name="connsiteX13" fmla="*/ 0 w 2343150"/>
                        <a:gd name="connsiteY13" fmla="*/ 381000 h 3619500"/>
                        <a:gd name="connsiteX14" fmla="*/ 0 w 2343150"/>
                        <a:gd name="connsiteY14" fmla="*/ 1674876 h 3619500"/>
                        <a:gd name="connsiteX15" fmla="*/ 684447 w 2343150"/>
                        <a:gd name="connsiteY15" fmla="*/ 2782386 h 3619500"/>
                        <a:gd name="connsiteX16" fmla="*/ 190500 w 2343150"/>
                        <a:gd name="connsiteY16" fmla="*/ 381000 h 3619500"/>
                        <a:gd name="connsiteX17" fmla="*/ 381000 w 2343150"/>
                        <a:gd name="connsiteY17" fmla="*/ 190500 h 3619500"/>
                        <a:gd name="connsiteX18" fmla="*/ 571500 w 2343150"/>
                        <a:gd name="connsiteY18" fmla="*/ 381000 h 3619500"/>
                        <a:gd name="connsiteX19" fmla="*/ 571500 w 2343150"/>
                        <a:gd name="connsiteY19" fmla="*/ 1194064 h 3619500"/>
                        <a:gd name="connsiteX20" fmla="*/ 381000 w 2343150"/>
                        <a:gd name="connsiteY20" fmla="*/ 1524000 h 3619500"/>
                        <a:gd name="connsiteX21" fmla="*/ 492624 w 2343150"/>
                        <a:gd name="connsiteY21" fmla="*/ 1793367 h 3619500"/>
                        <a:gd name="connsiteX22" fmla="*/ 980399 w 2343150"/>
                        <a:gd name="connsiteY22" fmla="*/ 2281238 h 3619500"/>
                        <a:gd name="connsiteX23" fmla="*/ 1115101 w 2343150"/>
                        <a:gd name="connsiteY23" fmla="*/ 2281247 h 3619500"/>
                        <a:gd name="connsiteX24" fmla="*/ 1115111 w 2343150"/>
                        <a:gd name="connsiteY24" fmla="*/ 2146545 h 3619500"/>
                        <a:gd name="connsiteX25" fmla="*/ 627336 w 2343150"/>
                        <a:gd name="connsiteY25" fmla="*/ 1658665 h 3619500"/>
                        <a:gd name="connsiteX26" fmla="*/ 571500 w 2343150"/>
                        <a:gd name="connsiteY26" fmla="*/ 1524000 h 3619500"/>
                        <a:gd name="connsiteX27" fmla="*/ 698487 w 2343150"/>
                        <a:gd name="connsiteY27" fmla="*/ 1344349 h 3619500"/>
                        <a:gd name="connsiteX28" fmla="*/ 698573 w 2343150"/>
                        <a:gd name="connsiteY28" fmla="*/ 1344311 h 3619500"/>
                        <a:gd name="connsiteX29" fmla="*/ 698583 w 2343150"/>
                        <a:gd name="connsiteY29" fmla="*/ 1344311 h 3619500"/>
                        <a:gd name="connsiteX30" fmla="*/ 896674 w 2343150"/>
                        <a:gd name="connsiteY30" fmla="*/ 1389326 h 3619500"/>
                        <a:gd name="connsiteX31" fmla="*/ 1157497 w 2343150"/>
                        <a:gd name="connsiteY31" fmla="*/ 1650149 h 3619500"/>
                        <a:gd name="connsiteX32" fmla="*/ 1813160 w 2343150"/>
                        <a:gd name="connsiteY32" fmla="*/ 1907191 h 3619500"/>
                        <a:gd name="connsiteX33" fmla="*/ 1814236 w 2343150"/>
                        <a:gd name="connsiteY33" fmla="*/ 1907315 h 3619500"/>
                        <a:gd name="connsiteX34" fmla="*/ 2152650 w 2343150"/>
                        <a:gd name="connsiteY34" fmla="*/ 2312480 h 3619500"/>
                        <a:gd name="connsiteX35" fmla="*/ 2152650 w 2343150"/>
                        <a:gd name="connsiteY35" fmla="*/ 3429000 h 3619500"/>
                        <a:gd name="connsiteX36" fmla="*/ 1333500 w 2343150"/>
                        <a:gd name="connsiteY36" fmla="*/ 3429000 h 3619500"/>
                        <a:gd name="connsiteX37" fmla="*/ 1333500 w 2343150"/>
                        <a:gd name="connsiteY37" fmla="*/ 2952750 h 3619500"/>
                        <a:gd name="connsiteX38" fmla="*/ 1280846 w 2343150"/>
                        <a:gd name="connsiteY38" fmla="*/ 2867559 h 3619500"/>
                        <a:gd name="connsiteX39" fmla="*/ 769649 w 2343150"/>
                        <a:gd name="connsiteY39" fmla="*/ 2612003 h 3619500"/>
                        <a:gd name="connsiteX40" fmla="*/ 190500 w 2343150"/>
                        <a:gd name="connsiteY40" fmla="*/ 1674876 h 361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</a:cxnLst>
                      <a:rect l="l" t="t" r="r" b="b"/>
                      <a:pathLst>
                        <a:path w="2343150" h="3619500">
                          <a:moveTo>
                            <a:pt x="684447" y="2782386"/>
                          </a:moveTo>
                          <a:lnTo>
                            <a:pt x="1143000" y="3011624"/>
                          </a:lnTo>
                          <a:lnTo>
                            <a:pt x="1143000" y="3524250"/>
                          </a:lnTo>
                          <a:cubicBezTo>
                            <a:pt x="1143000" y="3576857"/>
                            <a:pt x="1185653" y="3619500"/>
                            <a:pt x="1238250" y="3619500"/>
                          </a:cubicBezTo>
                          <a:lnTo>
                            <a:pt x="2247900" y="3619500"/>
                          </a:lnTo>
                          <a:cubicBezTo>
                            <a:pt x="2300497" y="3619500"/>
                            <a:pt x="2343150" y="3576857"/>
                            <a:pt x="2343150" y="3524250"/>
                          </a:cubicBezTo>
                          <a:lnTo>
                            <a:pt x="2343150" y="2312480"/>
                          </a:lnTo>
                          <a:cubicBezTo>
                            <a:pt x="2343150" y="2009747"/>
                            <a:pt x="2119770" y="1748571"/>
                            <a:pt x="1834601" y="1717900"/>
                          </a:cubicBezTo>
                          <a:cubicBezTo>
                            <a:pt x="1827028" y="1716472"/>
                            <a:pt x="1466469" y="1689602"/>
                            <a:pt x="1292171" y="1515418"/>
                          </a:cubicBezTo>
                          <a:lnTo>
                            <a:pt x="1031377" y="1254633"/>
                          </a:lnTo>
                          <a:cubicBezTo>
                            <a:pt x="959406" y="1182643"/>
                            <a:pt x="863737" y="1143000"/>
                            <a:pt x="762000" y="1143000"/>
                          </a:cubicBezTo>
                          <a:lnTo>
                            <a:pt x="762000" y="381000"/>
                          </a:lnTo>
                          <a:cubicBezTo>
                            <a:pt x="762000" y="170917"/>
                            <a:pt x="591083" y="0"/>
                            <a:pt x="381000" y="0"/>
                          </a:cubicBezTo>
                          <a:cubicBezTo>
                            <a:pt x="170917" y="0"/>
                            <a:pt x="0" y="170917"/>
                            <a:pt x="0" y="381000"/>
                          </a:cubicBezTo>
                          <a:lnTo>
                            <a:pt x="0" y="1674876"/>
                          </a:lnTo>
                          <a:cubicBezTo>
                            <a:pt x="0" y="2143620"/>
                            <a:pt x="264776" y="2572503"/>
                            <a:pt x="684447" y="2782386"/>
                          </a:cubicBezTo>
                          <a:close/>
                          <a:moveTo>
                            <a:pt x="190500" y="381000"/>
                          </a:moveTo>
                          <a:cubicBezTo>
                            <a:pt x="190500" y="275958"/>
                            <a:pt x="275958" y="190500"/>
                            <a:pt x="381000" y="190500"/>
                          </a:cubicBezTo>
                          <a:cubicBezTo>
                            <a:pt x="486042" y="190500"/>
                            <a:pt x="571500" y="275958"/>
                            <a:pt x="571500" y="381000"/>
                          </a:cubicBezTo>
                          <a:lnTo>
                            <a:pt x="571500" y="1194064"/>
                          </a:lnTo>
                          <a:cubicBezTo>
                            <a:pt x="455333" y="1261234"/>
                            <a:pt x="381000" y="1386469"/>
                            <a:pt x="381000" y="1524000"/>
                          </a:cubicBezTo>
                          <a:cubicBezTo>
                            <a:pt x="381000" y="1625727"/>
                            <a:pt x="420643" y="1721387"/>
                            <a:pt x="492624" y="1793367"/>
                          </a:cubicBezTo>
                          <a:lnTo>
                            <a:pt x="980399" y="2281238"/>
                          </a:lnTo>
                          <a:cubicBezTo>
                            <a:pt x="1017575" y="2318433"/>
                            <a:pt x="1077897" y="2318452"/>
                            <a:pt x="1115101" y="2281247"/>
                          </a:cubicBezTo>
                          <a:cubicBezTo>
                            <a:pt x="1152296" y="2244052"/>
                            <a:pt x="1152306" y="2183749"/>
                            <a:pt x="1115111" y="2146545"/>
                          </a:cubicBezTo>
                          <a:lnTo>
                            <a:pt x="627336" y="1658665"/>
                          </a:lnTo>
                          <a:cubicBezTo>
                            <a:pt x="591331" y="1622670"/>
                            <a:pt x="571500" y="1574845"/>
                            <a:pt x="571500" y="1524000"/>
                          </a:cubicBezTo>
                          <a:cubicBezTo>
                            <a:pt x="571500" y="1443381"/>
                            <a:pt x="622525" y="1371181"/>
                            <a:pt x="698487" y="1344349"/>
                          </a:cubicBezTo>
                          <a:cubicBezTo>
                            <a:pt x="698516" y="1344340"/>
                            <a:pt x="698544" y="1344320"/>
                            <a:pt x="698573" y="1344311"/>
                          </a:cubicBezTo>
                          <a:lnTo>
                            <a:pt x="698583" y="1344311"/>
                          </a:lnTo>
                          <a:cubicBezTo>
                            <a:pt x="764115" y="1321079"/>
                            <a:pt x="842086" y="1334738"/>
                            <a:pt x="896674" y="1389326"/>
                          </a:cubicBezTo>
                          <a:lnTo>
                            <a:pt x="1157497" y="1650149"/>
                          </a:lnTo>
                          <a:cubicBezTo>
                            <a:pt x="1335138" y="1827667"/>
                            <a:pt x="1594037" y="1877597"/>
                            <a:pt x="1813160" y="1907191"/>
                          </a:cubicBezTo>
                          <a:cubicBezTo>
                            <a:pt x="1813512" y="1907229"/>
                            <a:pt x="1813874" y="1907277"/>
                            <a:pt x="1814236" y="1907315"/>
                          </a:cubicBezTo>
                          <a:cubicBezTo>
                            <a:pt x="2004003" y="1927717"/>
                            <a:pt x="2152650" y="2105692"/>
                            <a:pt x="2152650" y="2312480"/>
                          </a:cubicBezTo>
                          <a:lnTo>
                            <a:pt x="2152650" y="3429000"/>
                          </a:lnTo>
                          <a:lnTo>
                            <a:pt x="1333500" y="3429000"/>
                          </a:lnTo>
                          <a:lnTo>
                            <a:pt x="1333500" y="2952750"/>
                          </a:lnTo>
                          <a:cubicBezTo>
                            <a:pt x="1333500" y="2916669"/>
                            <a:pt x="1313107" y="2883684"/>
                            <a:pt x="1280846" y="2867559"/>
                          </a:cubicBezTo>
                          <a:lnTo>
                            <a:pt x="769649" y="2612003"/>
                          </a:lnTo>
                          <a:cubicBezTo>
                            <a:pt x="412423" y="2433342"/>
                            <a:pt x="190500" y="2074259"/>
                            <a:pt x="190500" y="1674876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209D4127-3ADE-497D-BA63-D2BCC7FCB799}"/>
                </a:ext>
              </a:extLst>
            </p:cNvPr>
            <p:cNvSpPr/>
            <p:nvPr/>
          </p:nvSpPr>
          <p:spPr>
            <a:xfrm>
              <a:off x="7933531" y="4552950"/>
              <a:ext cx="190500" cy="190500"/>
            </a:xfrm>
            <a:custGeom>
              <a:avLst/>
              <a:gdLst>
                <a:gd name="connsiteX0" fmla="*/ 190500 w 190500"/>
                <a:gd name="connsiteY0" fmla="*/ 95250 h 190500"/>
                <a:gd name="connsiteX1" fmla="*/ 95250 w 190500"/>
                <a:gd name="connsiteY1" fmla="*/ 190500 h 190500"/>
                <a:gd name="connsiteX2" fmla="*/ 0 w 190500"/>
                <a:gd name="connsiteY2" fmla="*/ 95250 h 190500"/>
                <a:gd name="connsiteX3" fmla="*/ 95250 w 190500"/>
                <a:gd name="connsiteY3" fmla="*/ 0 h 190500"/>
                <a:gd name="connsiteX4" fmla="*/ 190500 w 190500"/>
                <a:gd name="connsiteY4" fmla="*/ 9525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90500" fill="none" extrusionOk="0">
                  <a:moveTo>
                    <a:pt x="190500" y="95250"/>
                  </a:moveTo>
                  <a:cubicBezTo>
                    <a:pt x="190079" y="146845"/>
                    <a:pt x="146565" y="198542"/>
                    <a:pt x="95250" y="190500"/>
                  </a:cubicBezTo>
                  <a:cubicBezTo>
                    <a:pt x="46149" y="182066"/>
                    <a:pt x="-2720" y="148598"/>
                    <a:pt x="0" y="95250"/>
                  </a:cubicBezTo>
                  <a:cubicBezTo>
                    <a:pt x="627" y="42129"/>
                    <a:pt x="33453" y="1533"/>
                    <a:pt x="95250" y="0"/>
                  </a:cubicBezTo>
                  <a:cubicBezTo>
                    <a:pt x="142281" y="-261"/>
                    <a:pt x="183180" y="45417"/>
                    <a:pt x="190500" y="95250"/>
                  </a:cubicBezTo>
                  <a:close/>
                </a:path>
                <a:path w="190500" h="190500" stroke="0" extrusionOk="0">
                  <a:moveTo>
                    <a:pt x="190500" y="95250"/>
                  </a:moveTo>
                  <a:cubicBezTo>
                    <a:pt x="185971" y="152571"/>
                    <a:pt x="149010" y="198441"/>
                    <a:pt x="95250" y="190500"/>
                  </a:cubicBezTo>
                  <a:cubicBezTo>
                    <a:pt x="41491" y="191583"/>
                    <a:pt x="8163" y="141307"/>
                    <a:pt x="0" y="95250"/>
                  </a:cubicBezTo>
                  <a:cubicBezTo>
                    <a:pt x="-1377" y="38666"/>
                    <a:pt x="39846" y="-1712"/>
                    <a:pt x="95250" y="0"/>
                  </a:cubicBezTo>
                  <a:cubicBezTo>
                    <a:pt x="143201" y="2987"/>
                    <a:pt x="185147" y="40217"/>
                    <a:pt x="190500" y="9525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3346808762">
                    <a:custGeom>
                      <a:avLst/>
                      <a:gdLst>
                        <a:gd name="connsiteX0" fmla="*/ 190500 w 190500"/>
                        <a:gd name="connsiteY0" fmla="*/ 95250 h 190500"/>
                        <a:gd name="connsiteX1" fmla="*/ 95250 w 190500"/>
                        <a:gd name="connsiteY1" fmla="*/ 190500 h 190500"/>
                        <a:gd name="connsiteX2" fmla="*/ 0 w 190500"/>
                        <a:gd name="connsiteY2" fmla="*/ 95250 h 190500"/>
                        <a:gd name="connsiteX3" fmla="*/ 95250 w 190500"/>
                        <a:gd name="connsiteY3" fmla="*/ 0 h 190500"/>
                        <a:gd name="connsiteX4" fmla="*/ 190500 w 190500"/>
                        <a:gd name="connsiteY4" fmla="*/ 95250 h 190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0500" h="190500">
                          <a:moveTo>
                            <a:pt x="190500" y="95250"/>
                          </a:moveTo>
                          <a:cubicBezTo>
                            <a:pt x="190500" y="147855"/>
                            <a:pt x="147855" y="190500"/>
                            <a:pt x="95250" y="190500"/>
                          </a:cubicBezTo>
                          <a:cubicBezTo>
                            <a:pt x="42645" y="190500"/>
                            <a:pt x="0" y="147855"/>
                            <a:pt x="0" y="95250"/>
                          </a:cubicBezTo>
                          <a:cubicBezTo>
                            <a:pt x="0" y="42645"/>
                            <a:pt x="42645" y="0"/>
                            <a:pt x="95250" y="0"/>
                          </a:cubicBezTo>
                          <a:cubicBezTo>
                            <a:pt x="147855" y="0"/>
                            <a:pt x="190500" y="42645"/>
                            <a:pt x="190500" y="95250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D2EFEC84-82D1-4554-95A4-8DD837FCCC9A}"/>
                </a:ext>
              </a:extLst>
            </p:cNvPr>
            <p:cNvSpPr/>
            <p:nvPr/>
          </p:nvSpPr>
          <p:spPr>
            <a:xfrm>
              <a:off x="6190456" y="2095500"/>
              <a:ext cx="2343150" cy="3619500"/>
            </a:xfrm>
            <a:custGeom>
              <a:avLst/>
              <a:gdLst>
                <a:gd name="connsiteX0" fmla="*/ 1962150 w 2343150"/>
                <a:gd name="connsiteY0" fmla="*/ 0 h 3619500"/>
                <a:gd name="connsiteX1" fmla="*/ 1581150 w 2343150"/>
                <a:gd name="connsiteY1" fmla="*/ 381000 h 3619500"/>
                <a:gd name="connsiteX2" fmla="*/ 1581150 w 2343150"/>
                <a:gd name="connsiteY2" fmla="*/ 1143000 h 3619500"/>
                <a:gd name="connsiteX3" fmla="*/ 1311773 w 2343150"/>
                <a:gd name="connsiteY3" fmla="*/ 1254623 h 3619500"/>
                <a:gd name="connsiteX4" fmla="*/ 1051008 w 2343150"/>
                <a:gd name="connsiteY4" fmla="*/ 1515390 h 3619500"/>
                <a:gd name="connsiteX5" fmla="*/ 508549 w 2343150"/>
                <a:gd name="connsiteY5" fmla="*/ 1717910 h 3619500"/>
                <a:gd name="connsiteX6" fmla="*/ 0 w 2343150"/>
                <a:gd name="connsiteY6" fmla="*/ 2312480 h 3619500"/>
                <a:gd name="connsiteX7" fmla="*/ 0 w 2343150"/>
                <a:gd name="connsiteY7" fmla="*/ 3524250 h 3619500"/>
                <a:gd name="connsiteX8" fmla="*/ 95250 w 2343150"/>
                <a:gd name="connsiteY8" fmla="*/ 3619500 h 3619500"/>
                <a:gd name="connsiteX9" fmla="*/ 1104900 w 2343150"/>
                <a:gd name="connsiteY9" fmla="*/ 3619500 h 3619500"/>
                <a:gd name="connsiteX10" fmla="*/ 1200150 w 2343150"/>
                <a:gd name="connsiteY10" fmla="*/ 3524250 h 3619500"/>
                <a:gd name="connsiteX11" fmla="*/ 1200150 w 2343150"/>
                <a:gd name="connsiteY11" fmla="*/ 3011624 h 3619500"/>
                <a:gd name="connsiteX12" fmla="*/ 1511903 w 2343150"/>
                <a:gd name="connsiteY12" fmla="*/ 2855776 h 3619500"/>
                <a:gd name="connsiteX13" fmla="*/ 1554509 w 2343150"/>
                <a:gd name="connsiteY13" fmla="*/ 2727979 h 3619500"/>
                <a:gd name="connsiteX14" fmla="*/ 1426721 w 2343150"/>
                <a:gd name="connsiteY14" fmla="*/ 2685374 h 3619500"/>
                <a:gd name="connsiteX15" fmla="*/ 1062304 w 2343150"/>
                <a:gd name="connsiteY15" fmla="*/ 2867539 h 3619500"/>
                <a:gd name="connsiteX16" fmla="*/ 1009650 w 2343150"/>
                <a:gd name="connsiteY16" fmla="*/ 2952750 h 3619500"/>
                <a:gd name="connsiteX17" fmla="*/ 1009650 w 2343150"/>
                <a:gd name="connsiteY17" fmla="*/ 3429000 h 3619500"/>
                <a:gd name="connsiteX18" fmla="*/ 190500 w 2343150"/>
                <a:gd name="connsiteY18" fmla="*/ 3429000 h 3619500"/>
                <a:gd name="connsiteX19" fmla="*/ 190500 w 2343150"/>
                <a:gd name="connsiteY19" fmla="*/ 2312480 h 3619500"/>
                <a:gd name="connsiteX20" fmla="*/ 528914 w 2343150"/>
                <a:gd name="connsiteY20" fmla="*/ 1907305 h 3619500"/>
                <a:gd name="connsiteX21" fmla="*/ 529990 w 2343150"/>
                <a:gd name="connsiteY21" fmla="*/ 1907181 h 3619500"/>
                <a:gd name="connsiteX22" fmla="*/ 1185681 w 2343150"/>
                <a:gd name="connsiteY22" fmla="*/ 1650121 h 3619500"/>
                <a:gd name="connsiteX23" fmla="*/ 1446476 w 2343150"/>
                <a:gd name="connsiteY23" fmla="*/ 1389326 h 3619500"/>
                <a:gd name="connsiteX24" fmla="*/ 1644567 w 2343150"/>
                <a:gd name="connsiteY24" fmla="*/ 1344311 h 3619500"/>
                <a:gd name="connsiteX25" fmla="*/ 1644577 w 2343150"/>
                <a:gd name="connsiteY25" fmla="*/ 1344311 h 3619500"/>
                <a:gd name="connsiteX26" fmla="*/ 1644663 w 2343150"/>
                <a:gd name="connsiteY26" fmla="*/ 1344349 h 3619500"/>
                <a:gd name="connsiteX27" fmla="*/ 1771650 w 2343150"/>
                <a:gd name="connsiteY27" fmla="*/ 1524000 h 3619500"/>
                <a:gd name="connsiteX28" fmla="*/ 1715824 w 2343150"/>
                <a:gd name="connsiteY28" fmla="*/ 1658684 h 3619500"/>
                <a:gd name="connsiteX29" fmla="*/ 1228049 w 2343150"/>
                <a:gd name="connsiteY29" fmla="*/ 2146554 h 3619500"/>
                <a:gd name="connsiteX30" fmla="*/ 1228058 w 2343150"/>
                <a:gd name="connsiteY30" fmla="*/ 2281257 h 3619500"/>
                <a:gd name="connsiteX31" fmla="*/ 1362761 w 2343150"/>
                <a:gd name="connsiteY31" fmla="*/ 2281247 h 3619500"/>
                <a:gd name="connsiteX32" fmla="*/ 1850536 w 2343150"/>
                <a:gd name="connsiteY32" fmla="*/ 1793377 h 3619500"/>
                <a:gd name="connsiteX33" fmla="*/ 1962150 w 2343150"/>
                <a:gd name="connsiteY33" fmla="*/ 1524000 h 3619500"/>
                <a:gd name="connsiteX34" fmla="*/ 1771650 w 2343150"/>
                <a:gd name="connsiteY34" fmla="*/ 1194064 h 3619500"/>
                <a:gd name="connsiteX35" fmla="*/ 1771650 w 2343150"/>
                <a:gd name="connsiteY35" fmla="*/ 381000 h 3619500"/>
                <a:gd name="connsiteX36" fmla="*/ 1962150 w 2343150"/>
                <a:gd name="connsiteY36" fmla="*/ 190500 h 3619500"/>
                <a:gd name="connsiteX37" fmla="*/ 2152650 w 2343150"/>
                <a:gd name="connsiteY37" fmla="*/ 381000 h 3619500"/>
                <a:gd name="connsiteX38" fmla="*/ 2152650 w 2343150"/>
                <a:gd name="connsiteY38" fmla="*/ 1674876 h 3619500"/>
                <a:gd name="connsiteX39" fmla="*/ 2025463 w 2343150"/>
                <a:gd name="connsiteY39" fmla="*/ 2175205 h 3619500"/>
                <a:gd name="connsiteX40" fmla="*/ 2063649 w 2343150"/>
                <a:gd name="connsiteY40" fmla="*/ 2304383 h 3619500"/>
                <a:gd name="connsiteX41" fmla="*/ 2192826 w 2343150"/>
                <a:gd name="connsiteY41" fmla="*/ 2266198 h 3619500"/>
                <a:gd name="connsiteX42" fmla="*/ 2343150 w 2343150"/>
                <a:gd name="connsiteY42" fmla="*/ 1674876 h 3619500"/>
                <a:gd name="connsiteX43" fmla="*/ 2343150 w 2343150"/>
                <a:gd name="connsiteY43" fmla="*/ 381000 h 3619500"/>
                <a:gd name="connsiteX44" fmla="*/ 1962150 w 2343150"/>
                <a:gd name="connsiteY44" fmla="*/ 0 h 3619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343150" h="3619500" fill="none" extrusionOk="0">
                  <a:moveTo>
                    <a:pt x="1962150" y="0"/>
                  </a:moveTo>
                  <a:cubicBezTo>
                    <a:pt x="1756875" y="-8929"/>
                    <a:pt x="1555025" y="170819"/>
                    <a:pt x="1581150" y="381000"/>
                  </a:cubicBezTo>
                  <a:cubicBezTo>
                    <a:pt x="1537035" y="525532"/>
                    <a:pt x="1562773" y="999248"/>
                    <a:pt x="1581150" y="1143000"/>
                  </a:cubicBezTo>
                  <a:cubicBezTo>
                    <a:pt x="1476065" y="1140221"/>
                    <a:pt x="1381154" y="1198142"/>
                    <a:pt x="1311773" y="1254623"/>
                  </a:cubicBezTo>
                  <a:cubicBezTo>
                    <a:pt x="1213254" y="1359658"/>
                    <a:pt x="1171458" y="1434803"/>
                    <a:pt x="1051008" y="1515390"/>
                  </a:cubicBezTo>
                  <a:cubicBezTo>
                    <a:pt x="904841" y="1648119"/>
                    <a:pt x="651207" y="1695314"/>
                    <a:pt x="508549" y="1717910"/>
                  </a:cubicBezTo>
                  <a:cubicBezTo>
                    <a:pt x="224015" y="1742355"/>
                    <a:pt x="-8136" y="2021808"/>
                    <a:pt x="0" y="2312480"/>
                  </a:cubicBezTo>
                  <a:cubicBezTo>
                    <a:pt x="-61291" y="2652351"/>
                    <a:pt x="-103967" y="3107833"/>
                    <a:pt x="0" y="3524250"/>
                  </a:cubicBezTo>
                  <a:cubicBezTo>
                    <a:pt x="1470" y="3576576"/>
                    <a:pt x="43626" y="3610730"/>
                    <a:pt x="95250" y="3619500"/>
                  </a:cubicBezTo>
                  <a:cubicBezTo>
                    <a:pt x="365143" y="3685650"/>
                    <a:pt x="625787" y="3597811"/>
                    <a:pt x="1104900" y="3619500"/>
                  </a:cubicBezTo>
                  <a:cubicBezTo>
                    <a:pt x="1153143" y="3624940"/>
                    <a:pt x="1194179" y="3580745"/>
                    <a:pt x="1200150" y="3524250"/>
                  </a:cubicBezTo>
                  <a:cubicBezTo>
                    <a:pt x="1156052" y="3394966"/>
                    <a:pt x="1201130" y="3197153"/>
                    <a:pt x="1200150" y="3011624"/>
                  </a:cubicBezTo>
                  <a:cubicBezTo>
                    <a:pt x="1244188" y="2973852"/>
                    <a:pt x="1424947" y="2921280"/>
                    <a:pt x="1511903" y="2855776"/>
                  </a:cubicBezTo>
                  <a:cubicBezTo>
                    <a:pt x="1565445" y="2828009"/>
                    <a:pt x="1581025" y="2778593"/>
                    <a:pt x="1554509" y="2727979"/>
                  </a:cubicBezTo>
                  <a:cubicBezTo>
                    <a:pt x="1528021" y="2681601"/>
                    <a:pt x="1480000" y="2662360"/>
                    <a:pt x="1426721" y="2685374"/>
                  </a:cubicBezTo>
                  <a:cubicBezTo>
                    <a:pt x="1345632" y="2739691"/>
                    <a:pt x="1229087" y="2810887"/>
                    <a:pt x="1062304" y="2867539"/>
                  </a:cubicBezTo>
                  <a:cubicBezTo>
                    <a:pt x="1032177" y="2890493"/>
                    <a:pt x="1009437" y="2917159"/>
                    <a:pt x="1009650" y="2952750"/>
                  </a:cubicBezTo>
                  <a:cubicBezTo>
                    <a:pt x="972478" y="3036547"/>
                    <a:pt x="983183" y="3356758"/>
                    <a:pt x="1009650" y="3429000"/>
                  </a:cubicBezTo>
                  <a:cubicBezTo>
                    <a:pt x="739231" y="3444152"/>
                    <a:pt x="309449" y="3476915"/>
                    <a:pt x="190500" y="3429000"/>
                  </a:cubicBezTo>
                  <a:cubicBezTo>
                    <a:pt x="219922" y="3069491"/>
                    <a:pt x="224123" y="2850751"/>
                    <a:pt x="190500" y="2312480"/>
                  </a:cubicBezTo>
                  <a:cubicBezTo>
                    <a:pt x="165722" y="2113489"/>
                    <a:pt x="349526" y="1926250"/>
                    <a:pt x="528914" y="1907305"/>
                  </a:cubicBezTo>
                  <a:cubicBezTo>
                    <a:pt x="529274" y="1907279"/>
                    <a:pt x="529624" y="1907239"/>
                    <a:pt x="529990" y="1907181"/>
                  </a:cubicBezTo>
                  <a:cubicBezTo>
                    <a:pt x="737681" y="1861273"/>
                    <a:pt x="970455" y="1812842"/>
                    <a:pt x="1185681" y="1650121"/>
                  </a:cubicBezTo>
                  <a:cubicBezTo>
                    <a:pt x="1280286" y="1596048"/>
                    <a:pt x="1331605" y="1523914"/>
                    <a:pt x="1446476" y="1389326"/>
                  </a:cubicBezTo>
                  <a:cubicBezTo>
                    <a:pt x="1495807" y="1331334"/>
                    <a:pt x="1578175" y="1323629"/>
                    <a:pt x="1644567" y="1344311"/>
                  </a:cubicBezTo>
                  <a:cubicBezTo>
                    <a:pt x="1644572" y="1344312"/>
                    <a:pt x="1644576" y="1344311"/>
                    <a:pt x="1644577" y="1344311"/>
                  </a:cubicBezTo>
                  <a:cubicBezTo>
                    <a:pt x="1644608" y="1344320"/>
                    <a:pt x="1644633" y="1344334"/>
                    <a:pt x="1644663" y="1344349"/>
                  </a:cubicBezTo>
                  <a:cubicBezTo>
                    <a:pt x="1724502" y="1357436"/>
                    <a:pt x="1771351" y="1441560"/>
                    <a:pt x="1771650" y="1524000"/>
                  </a:cubicBezTo>
                  <a:cubicBezTo>
                    <a:pt x="1778193" y="1575816"/>
                    <a:pt x="1749922" y="1623655"/>
                    <a:pt x="1715824" y="1658684"/>
                  </a:cubicBezTo>
                  <a:cubicBezTo>
                    <a:pt x="1652852" y="1774017"/>
                    <a:pt x="1435582" y="1980285"/>
                    <a:pt x="1228049" y="2146554"/>
                  </a:cubicBezTo>
                  <a:cubicBezTo>
                    <a:pt x="1198923" y="2179550"/>
                    <a:pt x="1192029" y="2236911"/>
                    <a:pt x="1228058" y="2281257"/>
                  </a:cubicBezTo>
                  <a:cubicBezTo>
                    <a:pt x="1266356" y="2317095"/>
                    <a:pt x="1330310" y="2318283"/>
                    <a:pt x="1362761" y="2281247"/>
                  </a:cubicBezTo>
                  <a:cubicBezTo>
                    <a:pt x="1567273" y="2148678"/>
                    <a:pt x="1807065" y="1878422"/>
                    <a:pt x="1850536" y="1793377"/>
                  </a:cubicBezTo>
                  <a:cubicBezTo>
                    <a:pt x="1909884" y="1730344"/>
                    <a:pt x="1948270" y="1611373"/>
                    <a:pt x="1962150" y="1524000"/>
                  </a:cubicBezTo>
                  <a:cubicBezTo>
                    <a:pt x="1964887" y="1409637"/>
                    <a:pt x="1895913" y="1282123"/>
                    <a:pt x="1771650" y="1194064"/>
                  </a:cubicBezTo>
                  <a:cubicBezTo>
                    <a:pt x="1783909" y="1032549"/>
                    <a:pt x="1706557" y="546557"/>
                    <a:pt x="1771650" y="381000"/>
                  </a:cubicBezTo>
                  <a:cubicBezTo>
                    <a:pt x="1783537" y="269502"/>
                    <a:pt x="1842452" y="194574"/>
                    <a:pt x="1962150" y="190500"/>
                  </a:cubicBezTo>
                  <a:cubicBezTo>
                    <a:pt x="2078388" y="194601"/>
                    <a:pt x="2154166" y="277607"/>
                    <a:pt x="2152650" y="381000"/>
                  </a:cubicBezTo>
                  <a:cubicBezTo>
                    <a:pt x="2191493" y="682870"/>
                    <a:pt x="2086444" y="1054926"/>
                    <a:pt x="2152650" y="1674876"/>
                  </a:cubicBezTo>
                  <a:cubicBezTo>
                    <a:pt x="2154263" y="1830366"/>
                    <a:pt x="2097100" y="2033299"/>
                    <a:pt x="2025463" y="2175205"/>
                  </a:cubicBezTo>
                  <a:cubicBezTo>
                    <a:pt x="2005542" y="2213037"/>
                    <a:pt x="2018245" y="2274661"/>
                    <a:pt x="2063649" y="2304383"/>
                  </a:cubicBezTo>
                  <a:cubicBezTo>
                    <a:pt x="2111798" y="2338937"/>
                    <a:pt x="2168510" y="2303007"/>
                    <a:pt x="2192826" y="2266198"/>
                  </a:cubicBezTo>
                  <a:cubicBezTo>
                    <a:pt x="2282601" y="2116625"/>
                    <a:pt x="2355638" y="1844797"/>
                    <a:pt x="2343150" y="1674876"/>
                  </a:cubicBezTo>
                  <a:cubicBezTo>
                    <a:pt x="2432706" y="1154127"/>
                    <a:pt x="2252769" y="824853"/>
                    <a:pt x="2343150" y="381000"/>
                  </a:cubicBezTo>
                  <a:cubicBezTo>
                    <a:pt x="2346097" y="140640"/>
                    <a:pt x="2188559" y="2628"/>
                    <a:pt x="1962150" y="0"/>
                  </a:cubicBezTo>
                  <a:close/>
                </a:path>
                <a:path w="2343150" h="3619500" stroke="0" extrusionOk="0">
                  <a:moveTo>
                    <a:pt x="1962150" y="0"/>
                  </a:moveTo>
                  <a:cubicBezTo>
                    <a:pt x="1720863" y="15948"/>
                    <a:pt x="1597876" y="203060"/>
                    <a:pt x="1581150" y="381000"/>
                  </a:cubicBezTo>
                  <a:cubicBezTo>
                    <a:pt x="1540170" y="605646"/>
                    <a:pt x="1518419" y="1020743"/>
                    <a:pt x="1581150" y="1143000"/>
                  </a:cubicBezTo>
                  <a:cubicBezTo>
                    <a:pt x="1481712" y="1148740"/>
                    <a:pt x="1384270" y="1180264"/>
                    <a:pt x="1311773" y="1254623"/>
                  </a:cubicBezTo>
                  <a:cubicBezTo>
                    <a:pt x="1251839" y="1350645"/>
                    <a:pt x="1071227" y="1467064"/>
                    <a:pt x="1051008" y="1515390"/>
                  </a:cubicBezTo>
                  <a:cubicBezTo>
                    <a:pt x="914728" y="1651612"/>
                    <a:pt x="648190" y="1686176"/>
                    <a:pt x="508549" y="1717910"/>
                  </a:cubicBezTo>
                  <a:cubicBezTo>
                    <a:pt x="213793" y="1756467"/>
                    <a:pt x="2635" y="2016457"/>
                    <a:pt x="0" y="2312480"/>
                  </a:cubicBezTo>
                  <a:cubicBezTo>
                    <a:pt x="98286" y="2901961"/>
                    <a:pt x="72097" y="3009939"/>
                    <a:pt x="0" y="3524250"/>
                  </a:cubicBezTo>
                  <a:cubicBezTo>
                    <a:pt x="-4132" y="3576525"/>
                    <a:pt x="42125" y="3624739"/>
                    <a:pt x="95250" y="3619500"/>
                  </a:cubicBezTo>
                  <a:cubicBezTo>
                    <a:pt x="252557" y="3553946"/>
                    <a:pt x="632380" y="3699286"/>
                    <a:pt x="1104900" y="3619500"/>
                  </a:cubicBezTo>
                  <a:cubicBezTo>
                    <a:pt x="1151575" y="3618393"/>
                    <a:pt x="1197752" y="3581247"/>
                    <a:pt x="1200150" y="3524250"/>
                  </a:cubicBezTo>
                  <a:cubicBezTo>
                    <a:pt x="1180145" y="3275602"/>
                    <a:pt x="1218597" y="3135445"/>
                    <a:pt x="1200150" y="3011624"/>
                  </a:cubicBezTo>
                  <a:cubicBezTo>
                    <a:pt x="1302190" y="2953939"/>
                    <a:pt x="1438079" y="2864815"/>
                    <a:pt x="1511903" y="2855776"/>
                  </a:cubicBezTo>
                  <a:cubicBezTo>
                    <a:pt x="1561259" y="2827051"/>
                    <a:pt x="1579061" y="2772871"/>
                    <a:pt x="1554509" y="2727979"/>
                  </a:cubicBezTo>
                  <a:cubicBezTo>
                    <a:pt x="1537907" y="2679395"/>
                    <a:pt x="1480696" y="2667686"/>
                    <a:pt x="1426721" y="2685374"/>
                  </a:cubicBezTo>
                  <a:cubicBezTo>
                    <a:pt x="1296916" y="2744412"/>
                    <a:pt x="1113199" y="2854338"/>
                    <a:pt x="1062304" y="2867539"/>
                  </a:cubicBezTo>
                  <a:cubicBezTo>
                    <a:pt x="1032854" y="2887234"/>
                    <a:pt x="1007801" y="2923090"/>
                    <a:pt x="1009650" y="2952750"/>
                  </a:cubicBezTo>
                  <a:cubicBezTo>
                    <a:pt x="1047011" y="3097042"/>
                    <a:pt x="1018552" y="3310351"/>
                    <a:pt x="1009650" y="3429000"/>
                  </a:cubicBezTo>
                  <a:cubicBezTo>
                    <a:pt x="804568" y="3491744"/>
                    <a:pt x="375074" y="3426634"/>
                    <a:pt x="190500" y="3429000"/>
                  </a:cubicBezTo>
                  <a:cubicBezTo>
                    <a:pt x="280339" y="3058903"/>
                    <a:pt x="281645" y="2831302"/>
                    <a:pt x="190500" y="2312480"/>
                  </a:cubicBezTo>
                  <a:cubicBezTo>
                    <a:pt x="190409" y="2113537"/>
                    <a:pt x="344746" y="1897729"/>
                    <a:pt x="528914" y="1907305"/>
                  </a:cubicBezTo>
                  <a:cubicBezTo>
                    <a:pt x="529326" y="1907272"/>
                    <a:pt x="529644" y="1907231"/>
                    <a:pt x="529990" y="1907181"/>
                  </a:cubicBezTo>
                  <a:cubicBezTo>
                    <a:pt x="723795" y="1866447"/>
                    <a:pt x="1036459" y="1814908"/>
                    <a:pt x="1185681" y="1650121"/>
                  </a:cubicBezTo>
                  <a:cubicBezTo>
                    <a:pt x="1274793" y="1578892"/>
                    <a:pt x="1347143" y="1446110"/>
                    <a:pt x="1446476" y="1389326"/>
                  </a:cubicBezTo>
                  <a:cubicBezTo>
                    <a:pt x="1497979" y="1333237"/>
                    <a:pt x="1583192" y="1325862"/>
                    <a:pt x="1644567" y="1344311"/>
                  </a:cubicBezTo>
                  <a:cubicBezTo>
                    <a:pt x="1644569" y="1344312"/>
                    <a:pt x="1644572" y="1344310"/>
                    <a:pt x="1644577" y="1344311"/>
                  </a:cubicBezTo>
                  <a:cubicBezTo>
                    <a:pt x="1644607" y="1344317"/>
                    <a:pt x="1644633" y="1344341"/>
                    <a:pt x="1644663" y="1344349"/>
                  </a:cubicBezTo>
                  <a:cubicBezTo>
                    <a:pt x="1734473" y="1374083"/>
                    <a:pt x="1779319" y="1446798"/>
                    <a:pt x="1771650" y="1524000"/>
                  </a:cubicBezTo>
                  <a:cubicBezTo>
                    <a:pt x="1776691" y="1581453"/>
                    <a:pt x="1751052" y="1629384"/>
                    <a:pt x="1715824" y="1658684"/>
                  </a:cubicBezTo>
                  <a:cubicBezTo>
                    <a:pt x="1683641" y="1762809"/>
                    <a:pt x="1358868" y="1994012"/>
                    <a:pt x="1228049" y="2146554"/>
                  </a:cubicBezTo>
                  <a:cubicBezTo>
                    <a:pt x="1190197" y="2186254"/>
                    <a:pt x="1190079" y="2243511"/>
                    <a:pt x="1228058" y="2281257"/>
                  </a:cubicBezTo>
                  <a:cubicBezTo>
                    <a:pt x="1263138" y="2316860"/>
                    <a:pt x="1321051" y="2327535"/>
                    <a:pt x="1362761" y="2281247"/>
                  </a:cubicBezTo>
                  <a:cubicBezTo>
                    <a:pt x="1505395" y="2194751"/>
                    <a:pt x="1764798" y="1962401"/>
                    <a:pt x="1850536" y="1793377"/>
                  </a:cubicBezTo>
                  <a:cubicBezTo>
                    <a:pt x="1925048" y="1723666"/>
                    <a:pt x="1963309" y="1633253"/>
                    <a:pt x="1962150" y="1524000"/>
                  </a:cubicBezTo>
                  <a:cubicBezTo>
                    <a:pt x="1942900" y="1386972"/>
                    <a:pt x="1888421" y="1252851"/>
                    <a:pt x="1771650" y="1194064"/>
                  </a:cubicBezTo>
                  <a:cubicBezTo>
                    <a:pt x="1831116" y="1108827"/>
                    <a:pt x="1730995" y="726595"/>
                    <a:pt x="1771650" y="381000"/>
                  </a:cubicBezTo>
                  <a:cubicBezTo>
                    <a:pt x="1774598" y="273635"/>
                    <a:pt x="1857745" y="192039"/>
                    <a:pt x="1962150" y="190500"/>
                  </a:cubicBezTo>
                  <a:cubicBezTo>
                    <a:pt x="2081581" y="203073"/>
                    <a:pt x="2145892" y="275287"/>
                    <a:pt x="2152650" y="381000"/>
                  </a:cubicBezTo>
                  <a:cubicBezTo>
                    <a:pt x="2239734" y="599892"/>
                    <a:pt x="2147056" y="1451503"/>
                    <a:pt x="2152650" y="1674876"/>
                  </a:cubicBezTo>
                  <a:cubicBezTo>
                    <a:pt x="2155777" y="1834223"/>
                    <a:pt x="2116087" y="2014010"/>
                    <a:pt x="2025463" y="2175205"/>
                  </a:cubicBezTo>
                  <a:cubicBezTo>
                    <a:pt x="1995907" y="2217280"/>
                    <a:pt x="2024297" y="2284306"/>
                    <a:pt x="2063649" y="2304383"/>
                  </a:cubicBezTo>
                  <a:cubicBezTo>
                    <a:pt x="2109546" y="2322715"/>
                    <a:pt x="2168097" y="2316208"/>
                    <a:pt x="2192826" y="2266198"/>
                  </a:cubicBezTo>
                  <a:cubicBezTo>
                    <a:pt x="2291747" y="2089061"/>
                    <a:pt x="2309656" y="1900184"/>
                    <a:pt x="2343150" y="1674876"/>
                  </a:cubicBezTo>
                  <a:cubicBezTo>
                    <a:pt x="2253927" y="1315362"/>
                    <a:pt x="2255746" y="598972"/>
                    <a:pt x="2343150" y="381000"/>
                  </a:cubicBezTo>
                  <a:cubicBezTo>
                    <a:pt x="2345081" y="168159"/>
                    <a:pt x="2185118" y="21293"/>
                    <a:pt x="1962150" y="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  <a:extLst>
                <a:ext uri="{C807C97D-BFC1-408E-A445-0C87EB9F89A2}">
                  <ask:lineSketchStyleProps xmlns:ask="http://schemas.microsoft.com/office/drawing/2018/sketchyshapes" sd="4104162320">
                    <a:custGeom>
                      <a:avLst/>
                      <a:gdLst>
                        <a:gd name="connsiteX0" fmla="*/ 1962150 w 2343150"/>
                        <a:gd name="connsiteY0" fmla="*/ 0 h 3619500"/>
                        <a:gd name="connsiteX1" fmla="*/ 1581150 w 2343150"/>
                        <a:gd name="connsiteY1" fmla="*/ 381000 h 3619500"/>
                        <a:gd name="connsiteX2" fmla="*/ 1581150 w 2343150"/>
                        <a:gd name="connsiteY2" fmla="*/ 1143000 h 3619500"/>
                        <a:gd name="connsiteX3" fmla="*/ 1311773 w 2343150"/>
                        <a:gd name="connsiteY3" fmla="*/ 1254623 h 3619500"/>
                        <a:gd name="connsiteX4" fmla="*/ 1051008 w 2343150"/>
                        <a:gd name="connsiteY4" fmla="*/ 1515390 h 3619500"/>
                        <a:gd name="connsiteX5" fmla="*/ 508549 w 2343150"/>
                        <a:gd name="connsiteY5" fmla="*/ 1717910 h 3619500"/>
                        <a:gd name="connsiteX6" fmla="*/ 0 w 2343150"/>
                        <a:gd name="connsiteY6" fmla="*/ 2312480 h 3619500"/>
                        <a:gd name="connsiteX7" fmla="*/ 0 w 2343150"/>
                        <a:gd name="connsiteY7" fmla="*/ 3524250 h 3619500"/>
                        <a:gd name="connsiteX8" fmla="*/ 95250 w 2343150"/>
                        <a:gd name="connsiteY8" fmla="*/ 3619500 h 3619500"/>
                        <a:gd name="connsiteX9" fmla="*/ 1104900 w 2343150"/>
                        <a:gd name="connsiteY9" fmla="*/ 3619500 h 3619500"/>
                        <a:gd name="connsiteX10" fmla="*/ 1200150 w 2343150"/>
                        <a:gd name="connsiteY10" fmla="*/ 3524250 h 3619500"/>
                        <a:gd name="connsiteX11" fmla="*/ 1200150 w 2343150"/>
                        <a:gd name="connsiteY11" fmla="*/ 3011624 h 3619500"/>
                        <a:gd name="connsiteX12" fmla="*/ 1511903 w 2343150"/>
                        <a:gd name="connsiteY12" fmla="*/ 2855776 h 3619500"/>
                        <a:gd name="connsiteX13" fmla="*/ 1554509 w 2343150"/>
                        <a:gd name="connsiteY13" fmla="*/ 2727979 h 3619500"/>
                        <a:gd name="connsiteX14" fmla="*/ 1426721 w 2343150"/>
                        <a:gd name="connsiteY14" fmla="*/ 2685374 h 3619500"/>
                        <a:gd name="connsiteX15" fmla="*/ 1062304 w 2343150"/>
                        <a:gd name="connsiteY15" fmla="*/ 2867539 h 3619500"/>
                        <a:gd name="connsiteX16" fmla="*/ 1009650 w 2343150"/>
                        <a:gd name="connsiteY16" fmla="*/ 2952750 h 3619500"/>
                        <a:gd name="connsiteX17" fmla="*/ 1009650 w 2343150"/>
                        <a:gd name="connsiteY17" fmla="*/ 3429000 h 3619500"/>
                        <a:gd name="connsiteX18" fmla="*/ 190500 w 2343150"/>
                        <a:gd name="connsiteY18" fmla="*/ 3429000 h 3619500"/>
                        <a:gd name="connsiteX19" fmla="*/ 190500 w 2343150"/>
                        <a:gd name="connsiteY19" fmla="*/ 2312480 h 3619500"/>
                        <a:gd name="connsiteX20" fmla="*/ 528914 w 2343150"/>
                        <a:gd name="connsiteY20" fmla="*/ 1907305 h 3619500"/>
                        <a:gd name="connsiteX21" fmla="*/ 529990 w 2343150"/>
                        <a:gd name="connsiteY21" fmla="*/ 1907181 h 3619500"/>
                        <a:gd name="connsiteX22" fmla="*/ 1185681 w 2343150"/>
                        <a:gd name="connsiteY22" fmla="*/ 1650121 h 3619500"/>
                        <a:gd name="connsiteX23" fmla="*/ 1446476 w 2343150"/>
                        <a:gd name="connsiteY23" fmla="*/ 1389326 h 3619500"/>
                        <a:gd name="connsiteX24" fmla="*/ 1644567 w 2343150"/>
                        <a:gd name="connsiteY24" fmla="*/ 1344311 h 3619500"/>
                        <a:gd name="connsiteX25" fmla="*/ 1644577 w 2343150"/>
                        <a:gd name="connsiteY25" fmla="*/ 1344311 h 3619500"/>
                        <a:gd name="connsiteX26" fmla="*/ 1644663 w 2343150"/>
                        <a:gd name="connsiteY26" fmla="*/ 1344349 h 3619500"/>
                        <a:gd name="connsiteX27" fmla="*/ 1771650 w 2343150"/>
                        <a:gd name="connsiteY27" fmla="*/ 1524000 h 3619500"/>
                        <a:gd name="connsiteX28" fmla="*/ 1715824 w 2343150"/>
                        <a:gd name="connsiteY28" fmla="*/ 1658684 h 3619500"/>
                        <a:gd name="connsiteX29" fmla="*/ 1228049 w 2343150"/>
                        <a:gd name="connsiteY29" fmla="*/ 2146554 h 3619500"/>
                        <a:gd name="connsiteX30" fmla="*/ 1228058 w 2343150"/>
                        <a:gd name="connsiteY30" fmla="*/ 2281257 h 3619500"/>
                        <a:gd name="connsiteX31" fmla="*/ 1362761 w 2343150"/>
                        <a:gd name="connsiteY31" fmla="*/ 2281247 h 3619500"/>
                        <a:gd name="connsiteX32" fmla="*/ 1850536 w 2343150"/>
                        <a:gd name="connsiteY32" fmla="*/ 1793377 h 3619500"/>
                        <a:gd name="connsiteX33" fmla="*/ 1962150 w 2343150"/>
                        <a:gd name="connsiteY33" fmla="*/ 1524000 h 3619500"/>
                        <a:gd name="connsiteX34" fmla="*/ 1771650 w 2343150"/>
                        <a:gd name="connsiteY34" fmla="*/ 1194064 h 3619500"/>
                        <a:gd name="connsiteX35" fmla="*/ 1771650 w 2343150"/>
                        <a:gd name="connsiteY35" fmla="*/ 381000 h 3619500"/>
                        <a:gd name="connsiteX36" fmla="*/ 1962150 w 2343150"/>
                        <a:gd name="connsiteY36" fmla="*/ 190500 h 3619500"/>
                        <a:gd name="connsiteX37" fmla="*/ 2152650 w 2343150"/>
                        <a:gd name="connsiteY37" fmla="*/ 381000 h 3619500"/>
                        <a:gd name="connsiteX38" fmla="*/ 2152650 w 2343150"/>
                        <a:gd name="connsiteY38" fmla="*/ 1674876 h 3619500"/>
                        <a:gd name="connsiteX39" fmla="*/ 2025463 w 2343150"/>
                        <a:gd name="connsiteY39" fmla="*/ 2175205 h 3619500"/>
                        <a:gd name="connsiteX40" fmla="*/ 2063649 w 2343150"/>
                        <a:gd name="connsiteY40" fmla="*/ 2304383 h 3619500"/>
                        <a:gd name="connsiteX41" fmla="*/ 2192826 w 2343150"/>
                        <a:gd name="connsiteY41" fmla="*/ 2266198 h 3619500"/>
                        <a:gd name="connsiteX42" fmla="*/ 2343150 w 2343150"/>
                        <a:gd name="connsiteY42" fmla="*/ 1674876 h 3619500"/>
                        <a:gd name="connsiteX43" fmla="*/ 2343150 w 2343150"/>
                        <a:gd name="connsiteY43" fmla="*/ 381000 h 3619500"/>
                        <a:gd name="connsiteX44" fmla="*/ 1962150 w 2343150"/>
                        <a:gd name="connsiteY44" fmla="*/ 0 h 361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</a:cxnLst>
                      <a:rect l="l" t="t" r="r" b="b"/>
                      <a:pathLst>
                        <a:path w="2343150" h="3619500">
                          <a:moveTo>
                            <a:pt x="1962150" y="0"/>
                          </a:moveTo>
                          <a:cubicBezTo>
                            <a:pt x="1752067" y="0"/>
                            <a:pt x="1581150" y="170917"/>
                            <a:pt x="1581150" y="381000"/>
                          </a:cubicBezTo>
                          <a:lnTo>
                            <a:pt x="1581150" y="1143000"/>
                          </a:lnTo>
                          <a:cubicBezTo>
                            <a:pt x="1479414" y="1143000"/>
                            <a:pt x="1383744" y="1182643"/>
                            <a:pt x="1311773" y="1254623"/>
                          </a:cubicBezTo>
                          <a:lnTo>
                            <a:pt x="1051008" y="1515390"/>
                          </a:lnTo>
                          <a:cubicBezTo>
                            <a:pt x="898988" y="1667304"/>
                            <a:pt x="652405" y="1692631"/>
                            <a:pt x="508549" y="1717910"/>
                          </a:cubicBezTo>
                          <a:cubicBezTo>
                            <a:pt x="223380" y="1748581"/>
                            <a:pt x="0" y="2009747"/>
                            <a:pt x="0" y="2312480"/>
                          </a:cubicBezTo>
                          <a:lnTo>
                            <a:pt x="0" y="3524250"/>
                          </a:lnTo>
                          <a:cubicBezTo>
                            <a:pt x="0" y="3576857"/>
                            <a:pt x="42653" y="3619500"/>
                            <a:pt x="95250" y="3619500"/>
                          </a:cubicBezTo>
                          <a:lnTo>
                            <a:pt x="1104900" y="3619500"/>
                          </a:lnTo>
                          <a:cubicBezTo>
                            <a:pt x="1157497" y="3619500"/>
                            <a:pt x="1200150" y="3576857"/>
                            <a:pt x="1200150" y="3524250"/>
                          </a:cubicBezTo>
                          <a:lnTo>
                            <a:pt x="1200150" y="3011624"/>
                          </a:lnTo>
                          <a:lnTo>
                            <a:pt x="1511903" y="2855776"/>
                          </a:lnTo>
                          <a:cubicBezTo>
                            <a:pt x="1558947" y="2832249"/>
                            <a:pt x="1578026" y="2775042"/>
                            <a:pt x="1554509" y="2727979"/>
                          </a:cubicBezTo>
                          <a:cubicBezTo>
                            <a:pt x="1530991" y="2680935"/>
                            <a:pt x="1473794" y="2661857"/>
                            <a:pt x="1426721" y="2685374"/>
                          </a:cubicBezTo>
                          <a:lnTo>
                            <a:pt x="1062304" y="2867539"/>
                          </a:lnTo>
                          <a:cubicBezTo>
                            <a:pt x="1030043" y="2883684"/>
                            <a:pt x="1009650" y="2916669"/>
                            <a:pt x="1009650" y="2952750"/>
                          </a:cubicBezTo>
                          <a:lnTo>
                            <a:pt x="1009650" y="3429000"/>
                          </a:lnTo>
                          <a:lnTo>
                            <a:pt x="190500" y="3429000"/>
                          </a:lnTo>
                          <a:lnTo>
                            <a:pt x="190500" y="2312480"/>
                          </a:lnTo>
                          <a:cubicBezTo>
                            <a:pt x="190500" y="2105692"/>
                            <a:pt x="339147" y="1927717"/>
                            <a:pt x="528914" y="1907305"/>
                          </a:cubicBezTo>
                          <a:cubicBezTo>
                            <a:pt x="529276" y="1907267"/>
                            <a:pt x="529638" y="1907229"/>
                            <a:pt x="529990" y="1907181"/>
                          </a:cubicBezTo>
                          <a:cubicBezTo>
                            <a:pt x="752504" y="1877130"/>
                            <a:pt x="1008202" y="1827476"/>
                            <a:pt x="1185681" y="1650121"/>
                          </a:cubicBezTo>
                          <a:lnTo>
                            <a:pt x="1446476" y="1389326"/>
                          </a:lnTo>
                          <a:cubicBezTo>
                            <a:pt x="1500997" y="1334805"/>
                            <a:pt x="1578997" y="1321070"/>
                            <a:pt x="1644567" y="1344311"/>
                          </a:cubicBezTo>
                          <a:lnTo>
                            <a:pt x="1644577" y="1344311"/>
                          </a:lnTo>
                          <a:cubicBezTo>
                            <a:pt x="1644605" y="1344320"/>
                            <a:pt x="1644634" y="1344340"/>
                            <a:pt x="1644663" y="1344349"/>
                          </a:cubicBezTo>
                          <a:cubicBezTo>
                            <a:pt x="1720625" y="1371181"/>
                            <a:pt x="1771650" y="1443381"/>
                            <a:pt x="1771650" y="1524000"/>
                          </a:cubicBezTo>
                          <a:cubicBezTo>
                            <a:pt x="1771650" y="1574845"/>
                            <a:pt x="1751819" y="1622670"/>
                            <a:pt x="1715824" y="1658684"/>
                          </a:cubicBezTo>
                          <a:lnTo>
                            <a:pt x="1228049" y="2146554"/>
                          </a:lnTo>
                          <a:cubicBezTo>
                            <a:pt x="1190854" y="2183759"/>
                            <a:pt x="1190863" y="2244061"/>
                            <a:pt x="1228058" y="2281257"/>
                          </a:cubicBezTo>
                          <a:cubicBezTo>
                            <a:pt x="1265244" y="2318442"/>
                            <a:pt x="1325566" y="2318452"/>
                            <a:pt x="1362761" y="2281247"/>
                          </a:cubicBezTo>
                          <a:lnTo>
                            <a:pt x="1850536" y="1793377"/>
                          </a:lnTo>
                          <a:cubicBezTo>
                            <a:pt x="1922507" y="1721387"/>
                            <a:pt x="1962150" y="1625727"/>
                            <a:pt x="1962150" y="1524000"/>
                          </a:cubicBezTo>
                          <a:cubicBezTo>
                            <a:pt x="1962150" y="1386469"/>
                            <a:pt x="1887817" y="1261234"/>
                            <a:pt x="1771650" y="1194064"/>
                          </a:cubicBezTo>
                          <a:lnTo>
                            <a:pt x="1771650" y="381000"/>
                          </a:lnTo>
                          <a:cubicBezTo>
                            <a:pt x="1771650" y="275958"/>
                            <a:pt x="1857108" y="190500"/>
                            <a:pt x="1962150" y="190500"/>
                          </a:cubicBezTo>
                          <a:cubicBezTo>
                            <a:pt x="2067192" y="190500"/>
                            <a:pt x="2152650" y="275958"/>
                            <a:pt x="2152650" y="381000"/>
                          </a:cubicBezTo>
                          <a:lnTo>
                            <a:pt x="2152650" y="1674876"/>
                          </a:lnTo>
                          <a:cubicBezTo>
                            <a:pt x="2152650" y="1849145"/>
                            <a:pt x="2108673" y="2022157"/>
                            <a:pt x="2025463" y="2175205"/>
                          </a:cubicBezTo>
                          <a:cubicBezTo>
                            <a:pt x="2000326" y="2221421"/>
                            <a:pt x="2017424" y="2279256"/>
                            <a:pt x="2063649" y="2304383"/>
                          </a:cubicBezTo>
                          <a:cubicBezTo>
                            <a:pt x="2109854" y="2329501"/>
                            <a:pt x="2167699" y="2312413"/>
                            <a:pt x="2192826" y="2266198"/>
                          </a:cubicBezTo>
                          <a:cubicBezTo>
                            <a:pt x="2291172" y="2085318"/>
                            <a:pt x="2343150" y="1880835"/>
                            <a:pt x="2343150" y="1674876"/>
                          </a:cubicBezTo>
                          <a:lnTo>
                            <a:pt x="2343150" y="381000"/>
                          </a:lnTo>
                          <a:cubicBezTo>
                            <a:pt x="2343150" y="170917"/>
                            <a:pt x="2172234" y="0"/>
                            <a:pt x="1962150" y="0"/>
                          </a:cubicBezTo>
                          <a:close/>
                        </a:path>
                      </a:pathLst>
                    </a:custGeom>
                    <ask:type>
                      <ask:lineSketchCurved/>
                    </ask:type>
                  </ask:lineSketchStyleProps>
                </a:ext>
              </a:extLst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</p:grpSp>
      <p:sp>
        <p:nvSpPr>
          <p:cNvPr id="2" name="Título 1">
            <a:extLst>
              <a:ext uri="{FF2B5EF4-FFF2-40B4-BE49-F238E27FC236}">
                <a16:creationId xmlns:a16="http://schemas.microsoft.com/office/drawing/2014/main" id="{65703742-E86C-438F-802F-C13103022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2400" b="1"/>
              <a:t>SEARCH</a:t>
            </a:r>
            <a:r>
              <a:rPr lang="es-MX" sz="2400"/>
              <a:t>| </a:t>
            </a:r>
            <a:r>
              <a:rPr lang="en-US" sz="2400"/>
              <a:t>KPIs &amp; Sufficiency</a:t>
            </a:r>
            <a:endParaRPr lang="es-MX" sz="2400"/>
          </a:p>
        </p:txBody>
      </p:sp>
      <p:sp>
        <p:nvSpPr>
          <p:cNvPr id="138" name="Slide Number Placeholder 4">
            <a:extLst>
              <a:ext uri="{FF2B5EF4-FFF2-40B4-BE49-F238E27FC236}">
                <a16:creationId xmlns:a16="http://schemas.microsoft.com/office/drawing/2014/main" id="{158D5173-4733-2AA4-31CB-EFB388DD47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1D7550-0EB0-3A43-B3ED-278106F7B6C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C33B3AD-A97E-19BF-0F28-0FF44947261D}"/>
              </a:ext>
            </a:extLst>
          </p:cNvPr>
          <p:cNvSpPr txBox="1"/>
          <p:nvPr/>
        </p:nvSpPr>
        <p:spPr>
          <a:xfrm>
            <a:off x="1378226" y="2350051"/>
            <a:ext cx="1075635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pt-BR" sz="1200" b="1" err="1">
                <a:solidFill>
                  <a:srgbClr val="FFFFFF"/>
                </a:solidFill>
                <a:cs typeface="Segoe UI"/>
              </a:rPr>
              <a:t>Protect</a:t>
            </a:r>
            <a:r>
              <a:rPr lang="en-US" sz="1200">
                <a:solidFill>
                  <a:srgbClr val="FFFFFF"/>
                </a:solidFill>
                <a:cs typeface="Segoe UI"/>
              </a:rPr>
              <a:t>​</a:t>
            </a:r>
          </a:p>
          <a:p>
            <a:r>
              <a:rPr lang="en-US" sz="1200" b="1">
                <a:solidFill>
                  <a:srgbClr val="FFFFFF"/>
                </a:solidFill>
                <a:cs typeface="Segoe UI"/>
              </a:rPr>
              <a:t>the bran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9DAD302-53B0-985D-69E8-4684C0752F00}"/>
              </a:ext>
            </a:extLst>
          </p:cNvPr>
          <p:cNvSpPr txBox="1"/>
          <p:nvPr/>
        </p:nvSpPr>
        <p:spPr>
          <a:xfrm>
            <a:off x="1378226" y="3708399"/>
            <a:ext cx="1075635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pt-BR" sz="1200" b="1" err="1">
                <a:solidFill>
                  <a:srgbClr val="FFFFFF"/>
                </a:solidFill>
                <a:cs typeface="Segoe UI"/>
              </a:rPr>
              <a:t>Become</a:t>
            </a:r>
            <a:r>
              <a:rPr lang="pt-BR" sz="1200" b="1">
                <a:solidFill>
                  <a:srgbClr val="FFFFFF"/>
                </a:solidFill>
                <a:cs typeface="Segoe UI"/>
              </a:rPr>
              <a:t> </a:t>
            </a:r>
            <a:r>
              <a:rPr lang="pt-BR" sz="1200" b="1" err="1">
                <a:solidFill>
                  <a:srgbClr val="FFFFFF"/>
                </a:solidFill>
                <a:cs typeface="Segoe UI"/>
              </a:rPr>
              <a:t>the</a:t>
            </a:r>
            <a:r>
              <a:rPr lang="pt-BR" sz="1200" b="1">
                <a:solidFill>
                  <a:srgbClr val="FFFFFF"/>
                </a:solidFill>
                <a:cs typeface="Segoe UI"/>
              </a:rPr>
              <a:t> </a:t>
            </a:r>
            <a:r>
              <a:rPr lang="pt-BR" sz="1200" b="1" err="1">
                <a:solidFill>
                  <a:srgbClr val="FFFFFF"/>
                </a:solidFill>
                <a:cs typeface="Segoe UI"/>
              </a:rPr>
              <a:t>leader</a:t>
            </a:r>
            <a:endParaRPr lang="en-US" sz="160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91B794-96D5-2A0A-4B5A-7C19F69449D3}"/>
              </a:ext>
            </a:extLst>
          </p:cNvPr>
          <p:cNvSpPr txBox="1"/>
          <p:nvPr/>
        </p:nvSpPr>
        <p:spPr>
          <a:xfrm>
            <a:off x="1378226" y="5077791"/>
            <a:ext cx="116398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pt-BR" sz="1200" b="1" err="1">
                <a:solidFill>
                  <a:srgbClr val="FFFFFF"/>
                </a:solidFill>
                <a:cs typeface="Segoe UI"/>
              </a:rPr>
              <a:t>Reach</a:t>
            </a:r>
            <a:r>
              <a:rPr lang="pt-BR" sz="1200" b="1">
                <a:solidFill>
                  <a:srgbClr val="FFFFFF"/>
                </a:solidFill>
                <a:cs typeface="Segoe UI"/>
              </a:rPr>
              <a:t> &amp; </a:t>
            </a:r>
            <a:r>
              <a:rPr lang="pt-BR" sz="1200" b="1" err="1">
                <a:solidFill>
                  <a:srgbClr val="FFFFFF"/>
                </a:solidFill>
                <a:cs typeface="Segoe UI"/>
              </a:rPr>
              <a:t>Awareness</a:t>
            </a:r>
            <a:endParaRPr lang="en-US" sz="1600" err="1"/>
          </a:p>
        </p:txBody>
      </p:sp>
      <p:sp>
        <p:nvSpPr>
          <p:cNvPr id="8" name="CaixaDeTexto 5">
            <a:extLst>
              <a:ext uri="{FF2B5EF4-FFF2-40B4-BE49-F238E27FC236}">
                <a16:creationId xmlns:a16="http://schemas.microsoft.com/office/drawing/2014/main" id="{01FBFB7C-11E1-5CA3-4C73-A90FC9A05C5B}"/>
              </a:ext>
            </a:extLst>
          </p:cNvPr>
          <p:cNvSpPr txBox="1"/>
          <p:nvPr/>
        </p:nvSpPr>
        <p:spPr>
          <a:xfrm>
            <a:off x="4639274" y="2330767"/>
            <a:ext cx="1486348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509453">
              <a:defRPr/>
            </a:pPr>
            <a:r>
              <a:rPr lang="en-US" sz="1200">
                <a:solidFill>
                  <a:srgbClr val="1B3548"/>
                </a:solidFill>
                <a:latin typeface="Century Gothic"/>
                <a:ea typeface="Verdana"/>
                <a:cs typeface="Arial"/>
              </a:rPr>
              <a:t>Dolor de cabeza</a:t>
            </a:r>
          </a:p>
          <a:p>
            <a:pPr defTabSz="509453"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XXX</a:t>
            </a:r>
          </a:p>
          <a:p>
            <a:pPr defTabSz="509453"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XXX</a:t>
            </a:r>
          </a:p>
        </p:txBody>
      </p:sp>
      <p:sp>
        <p:nvSpPr>
          <p:cNvPr id="5" name="CuadroTexto 39">
            <a:extLst>
              <a:ext uri="{FF2B5EF4-FFF2-40B4-BE49-F238E27FC236}">
                <a16:creationId xmlns:a16="http://schemas.microsoft.com/office/drawing/2014/main" id="{16E2A447-7E87-9C32-D51A-7F8FBF11829F}"/>
              </a:ext>
            </a:extLst>
          </p:cNvPr>
          <p:cNvSpPr txBox="1"/>
          <p:nvPr/>
        </p:nvSpPr>
        <p:spPr>
          <a:xfrm>
            <a:off x="8814201" y="2255274"/>
            <a:ext cx="3198289" cy="2764173"/>
          </a:xfrm>
          <a:prstGeom prst="rect">
            <a:avLst/>
          </a:prstGeom>
          <a:noFill/>
        </p:spPr>
        <p:txBody>
          <a:bodyPr wrap="square" lIns="180000" tIns="180000" rIns="180000" bIns="180000" anchor="t">
            <a:spAutoFit/>
          </a:bodyPr>
          <a:lstStyle>
            <a:defPPr>
              <a:defRPr lang="es-MX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buClr>
                <a:srgbClr val="00BCFF"/>
              </a:buClr>
              <a:buFont typeface="Century Gothic"/>
              <a:buAutoNum type="arabicPeriod"/>
              <a:defRPr/>
            </a:pPr>
            <a:endParaRPr lang="en-US" sz="1400" b="1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 panose="020F0302020204030204"/>
            </a:endParaRPr>
          </a:p>
          <a:p>
            <a:pPr>
              <a:buClr>
                <a:srgbClr val="00BCFF"/>
              </a:buClr>
              <a:defRPr/>
            </a:pPr>
            <a:r>
              <a:rPr lang="en-US" sz="1400" b="1">
                <a:solidFill>
                  <a:srgbClr val="011627"/>
                </a:solidFill>
                <a:latin typeface="Century Gothic" panose="020F0302020204030204"/>
              </a:rPr>
              <a:t>Recommended: $</a:t>
            </a:r>
            <a:r>
              <a:rPr lang="en-US" sz="1400">
                <a:solidFill>
                  <a:srgbClr val="011627"/>
                </a:solidFill>
                <a:latin typeface="Century Gothic" panose="020F0302020204030204"/>
              </a:rPr>
              <a:t> - IS XXX / CTR / CPC </a:t>
            </a:r>
          </a:p>
          <a:p>
            <a:pPr>
              <a:defRPr/>
            </a:pPr>
            <a:endParaRPr lang="en-US" sz="1400">
              <a:solidFill>
                <a:srgbClr val="011627"/>
              </a:solidFill>
              <a:latin typeface="Century Gothic" panose="020F0302020204030204"/>
            </a:endParaRPr>
          </a:p>
          <a:p>
            <a:pPr>
              <a:defRPr/>
            </a:pPr>
            <a:r>
              <a:rPr lang="en-US" sz="1400" b="1">
                <a:solidFill>
                  <a:srgbClr val="011627"/>
                </a:solidFill>
                <a:latin typeface="Century Gothic" panose="020F0302020204030204"/>
              </a:rPr>
              <a:t>Ideal: $$$ - IS 90% /CTR /CPC</a:t>
            </a:r>
          </a:p>
          <a:p>
            <a:pPr>
              <a:defRPr/>
            </a:pPr>
            <a:endParaRPr lang="en-US" sz="1400">
              <a:solidFill>
                <a:srgbClr val="011627"/>
              </a:solidFill>
              <a:latin typeface="Century Gothic" panose="020F0302020204030204"/>
            </a:endParaRPr>
          </a:p>
          <a:p>
            <a:pPr marL="285750" indent="-285750">
              <a:buFont typeface="Arial"/>
              <a:buChar char="•"/>
              <a:defRPr/>
            </a:pPr>
            <a:r>
              <a:rPr lang="en-US" sz="1200">
                <a:solidFill>
                  <a:srgbClr val="011627"/>
                </a:solidFill>
                <a:latin typeface="Century Gothic" panose="020F0302020204030204"/>
              </a:rPr>
              <a:t>KW xxx consume 80% del </a:t>
            </a:r>
            <a:r>
              <a:rPr lang="en-US" sz="1200" err="1">
                <a:solidFill>
                  <a:srgbClr val="011627"/>
                </a:solidFill>
                <a:latin typeface="Century Gothic" panose="020F0302020204030204"/>
              </a:rPr>
              <a:t>bgt</a:t>
            </a:r>
            <a:r>
              <a:rPr lang="en-US" sz="1200">
                <a:solidFill>
                  <a:srgbClr val="011627"/>
                </a:solidFill>
                <a:latin typeface="Century Gothic" panose="020F0302020204030204"/>
              </a:rPr>
              <a:t> total</a:t>
            </a:r>
          </a:p>
          <a:p>
            <a:pPr marL="285750" indent="-285750">
              <a:buFont typeface="Arial"/>
              <a:buChar char="•"/>
              <a:defRPr/>
            </a:pPr>
            <a:r>
              <a:rPr lang="en-US" sz="1200" err="1">
                <a:solidFill>
                  <a:srgbClr val="011627"/>
                </a:solidFill>
                <a:latin typeface="Century Gothic" panose="020F0302020204030204"/>
              </a:rPr>
              <a:t>Incremento</a:t>
            </a:r>
            <a:r>
              <a:rPr lang="en-US" sz="120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US" sz="1200" err="1">
                <a:solidFill>
                  <a:srgbClr val="011627"/>
                </a:solidFill>
                <a:latin typeface="Century Gothic" panose="020F0302020204030204"/>
              </a:rPr>
              <a:t>en</a:t>
            </a:r>
            <a:r>
              <a:rPr lang="en-US" sz="120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US" sz="1200" err="1">
                <a:solidFill>
                  <a:srgbClr val="011627"/>
                </a:solidFill>
                <a:latin typeface="Century Gothic" panose="020F0302020204030204"/>
              </a:rPr>
              <a:t>competencia</a:t>
            </a:r>
            <a:r>
              <a:rPr lang="en-US" sz="120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US" sz="1200" err="1">
                <a:solidFill>
                  <a:srgbClr val="011627"/>
                </a:solidFill>
                <a:latin typeface="Century Gothic" panose="020F0302020204030204"/>
              </a:rPr>
              <a:t>en</a:t>
            </a:r>
            <a:r>
              <a:rPr lang="en-US" sz="1200">
                <a:solidFill>
                  <a:srgbClr val="011627"/>
                </a:solidFill>
                <a:latin typeface="Century Gothic" panose="020F0302020204030204"/>
              </a:rPr>
              <a:t> la </a:t>
            </a:r>
            <a:r>
              <a:rPr lang="en-US" sz="1200" err="1">
                <a:solidFill>
                  <a:srgbClr val="011627"/>
                </a:solidFill>
                <a:latin typeface="Century Gothic" panose="020F0302020204030204"/>
              </a:rPr>
              <a:t>región</a:t>
            </a:r>
            <a:endParaRPr lang="en-US" sz="1200">
              <a:solidFill>
                <a:srgbClr val="011627"/>
              </a:solidFill>
              <a:latin typeface="Century Gothic" panose="020F0302020204030204"/>
            </a:endParaRPr>
          </a:p>
          <a:p>
            <a:pPr marL="285750" indent="-285750">
              <a:buFont typeface="Arial"/>
              <a:buChar char="•"/>
              <a:defRPr/>
            </a:pPr>
            <a:r>
              <a:rPr lang="en-US" sz="1200">
                <a:solidFill>
                  <a:srgbClr val="011627"/>
                </a:solidFill>
                <a:latin typeface="Century Gothic" panose="020F0302020204030204"/>
              </a:rPr>
              <a:t>Se </a:t>
            </a:r>
            <a:r>
              <a:rPr lang="en-US" sz="1200" err="1">
                <a:solidFill>
                  <a:srgbClr val="011627"/>
                </a:solidFill>
                <a:latin typeface="Century Gothic" panose="020F0302020204030204"/>
              </a:rPr>
              <a:t>implementa</a:t>
            </a:r>
            <a:r>
              <a:rPr lang="en-US" sz="120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US" sz="1200" err="1">
                <a:solidFill>
                  <a:srgbClr val="011627"/>
                </a:solidFill>
                <a:latin typeface="Century Gothic" panose="020F0302020204030204"/>
              </a:rPr>
              <a:t>por</a:t>
            </a:r>
            <a:r>
              <a:rPr lang="en-US" sz="120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US" sz="1200" err="1">
                <a:solidFill>
                  <a:srgbClr val="011627"/>
                </a:solidFill>
                <a:latin typeface="Century Gothic" panose="020F0302020204030204"/>
              </a:rPr>
              <a:t>horarios</a:t>
            </a:r>
            <a:r>
              <a:rPr lang="en-US" sz="1200">
                <a:solidFill>
                  <a:srgbClr val="011627"/>
                </a:solidFill>
                <a:latin typeface="Century Gothic" panose="020F0302020204030204"/>
              </a:rPr>
              <a:t> </a:t>
            </a:r>
            <a:r>
              <a:rPr lang="en-US" sz="1200" err="1">
                <a:solidFill>
                  <a:srgbClr val="011627"/>
                </a:solidFill>
                <a:latin typeface="Century Gothic" panose="020F0302020204030204"/>
              </a:rPr>
              <a:t>debido</a:t>
            </a:r>
            <a:r>
              <a:rPr lang="en-US" sz="1200">
                <a:solidFill>
                  <a:srgbClr val="011627"/>
                </a:solidFill>
                <a:latin typeface="Century Gothic" panose="020F0302020204030204"/>
              </a:rPr>
              <a:t> a la </a:t>
            </a:r>
            <a:r>
              <a:rPr lang="en-US" sz="1200" err="1">
                <a:solidFill>
                  <a:srgbClr val="011627"/>
                </a:solidFill>
                <a:latin typeface="Century Gothic" panose="020F0302020204030204"/>
              </a:rPr>
              <a:t>falta</a:t>
            </a:r>
            <a:r>
              <a:rPr lang="en-US" sz="1200">
                <a:solidFill>
                  <a:srgbClr val="011627"/>
                </a:solidFill>
                <a:latin typeface="Century Gothic" panose="020F0302020204030204"/>
              </a:rPr>
              <a:t> de </a:t>
            </a:r>
            <a:r>
              <a:rPr lang="en-US" sz="1200" err="1">
                <a:solidFill>
                  <a:srgbClr val="011627"/>
                </a:solidFill>
                <a:latin typeface="Century Gothic" panose="020F0302020204030204"/>
              </a:rPr>
              <a:t>bgt</a:t>
            </a:r>
            <a:endParaRPr lang="en-US" sz="1100">
              <a:solidFill>
                <a:srgbClr val="011627"/>
              </a:solidFill>
              <a:latin typeface="Century Gothic" panose="020F0302020204030204"/>
            </a:endParaRPr>
          </a:p>
          <a:p>
            <a:pPr marL="228600" indent="-228600">
              <a:buClr>
                <a:srgbClr val="00BCFF"/>
              </a:buClr>
              <a:buAutoNum type="arabicPeriod"/>
              <a:defRPr/>
            </a:pPr>
            <a:endParaRPr lang="es-MX" sz="1200">
              <a:solidFill>
                <a:srgbClr val="FFFFFF"/>
              </a:solidFill>
              <a:latin typeface="Century Gothic" panose="020F0302020204030204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239F63A-0824-CD78-5067-1C3454504CC1}"/>
              </a:ext>
            </a:extLst>
          </p:cNvPr>
          <p:cNvCxnSpPr>
            <a:cxnSpLocks/>
          </p:cNvCxnSpPr>
          <p:nvPr/>
        </p:nvCxnSpPr>
        <p:spPr bwMode="gray">
          <a:xfrm>
            <a:off x="6390750" y="1985302"/>
            <a:ext cx="11044" cy="3642925"/>
          </a:xfrm>
          <a:prstGeom prst="line">
            <a:avLst/>
          </a:prstGeom>
          <a:ln w="6350">
            <a:solidFill>
              <a:srgbClr val="E0DFE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8D32C3-2224-A942-B820-54179A804613}"/>
              </a:ext>
            </a:extLst>
          </p:cNvPr>
          <p:cNvCxnSpPr>
            <a:cxnSpLocks/>
          </p:cNvCxnSpPr>
          <p:nvPr/>
        </p:nvCxnSpPr>
        <p:spPr bwMode="gray">
          <a:xfrm>
            <a:off x="8628158" y="1995714"/>
            <a:ext cx="11044" cy="3642925"/>
          </a:xfrm>
          <a:prstGeom prst="line">
            <a:avLst/>
          </a:prstGeom>
          <a:ln w="6350">
            <a:solidFill>
              <a:srgbClr val="E0DFE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ixaDeTexto 5">
            <a:extLst>
              <a:ext uri="{FF2B5EF4-FFF2-40B4-BE49-F238E27FC236}">
                <a16:creationId xmlns:a16="http://schemas.microsoft.com/office/drawing/2014/main" id="{106DC09B-15EE-EECC-9B65-4CF602D13287}"/>
              </a:ext>
            </a:extLst>
          </p:cNvPr>
          <p:cNvSpPr txBox="1"/>
          <p:nvPr/>
        </p:nvSpPr>
        <p:spPr>
          <a:xfrm>
            <a:off x="7001473" y="3495539"/>
            <a:ext cx="1486348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28600" indent="-228600" defTabSz="509453">
              <a:buAutoNum type="arabicPeriod"/>
              <a:defRPr/>
            </a:pPr>
            <a:r>
              <a:rPr lang="en-US" sz="1200">
                <a:solidFill>
                  <a:srgbClr val="1B3548"/>
                </a:solidFill>
                <a:latin typeface="Century Gothic"/>
                <a:ea typeface="Verdana"/>
                <a:cs typeface="Arial"/>
              </a:rPr>
              <a:t>XXX</a:t>
            </a:r>
            <a:endParaRPr lang="en-US"/>
          </a:p>
          <a:p>
            <a:pPr marL="228600" indent="-228600" defTabSz="509453">
              <a:buAutoNum type="arabicPeriod"/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XXX</a:t>
            </a:r>
          </a:p>
          <a:p>
            <a:pPr marL="228600" indent="-228600" defTabSz="509453">
              <a:buAutoNum type="arabicPeriod"/>
              <a:defRPr/>
            </a:pPr>
            <a:r>
              <a:rPr lang="en-US" sz="1200">
                <a:solidFill>
                  <a:srgbClr val="1B3548"/>
                </a:solidFill>
                <a:ea typeface="Verdana"/>
                <a:cs typeface="Arial"/>
              </a:rPr>
              <a:t>XXX</a:t>
            </a:r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B104914D-093F-D722-66D9-AD162A65114A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18" name="Round Same-side Corner of Rectangle 28">
              <a:extLst>
                <a:ext uri="{FF2B5EF4-FFF2-40B4-BE49-F238E27FC236}">
                  <a16:creationId xmlns:a16="http://schemas.microsoft.com/office/drawing/2014/main" id="{2BFE9903-98FD-9011-F57D-82452C39781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19" name="Group 33">
              <a:extLst>
                <a:ext uri="{FF2B5EF4-FFF2-40B4-BE49-F238E27FC236}">
                  <a16:creationId xmlns:a16="http://schemas.microsoft.com/office/drawing/2014/main" id="{368E8D0D-8696-85DF-4307-C5AF5645FB01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1" name="Oval 44">
                <a:extLst>
                  <a:ext uri="{FF2B5EF4-FFF2-40B4-BE49-F238E27FC236}">
                    <a16:creationId xmlns:a16="http://schemas.microsoft.com/office/drawing/2014/main" id="{6C028E34-68FA-89E1-101C-A24DA58086CB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2" name="TextBox 45">
                <a:extLst>
                  <a:ext uri="{FF2B5EF4-FFF2-40B4-BE49-F238E27FC236}">
                    <a16:creationId xmlns:a16="http://schemas.microsoft.com/office/drawing/2014/main" id="{6521F5BE-34E0-643A-4463-69E97D5C70C3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0" name="Google Shape;1194;p40">
              <a:extLst>
                <a:ext uri="{FF2B5EF4-FFF2-40B4-BE49-F238E27FC236}">
                  <a16:creationId xmlns:a16="http://schemas.microsoft.com/office/drawing/2014/main" id="{3E047E37-203E-70FB-1422-2B19E49118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8270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02CABD41-E85C-60CA-3236-9D86DF8F98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ource: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E2522B-B990-1545-9B90-0D112E72EA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1D7550-0EB0-3A43-B3ED-278106F7B6C0}" type="slidenum">
              <a:rPr kumimoji="0" lang="en-GB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aphicFrame>
        <p:nvGraphicFramePr>
          <p:cNvPr id="12" name="Google Shape;1559;p98">
            <a:extLst>
              <a:ext uri="{FF2B5EF4-FFF2-40B4-BE49-F238E27FC236}">
                <a16:creationId xmlns:a16="http://schemas.microsoft.com/office/drawing/2014/main" id="{E0137C5F-FF3E-8F3C-5737-ED05BA3848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3363035"/>
              </p:ext>
            </p:extLst>
          </p:nvPr>
        </p:nvGraphicFramePr>
        <p:xfrm>
          <a:off x="1513903" y="1289877"/>
          <a:ext cx="9430144" cy="4944921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357536">
                  <a:extLst>
                    <a:ext uri="{9D8B030D-6E8A-4147-A177-3AD203B41FA5}">
                      <a16:colId xmlns:a16="http://schemas.microsoft.com/office/drawing/2014/main" val="3996846391"/>
                    </a:ext>
                  </a:extLst>
                </a:gridCol>
                <a:gridCol w="23575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575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57536">
                  <a:extLst>
                    <a:ext uri="{9D8B030D-6E8A-4147-A177-3AD203B41FA5}">
                      <a16:colId xmlns:a16="http://schemas.microsoft.com/office/drawing/2014/main" val="2164702385"/>
                    </a:ext>
                  </a:extLst>
                </a:gridCol>
              </a:tblGrid>
              <a:tr h="433404">
                <a:tc>
                  <a:txBody>
                    <a:bodyPr/>
                    <a:lstStyle/>
                    <a:p>
                      <a:pPr marL="71755" lvl="0" indent="0" algn="ctr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MX" sz="1400" b="1">
                          <a:solidFill>
                            <a:schemeClr val="bg1"/>
                          </a:solidFill>
                          <a:latin typeface="+mj-lt"/>
                          <a:ea typeface="Questrial"/>
                          <a:cs typeface="Questrial"/>
                        </a:rPr>
                        <a:t>JTBD</a:t>
                      </a:r>
                      <a:endParaRPr lang="es-MX" sz="1400" b="1">
                        <a:solidFill>
                          <a:schemeClr val="bg1"/>
                        </a:solidFill>
                        <a:latin typeface="+mj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91425" marR="91425" marT="91425" marB="91425" anchor="ctr">
                    <a:lnL w="76200">
                      <a:solidFill>
                        <a:schemeClr val="bg1"/>
                      </a:solidFill>
                    </a:lnL>
                    <a:lnR w="76200">
                      <a:solidFill>
                        <a:schemeClr val="bg1"/>
                      </a:solidFill>
                    </a:lnR>
                    <a:lnT w="76200">
                      <a:solidFill>
                        <a:schemeClr val="bg1"/>
                      </a:solidFill>
                    </a:lnT>
                    <a:lnB w="76200">
                      <a:solidFill>
                        <a:schemeClr val="bg1"/>
                      </a:solidFill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lvl="0" indent="0" algn="ctr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MX" sz="1400" b="1">
                          <a:solidFill>
                            <a:schemeClr val="bg1"/>
                          </a:solidFill>
                          <a:latin typeface="+mj-lt"/>
                          <a:ea typeface="Questrial"/>
                          <a:cs typeface="Questrial"/>
                        </a:rPr>
                        <a:t>Heavy up</a:t>
                      </a:r>
                      <a:endParaRPr lang="es-MX" sz="1400" b="1">
                        <a:solidFill>
                          <a:schemeClr val="bg1"/>
                        </a:solidFill>
                        <a:latin typeface="+mj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91425" marR="91425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1">
                          <a:solidFill>
                            <a:schemeClr val="bg1"/>
                          </a:solidFill>
                          <a:latin typeface="+mj-lt"/>
                          <a:ea typeface="Questrial"/>
                          <a:cs typeface="Questrial"/>
                        </a:rPr>
                        <a:t>Relevance</a:t>
                      </a:r>
                      <a:endParaRPr sz="1400" b="1">
                        <a:solidFill>
                          <a:schemeClr val="bg1"/>
                        </a:solidFill>
                        <a:latin typeface="+mj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91425" marR="91425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lvl="0" indent="0" algn="ctr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MX" sz="1400" b="1">
                          <a:solidFill>
                            <a:schemeClr val="bg1"/>
                          </a:solidFill>
                          <a:latin typeface="+mj-lt"/>
                          <a:ea typeface="Questrial"/>
                          <a:cs typeface="Questrial"/>
                        </a:rPr>
                        <a:t>Incremental HVA </a:t>
                      </a:r>
                      <a:r>
                        <a:rPr lang="es-MX" sz="1400" b="1" err="1">
                          <a:solidFill>
                            <a:schemeClr val="bg1"/>
                          </a:solidFill>
                          <a:latin typeface="+mj-lt"/>
                          <a:ea typeface="Questrial"/>
                          <a:cs typeface="Questrial"/>
                        </a:rPr>
                        <a:t>Reach</a:t>
                      </a:r>
                      <a:endParaRPr lang="es-MX" sz="1400" b="1">
                        <a:solidFill>
                          <a:schemeClr val="bg1"/>
                        </a:solidFill>
                        <a:latin typeface="+mj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91425" marR="91425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70725">
                <a:tc>
                  <a:txBody>
                    <a:bodyPr/>
                    <a:lstStyle/>
                    <a:p>
                      <a:pPr marL="558800" lvl="0" indent="-342900" algn="ctr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AutoNum type="arabicPeriod"/>
                      </a:pPr>
                      <a:r>
                        <a:rPr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Questrial"/>
                          <a:cs typeface="Questrial"/>
                        </a:rPr>
                        <a:t>Connect</a:t>
                      </a: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>
                      <a:solidFill>
                        <a:schemeClr val="bg1"/>
                      </a:solidFill>
                    </a:lnL>
                    <a:lnR w="76200">
                      <a:solidFill>
                        <a:schemeClr val="bg1"/>
                      </a:solidFill>
                    </a:lnR>
                    <a:lnT w="76200">
                      <a:solidFill>
                        <a:schemeClr val="bg1"/>
                      </a:solidFill>
                    </a:lnT>
                    <a:lnB w="76200">
                      <a:solidFill>
                        <a:schemeClr val="bg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15900" marR="71755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Questrial"/>
                          <a:cs typeface="Questrial"/>
                        </a:rPr>
                        <a:t>INFLUENCERS</a:t>
                      </a: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15900" marR="71755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04E5C"/>
                        </a:solidFill>
                        <a:effectLst/>
                        <a:uLnTx/>
                        <a:uFillTx/>
                        <a:latin typeface="+mn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5900" marR="71755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Questrial"/>
                          <a:cs typeface="Questrial"/>
                        </a:rPr>
                        <a:t>TIKTOK</a:t>
                      </a: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70725">
                <a:tc>
                  <a:txBody>
                    <a:bodyPr/>
                    <a:lstStyle/>
                    <a:p>
                      <a:pPr marL="215900" lvl="0" indent="0" algn="ctr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Questrial"/>
                          <a:cs typeface="Questrial"/>
                        </a:rPr>
                        <a:t>2. Launch</a:t>
                      </a: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>
                      <a:solidFill>
                        <a:schemeClr val="bg1"/>
                      </a:solidFill>
                    </a:lnL>
                    <a:lnR w="76200">
                      <a:solidFill>
                        <a:schemeClr val="bg1"/>
                      </a:solidFill>
                    </a:lnR>
                    <a:lnT w="76200">
                      <a:solidFill>
                        <a:schemeClr val="bg1"/>
                      </a:solidFill>
                    </a:lnT>
                    <a:lnB w="76200">
                      <a:solidFill>
                        <a:schemeClr val="bg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5900" marR="71755" lvl="0" indent="0" algn="ctr" defTabSz="914400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5900" marR="71755" lvl="0" indent="0" algn="ctr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Questrial"/>
                          <a:cs typeface="Questrial"/>
                        </a:rPr>
                        <a:t>FORMATOS DIFERENCIADOS</a:t>
                      </a: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15900" marR="71755" lvl="0" indent="0" algn="l" defTabSz="914400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04E5C"/>
                        </a:solidFill>
                        <a:effectLst/>
                        <a:uLnTx/>
                        <a:uFillTx/>
                        <a:latin typeface="+mn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70725">
                <a:tc>
                  <a:txBody>
                    <a:bodyPr/>
                    <a:lstStyle/>
                    <a:p>
                      <a:pPr marL="215900" lvl="0" indent="0" algn="l" defTabSz="91440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>
                      <a:solidFill>
                        <a:schemeClr val="bg1"/>
                      </a:solidFill>
                    </a:lnL>
                    <a:lnR w="76200">
                      <a:solidFill>
                        <a:schemeClr val="bg1"/>
                      </a:solidFill>
                    </a:lnR>
                    <a:lnT w="76200">
                      <a:solidFill>
                        <a:schemeClr val="bg1"/>
                      </a:solidFill>
                    </a:lnT>
                    <a:lnB w="76200">
                      <a:solidFill>
                        <a:schemeClr val="bg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5900" marR="71755" lvl="0" indent="0" algn="l" defTabSz="914400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04E5C"/>
                        </a:solidFill>
                        <a:effectLst/>
                        <a:uLnTx/>
                        <a:uFillTx/>
                        <a:latin typeface="+mn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5900" marR="71755" lvl="0" indent="0" algn="l" defTabSz="914400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04E5C"/>
                        </a:solidFill>
                        <a:effectLst/>
                        <a:uLnTx/>
                        <a:uFillTx/>
                        <a:latin typeface="+mn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5900" marR="71755" lvl="0" indent="0" algn="l" defTabSz="914400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04E5C"/>
                        </a:solidFill>
                        <a:effectLst/>
                        <a:uLnTx/>
                        <a:uFillTx/>
                        <a:latin typeface="+mn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2456891"/>
                  </a:ext>
                </a:extLst>
              </a:tr>
              <a:tr h="1070725">
                <a:tc>
                  <a:txBody>
                    <a:bodyPr/>
                    <a:lstStyle/>
                    <a:p>
                      <a:pPr marL="215900" lvl="0" indent="0" algn="l" defTabSz="91440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>
                      <a:solidFill>
                        <a:schemeClr val="bg1"/>
                      </a:solidFill>
                    </a:lnL>
                    <a:lnR w="76200">
                      <a:solidFill>
                        <a:schemeClr val="bg1"/>
                      </a:solidFill>
                    </a:lnR>
                    <a:lnT w="76200">
                      <a:solidFill>
                        <a:schemeClr val="bg1"/>
                      </a:solidFill>
                    </a:lnT>
                    <a:lnB w="76200">
                      <a:solidFill>
                        <a:schemeClr val="bg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5900" marR="71755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04E5C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5900" marR="71755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04E5C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5900" marR="71755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04E5C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Título 1">
            <a:extLst>
              <a:ext uri="{FF2B5EF4-FFF2-40B4-BE49-F238E27FC236}">
                <a16:creationId xmlns:a16="http://schemas.microsoft.com/office/drawing/2014/main" id="{9580580A-5999-DC73-088C-0FFCEB221D91}"/>
              </a:ext>
            </a:extLst>
          </p:cNvPr>
          <p:cNvSpPr txBox="1">
            <a:spLocks/>
          </p:cNvSpPr>
          <p:nvPr/>
        </p:nvSpPr>
        <p:spPr>
          <a:xfrm>
            <a:off x="937661" y="623202"/>
            <a:ext cx="10765383" cy="69884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tx1"/>
                </a:solidFill>
                <a:latin typeface="+mj-lt"/>
                <a:ea typeface="Century Gothic" charset="0"/>
                <a:cs typeface="Century Gothic" charset="0"/>
              </a:defRPr>
            </a:lvl1pPr>
          </a:lstStyle>
          <a:p>
            <a:r>
              <a:rPr lang="es-MX" sz="2400" b="1"/>
              <a:t>CONTENT| </a:t>
            </a:r>
            <a:r>
              <a:rPr lang="es-MX" sz="2400" b="1" err="1"/>
              <a:t>Tactics</a:t>
            </a:r>
            <a:r>
              <a:rPr lang="es-MX" sz="2400" b="1"/>
              <a:t> &amp; </a:t>
            </a:r>
            <a:r>
              <a:rPr lang="es-MX" sz="2400" b="1" err="1"/>
              <a:t>Seasonalities</a:t>
            </a:r>
            <a:endParaRPr lang="es-MX" sz="2400" b="1"/>
          </a:p>
        </p:txBody>
      </p:sp>
      <p:grpSp>
        <p:nvGrpSpPr>
          <p:cNvPr id="2" name="Group 13">
            <a:extLst>
              <a:ext uri="{FF2B5EF4-FFF2-40B4-BE49-F238E27FC236}">
                <a16:creationId xmlns:a16="http://schemas.microsoft.com/office/drawing/2014/main" id="{497C34CE-D07E-F47D-419D-175FDA922097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3" name="Round Same-side Corner of Rectangle 28">
              <a:extLst>
                <a:ext uri="{FF2B5EF4-FFF2-40B4-BE49-F238E27FC236}">
                  <a16:creationId xmlns:a16="http://schemas.microsoft.com/office/drawing/2014/main" id="{37E613D6-76E1-89E7-C8D6-01485A454C20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13" name="Group 33">
              <a:extLst>
                <a:ext uri="{FF2B5EF4-FFF2-40B4-BE49-F238E27FC236}">
                  <a16:creationId xmlns:a16="http://schemas.microsoft.com/office/drawing/2014/main" id="{5DF5BC9F-AE6D-71F3-D1FF-76A395D57616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15" name="Oval 44">
                <a:extLst>
                  <a:ext uri="{FF2B5EF4-FFF2-40B4-BE49-F238E27FC236}">
                    <a16:creationId xmlns:a16="http://schemas.microsoft.com/office/drawing/2014/main" id="{E0CF04EE-825D-BBB5-C8A0-AD4518EAB8B8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16" name="TextBox 45">
                <a:extLst>
                  <a:ext uri="{FF2B5EF4-FFF2-40B4-BE49-F238E27FC236}">
                    <a16:creationId xmlns:a16="http://schemas.microsoft.com/office/drawing/2014/main" id="{541A7217-DB2D-B918-DD98-7226569770BF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14" name="Google Shape;1194;p40">
              <a:extLst>
                <a:ext uri="{FF2B5EF4-FFF2-40B4-BE49-F238E27FC236}">
                  <a16:creationId xmlns:a16="http://schemas.microsoft.com/office/drawing/2014/main" id="{1EE1E6A2-E66B-3E31-A467-51E4FE619EA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642153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DDFF6D-719E-FE45-8E6B-32121D4FDF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/>
              <a:t>What signals can we associate to our HVA?</a:t>
            </a:r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02CABD41-E85C-60CA-3236-9D86DF8F98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ource: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E2522B-B990-1545-9B90-0D112E72EA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1D7550-0EB0-3A43-B3ED-278106F7B6C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DE5EA8E-2363-2E21-E48E-5024D8EAEE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MX"/>
          </a:p>
        </p:txBody>
      </p:sp>
      <p:graphicFrame>
        <p:nvGraphicFramePr>
          <p:cNvPr id="12" name="Google Shape;1559;p98">
            <a:extLst>
              <a:ext uri="{FF2B5EF4-FFF2-40B4-BE49-F238E27FC236}">
                <a16:creationId xmlns:a16="http://schemas.microsoft.com/office/drawing/2014/main" id="{E0137C5F-FF3E-8F3C-5737-ED05BA3848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8765158"/>
              </p:ext>
            </p:extLst>
          </p:nvPr>
        </p:nvGraphicFramePr>
        <p:xfrm>
          <a:off x="663397" y="1442720"/>
          <a:ext cx="10865204" cy="4716304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1133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379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379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379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37952">
                  <a:extLst>
                    <a:ext uri="{9D8B030D-6E8A-4147-A177-3AD203B41FA5}">
                      <a16:colId xmlns:a16="http://schemas.microsoft.com/office/drawing/2014/main" val="2164702385"/>
                    </a:ext>
                  </a:extLst>
                </a:gridCol>
              </a:tblGrid>
              <a:tr h="433404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300">
                        <a:latin typeface="+mj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91425" marR="91425" marT="91425" marB="91425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marR="7200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1">
                          <a:solidFill>
                            <a:schemeClr val="bg1"/>
                          </a:solidFill>
                          <a:latin typeface="+mj-lt"/>
                          <a:ea typeface="Questrial"/>
                          <a:cs typeface="Questrial"/>
                          <a:sym typeface="Questrial"/>
                        </a:rPr>
                        <a:t>HVA 1</a:t>
                      </a:r>
                      <a:endParaRPr sz="1400" b="1">
                        <a:solidFill>
                          <a:schemeClr val="bg1"/>
                        </a:solidFill>
                        <a:latin typeface="+mj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91425" marR="91425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7200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MX" sz="1400" b="1">
                          <a:solidFill>
                            <a:schemeClr val="bg1"/>
                          </a:solidFill>
                          <a:latin typeface="+mj-lt"/>
                          <a:ea typeface="Questrial"/>
                          <a:cs typeface="Questrial"/>
                          <a:sym typeface="Questrial"/>
                        </a:rPr>
                        <a:t>HVA 2</a:t>
                      </a:r>
                      <a:endParaRPr sz="1400" b="1">
                        <a:solidFill>
                          <a:schemeClr val="bg1"/>
                        </a:solidFill>
                        <a:latin typeface="+mj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91425" marR="91425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7200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1">
                          <a:solidFill>
                            <a:schemeClr val="bg1"/>
                          </a:solidFill>
                          <a:latin typeface="+mj-lt"/>
                          <a:ea typeface="Questrial"/>
                          <a:cs typeface="Questrial"/>
                          <a:sym typeface="Questrial"/>
                        </a:rPr>
                        <a:t>HVA 3</a:t>
                      </a:r>
                      <a:endParaRPr sz="1400" b="1">
                        <a:solidFill>
                          <a:schemeClr val="bg1"/>
                        </a:solidFill>
                        <a:latin typeface="+mj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91425" marR="91425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7200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MX" sz="1400" b="1">
                          <a:solidFill>
                            <a:schemeClr val="bg1"/>
                          </a:solidFill>
                          <a:latin typeface="+mj-lt"/>
                          <a:ea typeface="Questrial"/>
                          <a:cs typeface="Questrial"/>
                          <a:sym typeface="Questrial"/>
                        </a:rPr>
                        <a:t>HVA 4</a:t>
                      </a:r>
                      <a:endParaRPr sz="1400" b="1">
                        <a:solidFill>
                          <a:schemeClr val="bg1"/>
                        </a:solidFill>
                        <a:latin typeface="+mj-lt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91425" marR="91425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70725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b="1">
                          <a:solidFill>
                            <a:schemeClr val="bg1"/>
                          </a:solidFill>
                          <a:latin typeface="+mj-lt"/>
                          <a:ea typeface="Questrial"/>
                          <a:cs typeface="Questrial"/>
                          <a:sym typeface="Questrial"/>
                        </a:rPr>
                        <a:t>META SIGNALS</a:t>
                      </a:r>
                    </a:p>
                  </a:txBody>
                  <a:tcPr marL="91425" marR="91425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E5C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[DEMOGRAPHICS / INTERESTS]</a:t>
                      </a:r>
                    </a:p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89D328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00M [AUDIENCE SIZE]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42328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E5C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[DEMOGRAPHICS / INTERESTS]</a:t>
                      </a:r>
                    </a:p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89D328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00M [AUDIENCE SIZE]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42328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E5C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[DEMOGRAPHICS / INTERESTS]</a:t>
                      </a:r>
                    </a:p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89D328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00M [AUDIENCE SIZE]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42328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E5C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[DEMOGRAPHICS / INTERESTS]</a:t>
                      </a:r>
                    </a:p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89D328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00M [AUDIENCE SIZE]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42328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70725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b="1">
                          <a:solidFill>
                            <a:schemeClr val="bg1"/>
                          </a:solidFill>
                          <a:latin typeface="+mj-lt"/>
                          <a:ea typeface="Questrial"/>
                          <a:cs typeface="Questrial"/>
                          <a:sym typeface="Questrial"/>
                        </a:rPr>
                        <a:t>DV360 SIGNALS</a:t>
                      </a:r>
                    </a:p>
                  </a:txBody>
                  <a:tcPr marL="91425" marR="91425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E5C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[AFFINITY / IN-MARKET]</a:t>
                      </a:r>
                    </a:p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89D328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00M [AUDIENCE SIZE]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42328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E5C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[AFFINITY / IN-MARKET]</a:t>
                      </a:r>
                    </a:p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89D328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00M [AUDIENCE SIZE]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42328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E5C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[AFFINITY / IN-MARKET]</a:t>
                      </a:r>
                    </a:p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89D328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00M [AUDIENCE SIZE]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42328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E5C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[AFFINITY / IN-MARKET]</a:t>
                      </a:r>
                    </a:p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89D328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00M [AUDIENCE SIZE]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42328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70725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b="1">
                          <a:solidFill>
                            <a:schemeClr val="bg1"/>
                          </a:solidFill>
                          <a:latin typeface="+mj-lt"/>
                          <a:ea typeface="Questrial"/>
                          <a:cs typeface="Questrial"/>
                          <a:sym typeface="Questrial"/>
                        </a:rPr>
                        <a:t>OTV SIGNALS</a:t>
                      </a:r>
                    </a:p>
                  </a:txBody>
                  <a:tcPr marL="91425" marR="91425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E5C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[DEMOGRAPHICS / INTERESTS]</a:t>
                      </a:r>
                    </a:p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89D328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00M [AUDIENCE SIZE]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42328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E5C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[DEMOGRAPHICS / INTERESTS]</a:t>
                      </a:r>
                    </a:p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89D328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00M [AUDIENCE SIZE]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42328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E5C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[DEMOGRAPHICS / INTERESTS]</a:t>
                      </a:r>
                    </a:p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89D328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00M [AUDIENCE SIZE]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42328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E5C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[DEMOGRAPHICS / INTERESTS]</a:t>
                      </a:r>
                    </a:p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89D328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00M [AUDIENCE SIZE]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42328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2456891"/>
                  </a:ext>
                </a:extLst>
              </a:tr>
              <a:tr h="1070725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b="1">
                          <a:solidFill>
                            <a:schemeClr val="bg1"/>
                          </a:solidFill>
                          <a:latin typeface="+mj-lt"/>
                          <a:ea typeface="Questrial"/>
                          <a:cs typeface="Questrial"/>
                          <a:sym typeface="Questrial"/>
                        </a:rPr>
                        <a:t>OTHER SIGNALS</a:t>
                      </a:r>
                    </a:p>
                  </a:txBody>
                  <a:tcPr marL="91425" marR="91425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E5C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[ARCHETYPES / INTERESTS / BEHAVIOR]</a:t>
                      </a:r>
                    </a:p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89D328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00M [AUDIENCE SIZE]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42328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E5C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[ARCHETYPES / INTERESTS / BEHAVIOR]</a:t>
                      </a:r>
                    </a:p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89D328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00M [AUDIENCE SIZE]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42328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E5C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[ARCHETYPES / INTERESTS / BEHAVIOR]</a:t>
                      </a:r>
                    </a:p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89D328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00M [AUDIENCE SIZE]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42328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E5C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[ARCHETYPES / INTERESTS / BEHAVIOR]</a:t>
                      </a:r>
                    </a:p>
                    <a:p>
                      <a:pPr marL="216000" marR="7200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89D328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Questrial"/>
                          <a:cs typeface="Questrial"/>
                          <a:sym typeface="Questrial"/>
                        </a:rPr>
                        <a:t>00M [AUDIENCE SIZE]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142328"/>
                        </a:solidFill>
                        <a:effectLst/>
                        <a:uLnTx/>
                        <a:uFillTx/>
                        <a:latin typeface="Century Gothic" panose="020F0302020204030204"/>
                        <a:ea typeface="Questrial"/>
                        <a:cs typeface="Questrial"/>
                        <a:sym typeface="Questrial"/>
                      </a:endParaRPr>
                    </a:p>
                  </a:txBody>
                  <a:tcPr marL="0" marR="72000" marT="91425" marB="91425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3" name="Group 13">
            <a:extLst>
              <a:ext uri="{FF2B5EF4-FFF2-40B4-BE49-F238E27FC236}">
                <a16:creationId xmlns:a16="http://schemas.microsoft.com/office/drawing/2014/main" id="{F3EFB58D-CAF5-27D1-A0DD-820359BB5699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13" name="Round Same-side Corner of Rectangle 28">
              <a:extLst>
                <a:ext uri="{FF2B5EF4-FFF2-40B4-BE49-F238E27FC236}">
                  <a16:creationId xmlns:a16="http://schemas.microsoft.com/office/drawing/2014/main" id="{26BF127D-6614-B9E2-B59A-67541F95D008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14" name="Group 33">
              <a:extLst>
                <a:ext uri="{FF2B5EF4-FFF2-40B4-BE49-F238E27FC236}">
                  <a16:creationId xmlns:a16="http://schemas.microsoft.com/office/drawing/2014/main" id="{C625612E-0458-A0B3-9FFE-4844C1392DE0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16" name="Oval 44">
                <a:extLst>
                  <a:ext uri="{FF2B5EF4-FFF2-40B4-BE49-F238E27FC236}">
                    <a16:creationId xmlns:a16="http://schemas.microsoft.com/office/drawing/2014/main" id="{33C962B8-5F2B-D66D-4445-896586726A9D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17" name="TextBox 45">
                <a:extLst>
                  <a:ext uri="{FF2B5EF4-FFF2-40B4-BE49-F238E27FC236}">
                    <a16:creationId xmlns:a16="http://schemas.microsoft.com/office/drawing/2014/main" id="{D7D2E689-52DD-4461-5040-DB106175EB46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15" name="Google Shape;1194;p40">
              <a:extLst>
                <a:ext uri="{FF2B5EF4-FFF2-40B4-BE49-F238E27FC236}">
                  <a16:creationId xmlns:a16="http://schemas.microsoft.com/office/drawing/2014/main" id="{80C02BD0-3415-E541-EB9C-188F7FCBCB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351638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Qué hacer en Antigua Guatemala: Lugares para visitar">
            <a:extLst>
              <a:ext uri="{FF2B5EF4-FFF2-40B4-BE49-F238E27FC236}">
                <a16:creationId xmlns:a16="http://schemas.microsoft.com/office/drawing/2014/main" id="{7F681CE7-E222-9236-3986-8B792BC04A63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2" r="2572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 descr="Guatemala, country, flag icon - Download on Iconfinder">
            <a:extLst>
              <a:ext uri="{FF2B5EF4-FFF2-40B4-BE49-F238E27FC236}">
                <a16:creationId xmlns:a16="http://schemas.microsoft.com/office/drawing/2014/main" id="{CD56C831-DB11-FEE1-045C-3936813DB8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1550" y="4037179"/>
            <a:ext cx="842282" cy="842282"/>
          </a:xfrm>
          <a:prstGeom prst="rect">
            <a:avLst/>
          </a:prstGeom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955D7F7-FCF9-A93A-3DC7-DD6304753E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en-GB" sz="4400" dirty="0"/>
              <a:t>GUATEMALA</a:t>
            </a:r>
          </a:p>
          <a:p>
            <a:pPr lvl="0"/>
            <a:r>
              <a:rPr lang="en-GB" sz="4400" dirty="0"/>
              <a:t>Blueprint 2025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282E3B8-42B8-09BF-771A-71CE3A56B1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6480" y="5250510"/>
            <a:ext cx="8774265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09169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A5E533-73B0-01FB-5329-10954E700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285679"/>
            <a:ext cx="10765383" cy="449810"/>
          </a:xfrm>
        </p:spPr>
        <p:txBody>
          <a:bodyPr/>
          <a:lstStyle/>
          <a:p>
            <a:r>
              <a:rPr lang="es-MX" sz="2400" b="1" dirty="0"/>
              <a:t>MEDIA MIX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D4CF1FB-577E-3769-937C-3560D6C4F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1753DCA-508A-DBBB-5C45-78DDBF4F9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38</a:t>
            </a:fld>
            <a:endParaRPr lang="es-MX"/>
          </a:p>
        </p:txBody>
      </p:sp>
      <p:grpSp>
        <p:nvGrpSpPr>
          <p:cNvPr id="3" name="Group 13">
            <a:extLst>
              <a:ext uri="{FF2B5EF4-FFF2-40B4-BE49-F238E27FC236}">
                <a16:creationId xmlns:a16="http://schemas.microsoft.com/office/drawing/2014/main" id="{EDA390A9-5BF1-E5B8-4013-4D05732B89AB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7" name="Round Same-side Corner of Rectangle 28">
              <a:extLst>
                <a:ext uri="{FF2B5EF4-FFF2-40B4-BE49-F238E27FC236}">
                  <a16:creationId xmlns:a16="http://schemas.microsoft.com/office/drawing/2014/main" id="{92743B5A-E28D-4D5C-D47C-8844ED523BC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EEAAFD05-242F-9A13-483B-C7253B6E9209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1" name="Oval 44">
                <a:extLst>
                  <a:ext uri="{FF2B5EF4-FFF2-40B4-BE49-F238E27FC236}">
                    <a16:creationId xmlns:a16="http://schemas.microsoft.com/office/drawing/2014/main" id="{126C6110-934A-1E72-9031-7AA1D98B59E9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TextBox 45">
                <a:extLst>
                  <a:ext uri="{FF2B5EF4-FFF2-40B4-BE49-F238E27FC236}">
                    <a16:creationId xmlns:a16="http://schemas.microsoft.com/office/drawing/2014/main" id="{B3BCE8D0-CE54-9030-6080-C93072324CB4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9" name="Google Shape;1194;p40">
              <a:extLst>
                <a:ext uri="{FF2B5EF4-FFF2-40B4-BE49-F238E27FC236}">
                  <a16:creationId xmlns:a16="http://schemas.microsoft.com/office/drawing/2014/main" id="{C4048FF6-1C72-EE31-FA93-E27A16498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graphicFrame>
        <p:nvGraphicFramePr>
          <p:cNvPr id="36" name="Table 9">
            <a:extLst>
              <a:ext uri="{FF2B5EF4-FFF2-40B4-BE49-F238E27FC236}">
                <a16:creationId xmlns:a16="http://schemas.microsoft.com/office/drawing/2014/main" id="{36B67939-6335-4CB1-8986-2381DBFDF4F5}"/>
              </a:ext>
            </a:extLst>
          </p:cNvPr>
          <p:cNvGraphicFramePr>
            <a:graphicFrameLocks noGrp="1"/>
          </p:cNvGraphicFramePr>
          <p:nvPr/>
        </p:nvGraphicFramePr>
        <p:xfrm>
          <a:off x="610831" y="1221557"/>
          <a:ext cx="3187357" cy="3549395"/>
        </p:xfrm>
        <a:graphic>
          <a:graphicData uri="http://schemas.openxmlformats.org/drawingml/2006/table">
            <a:tbl>
              <a:tblPr firstRow="1" bandRow="1"/>
              <a:tblGrid>
                <a:gridCol w="969966">
                  <a:extLst>
                    <a:ext uri="{9D8B030D-6E8A-4147-A177-3AD203B41FA5}">
                      <a16:colId xmlns:a16="http://schemas.microsoft.com/office/drawing/2014/main" val="2050887265"/>
                    </a:ext>
                  </a:extLst>
                </a:gridCol>
                <a:gridCol w="1192371">
                  <a:extLst>
                    <a:ext uri="{9D8B030D-6E8A-4147-A177-3AD203B41FA5}">
                      <a16:colId xmlns:a16="http://schemas.microsoft.com/office/drawing/2014/main" val="777586562"/>
                    </a:ext>
                  </a:extLst>
                </a:gridCol>
                <a:gridCol w="1025020">
                  <a:extLst>
                    <a:ext uri="{9D8B030D-6E8A-4147-A177-3AD203B41FA5}">
                      <a16:colId xmlns:a16="http://schemas.microsoft.com/office/drawing/2014/main" val="990893922"/>
                    </a:ext>
                  </a:extLst>
                </a:gridCol>
              </a:tblGrid>
              <a:tr h="37757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  <a:latin typeface="+mj-lt"/>
                        </a:rPr>
                        <a:t>2023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  <a:latin typeface="+mj-lt"/>
                        </a:rPr>
                        <a:t>2024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078752"/>
                  </a:ext>
                </a:extLst>
              </a:tr>
              <a:tr h="3524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PRESUPUEST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409,212</a:t>
                      </a:r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345,841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152379"/>
                  </a:ext>
                </a:extLst>
              </a:tr>
              <a:tr h="3143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SEMANAS AL AIRE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>
                          <a:solidFill>
                            <a:schemeClr val="tx1"/>
                          </a:solidFill>
                          <a:latin typeface="+mj-lt"/>
                        </a:rPr>
                        <a:t>52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>
                          <a:solidFill>
                            <a:schemeClr val="tx1"/>
                          </a:solidFill>
                          <a:latin typeface="+mj-lt"/>
                        </a:rPr>
                        <a:t>52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10735"/>
                  </a:ext>
                </a:extLst>
              </a:tr>
              <a:tr h="38100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TRPS (TV) AÑ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1436 TRPS</a:t>
                      </a:r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1788 TRPS</a:t>
                      </a:r>
                      <a:endParaRPr lang="en-US" sz="1000" b="1" i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508896"/>
                  </a:ext>
                </a:extLst>
              </a:tr>
              <a:tr h="28956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ALCANCE TV - ME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30%</a:t>
                      </a:r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45%</a:t>
                      </a:r>
                      <a:endParaRPr lang="en-US" sz="1000" b="1" i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796899"/>
                  </a:ext>
                </a:extLst>
              </a:tr>
              <a:tr h="36195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ALCANCE DIGITAL – MES RRS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83%</a:t>
                      </a:r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88%</a:t>
                      </a:r>
                      <a:endParaRPr lang="en-US" sz="1000" b="1" i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0027884"/>
                  </a:ext>
                </a:extLst>
              </a:tr>
              <a:tr h="2762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ALCANCE (IVR) PROMEDIO – ME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>
                          <a:solidFill>
                            <a:schemeClr val="tx1"/>
                          </a:solidFill>
                          <a:latin typeface="+mj-lt"/>
                        </a:rPr>
                        <a:t>75%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>
                          <a:solidFill>
                            <a:schemeClr val="tx1"/>
                          </a:solidFill>
                          <a:latin typeface="+mj-lt"/>
                        </a:rPr>
                        <a:t>+80%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3671133"/>
                  </a:ext>
                </a:extLst>
              </a:tr>
              <a:tr h="68238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just"/>
                      <a:endParaRPr lang="en-US" sz="1100" b="0" i="0" u="none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Para 2024 se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considera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una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reducción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importante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para radio y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exteriores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,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manteniendo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niveles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en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OTV y PTV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DCDB">
                        <a:lumMod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681149"/>
                  </a:ext>
                </a:extLst>
              </a:tr>
            </a:tbl>
          </a:graphicData>
        </a:graphic>
      </p:graphicFrame>
      <p:pic>
        <p:nvPicPr>
          <p:cNvPr id="38" name="Imagen 37" descr="Logotipo&#10;&#10;Descripción generada automáticamente">
            <a:extLst>
              <a:ext uri="{FF2B5EF4-FFF2-40B4-BE49-F238E27FC236}">
                <a16:creationId xmlns:a16="http://schemas.microsoft.com/office/drawing/2014/main" id="{4F75D5A5-DB4D-71AC-ED7E-4F10374684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80" b="4413"/>
          <a:stretch/>
        </p:blipFill>
        <p:spPr>
          <a:xfrm>
            <a:off x="1308682" y="788037"/>
            <a:ext cx="717583" cy="703071"/>
          </a:xfrm>
          <a:prstGeom prst="rect">
            <a:avLst/>
          </a:prstGeom>
        </p:spPr>
      </p:pic>
      <p:graphicFrame>
        <p:nvGraphicFramePr>
          <p:cNvPr id="46" name="Table 9">
            <a:extLst>
              <a:ext uri="{FF2B5EF4-FFF2-40B4-BE49-F238E27FC236}">
                <a16:creationId xmlns:a16="http://schemas.microsoft.com/office/drawing/2014/main" id="{AF310D26-711F-B412-4AF7-62B2787E154F}"/>
              </a:ext>
            </a:extLst>
          </p:cNvPr>
          <p:cNvGraphicFramePr>
            <a:graphicFrameLocks noGrp="1"/>
          </p:cNvGraphicFramePr>
          <p:nvPr/>
        </p:nvGraphicFramePr>
        <p:xfrm>
          <a:off x="7765516" y="1221557"/>
          <a:ext cx="2056778" cy="3358271"/>
        </p:xfrm>
        <a:graphic>
          <a:graphicData uri="http://schemas.openxmlformats.org/drawingml/2006/table">
            <a:tbl>
              <a:tblPr firstRow="1" bandRow="1"/>
              <a:tblGrid>
                <a:gridCol w="1123328">
                  <a:extLst>
                    <a:ext uri="{9D8B030D-6E8A-4147-A177-3AD203B41FA5}">
                      <a16:colId xmlns:a16="http://schemas.microsoft.com/office/drawing/2014/main" val="777586562"/>
                    </a:ext>
                  </a:extLst>
                </a:gridCol>
                <a:gridCol w="933450">
                  <a:extLst>
                    <a:ext uri="{9D8B030D-6E8A-4147-A177-3AD203B41FA5}">
                      <a16:colId xmlns:a16="http://schemas.microsoft.com/office/drawing/2014/main" val="990893922"/>
                    </a:ext>
                  </a:extLst>
                </a:gridCol>
              </a:tblGrid>
              <a:tr h="37757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  <a:latin typeface="+mj-lt"/>
                        </a:rPr>
                        <a:t>2023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  <a:latin typeface="+mj-lt"/>
                        </a:rPr>
                        <a:t>2024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078752"/>
                  </a:ext>
                </a:extLst>
              </a:tr>
              <a:tr h="3524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139,769</a:t>
                      </a:r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190,257</a:t>
                      </a:r>
                      <a:endParaRPr lang="en-US" sz="1000" b="1" i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152379"/>
                  </a:ext>
                </a:extLst>
              </a:tr>
              <a:tr h="3143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>
                          <a:solidFill>
                            <a:schemeClr val="tx1"/>
                          </a:solidFill>
                          <a:latin typeface="+mj-lt"/>
                        </a:rPr>
                        <a:t>20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>
                          <a:solidFill>
                            <a:schemeClr val="tx1"/>
                          </a:solidFill>
                          <a:latin typeface="+mj-lt"/>
                        </a:rPr>
                        <a:t>18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10735"/>
                  </a:ext>
                </a:extLst>
              </a:tr>
              <a:tr h="38100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544 TRPS</a:t>
                      </a:r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755 TRPS</a:t>
                      </a:r>
                      <a:endParaRPr lang="en-US" sz="1000" b="1" i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508896"/>
                  </a:ext>
                </a:extLst>
              </a:tr>
              <a:tr h="28956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0%</a:t>
                      </a:r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40%</a:t>
                      </a:r>
                      <a:endParaRPr lang="en-US" sz="1000" b="1" i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796899"/>
                  </a:ext>
                </a:extLst>
              </a:tr>
              <a:tr h="451339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63%</a:t>
                      </a:r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70%</a:t>
                      </a:r>
                      <a:endParaRPr lang="en-US" sz="1000" b="1" i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0027884"/>
                  </a:ext>
                </a:extLst>
              </a:tr>
              <a:tr h="50966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>
                          <a:solidFill>
                            <a:schemeClr val="tx1"/>
                          </a:solidFill>
                          <a:latin typeface="+mj-lt"/>
                        </a:rPr>
                        <a:t>35%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>
                          <a:solidFill>
                            <a:schemeClr val="tx1"/>
                          </a:solidFill>
                          <a:latin typeface="+mj-lt"/>
                        </a:rPr>
                        <a:t>+55%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3671133"/>
                  </a:ext>
                </a:extLst>
              </a:tr>
              <a:tr h="682386">
                <a:tc gridSpan="2"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Tuvo</a:t>
                      </a:r>
                      <a:r>
                        <a:rPr lang="en-US" sz="1000" b="1" i="0" u="none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material de 20ss, </a:t>
                      </a:r>
                      <a:r>
                        <a:rPr lang="en-US" sz="1000" b="1" i="0" u="none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fuerte</a:t>
                      </a:r>
                      <a:r>
                        <a:rPr lang="en-US" sz="1000" b="1" i="0" u="none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presencia</a:t>
                      </a:r>
                      <a:r>
                        <a:rPr lang="en-US" sz="1000" b="1" i="0" u="none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en</a:t>
                      </a:r>
                      <a:r>
                        <a:rPr lang="en-US" sz="1000" b="1" i="0" u="none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verano</a:t>
                      </a:r>
                      <a:endParaRPr lang="en-US" sz="1000" b="1" i="0" u="none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57150" cap="flat" cmpd="sng" algn="ctr">
                      <a:solidFill>
                        <a:srgbClr val="E3DC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E3DC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E3DC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C4C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681149"/>
                  </a:ext>
                </a:extLst>
              </a:tr>
            </a:tbl>
          </a:graphicData>
        </a:graphic>
      </p:graphicFrame>
      <p:sp>
        <p:nvSpPr>
          <p:cNvPr id="48" name="Flecha: a la derecha 47">
            <a:extLst>
              <a:ext uri="{FF2B5EF4-FFF2-40B4-BE49-F238E27FC236}">
                <a16:creationId xmlns:a16="http://schemas.microsoft.com/office/drawing/2014/main" id="{B2B16329-0CC2-0CC2-D16D-7EB1268C5715}"/>
              </a:ext>
            </a:extLst>
          </p:cNvPr>
          <p:cNvSpPr/>
          <p:nvPr/>
        </p:nvSpPr>
        <p:spPr>
          <a:xfrm rot="5400000">
            <a:off x="3835645" y="1666687"/>
            <a:ext cx="216000" cy="199234"/>
          </a:xfrm>
          <a:prstGeom prst="rightArrow">
            <a:avLst/>
          </a:prstGeom>
          <a:solidFill>
            <a:srgbClr val="FF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9" name="Flecha: a la derecha 48">
            <a:extLst>
              <a:ext uri="{FF2B5EF4-FFF2-40B4-BE49-F238E27FC236}">
                <a16:creationId xmlns:a16="http://schemas.microsoft.com/office/drawing/2014/main" id="{A57FFD86-814E-5B71-A2A9-3E3BE5DB282A}"/>
              </a:ext>
            </a:extLst>
          </p:cNvPr>
          <p:cNvSpPr/>
          <p:nvPr/>
        </p:nvSpPr>
        <p:spPr>
          <a:xfrm rot="16200000">
            <a:off x="3823014" y="2364405"/>
            <a:ext cx="216000" cy="199234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0" name="Flecha: a la derecha 49">
            <a:extLst>
              <a:ext uri="{FF2B5EF4-FFF2-40B4-BE49-F238E27FC236}">
                <a16:creationId xmlns:a16="http://schemas.microsoft.com/office/drawing/2014/main" id="{2C37E231-3025-0979-2666-300F9B91B591}"/>
              </a:ext>
            </a:extLst>
          </p:cNvPr>
          <p:cNvSpPr/>
          <p:nvPr/>
        </p:nvSpPr>
        <p:spPr>
          <a:xfrm rot="16200000">
            <a:off x="3823015" y="2736765"/>
            <a:ext cx="216000" cy="199234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1" name="Flecha: a la derecha 50">
            <a:extLst>
              <a:ext uri="{FF2B5EF4-FFF2-40B4-BE49-F238E27FC236}">
                <a16:creationId xmlns:a16="http://schemas.microsoft.com/office/drawing/2014/main" id="{A61CDAA8-D4CC-F627-409B-DA4BE5E0DFE6}"/>
              </a:ext>
            </a:extLst>
          </p:cNvPr>
          <p:cNvSpPr/>
          <p:nvPr/>
        </p:nvSpPr>
        <p:spPr>
          <a:xfrm rot="16200000">
            <a:off x="3823014" y="3573922"/>
            <a:ext cx="216000" cy="199233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2" name="Flecha: a la derecha 51">
            <a:extLst>
              <a:ext uri="{FF2B5EF4-FFF2-40B4-BE49-F238E27FC236}">
                <a16:creationId xmlns:a16="http://schemas.microsoft.com/office/drawing/2014/main" id="{0F899C6F-5793-D280-9F36-73166FC30A40}"/>
              </a:ext>
            </a:extLst>
          </p:cNvPr>
          <p:cNvSpPr/>
          <p:nvPr/>
        </p:nvSpPr>
        <p:spPr>
          <a:xfrm rot="16200000">
            <a:off x="3823015" y="3128795"/>
            <a:ext cx="216000" cy="199233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3" name="Flecha: a la derecha 52">
            <a:extLst>
              <a:ext uri="{FF2B5EF4-FFF2-40B4-BE49-F238E27FC236}">
                <a16:creationId xmlns:a16="http://schemas.microsoft.com/office/drawing/2014/main" id="{339A6589-C59A-6B07-90BD-7670DB3A92A9}"/>
              </a:ext>
            </a:extLst>
          </p:cNvPr>
          <p:cNvSpPr/>
          <p:nvPr/>
        </p:nvSpPr>
        <p:spPr>
          <a:xfrm rot="16200000">
            <a:off x="9888434" y="2330658"/>
            <a:ext cx="216000" cy="199234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4" name="Flecha: a la derecha 53">
            <a:extLst>
              <a:ext uri="{FF2B5EF4-FFF2-40B4-BE49-F238E27FC236}">
                <a16:creationId xmlns:a16="http://schemas.microsoft.com/office/drawing/2014/main" id="{7EC9B365-3468-DA58-4537-56988AEF5BD5}"/>
              </a:ext>
            </a:extLst>
          </p:cNvPr>
          <p:cNvSpPr/>
          <p:nvPr/>
        </p:nvSpPr>
        <p:spPr>
          <a:xfrm rot="16200000">
            <a:off x="9888435" y="2703018"/>
            <a:ext cx="216000" cy="199234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5" name="Flecha: a la derecha 54">
            <a:extLst>
              <a:ext uri="{FF2B5EF4-FFF2-40B4-BE49-F238E27FC236}">
                <a16:creationId xmlns:a16="http://schemas.microsoft.com/office/drawing/2014/main" id="{BE0904DA-AAA1-2058-2038-7BBEBDA1B190}"/>
              </a:ext>
            </a:extLst>
          </p:cNvPr>
          <p:cNvSpPr/>
          <p:nvPr/>
        </p:nvSpPr>
        <p:spPr>
          <a:xfrm rot="16200000">
            <a:off x="9888434" y="3540175"/>
            <a:ext cx="216000" cy="199233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6" name="Flecha: a la derecha 55">
            <a:extLst>
              <a:ext uri="{FF2B5EF4-FFF2-40B4-BE49-F238E27FC236}">
                <a16:creationId xmlns:a16="http://schemas.microsoft.com/office/drawing/2014/main" id="{FD308B1A-DBF0-1265-657A-3A3C46831E75}"/>
              </a:ext>
            </a:extLst>
          </p:cNvPr>
          <p:cNvSpPr/>
          <p:nvPr/>
        </p:nvSpPr>
        <p:spPr>
          <a:xfrm rot="16200000">
            <a:off x="9888435" y="3095048"/>
            <a:ext cx="216000" cy="199233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5" name="Flecha: a la derecha 64">
            <a:extLst>
              <a:ext uri="{FF2B5EF4-FFF2-40B4-BE49-F238E27FC236}">
                <a16:creationId xmlns:a16="http://schemas.microsoft.com/office/drawing/2014/main" id="{49F30D70-317F-9C75-87CA-072AC36AB77C}"/>
              </a:ext>
            </a:extLst>
          </p:cNvPr>
          <p:cNvSpPr/>
          <p:nvPr/>
        </p:nvSpPr>
        <p:spPr>
          <a:xfrm rot="16200000">
            <a:off x="9888434" y="1668665"/>
            <a:ext cx="216000" cy="199234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67" name="Picture 4" descr="page18image1786144">
            <a:extLst>
              <a:ext uri="{FF2B5EF4-FFF2-40B4-BE49-F238E27FC236}">
                <a16:creationId xmlns:a16="http://schemas.microsoft.com/office/drawing/2014/main" id="{6F0610A9-F919-0084-27E0-87944925DB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23704" y="631014"/>
            <a:ext cx="1259915" cy="999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0" name="Gráfico 69">
            <a:extLst>
              <a:ext uri="{FF2B5EF4-FFF2-40B4-BE49-F238E27FC236}">
                <a16:creationId xmlns:a16="http://schemas.microsoft.com/office/drawing/2014/main" id="{93DCE385-0FAC-126D-B32E-A565FA3696F6}"/>
              </a:ext>
            </a:extLst>
          </p:cNvPr>
          <p:cNvGraphicFramePr/>
          <p:nvPr/>
        </p:nvGraphicFramePr>
        <p:xfrm>
          <a:off x="1369562" y="4482779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1" name="Gráfico 70">
            <a:extLst>
              <a:ext uri="{FF2B5EF4-FFF2-40B4-BE49-F238E27FC236}">
                <a16:creationId xmlns:a16="http://schemas.microsoft.com/office/drawing/2014/main" id="{1F67187A-EB97-987B-BC4F-4611229D8B7E}"/>
              </a:ext>
            </a:extLst>
          </p:cNvPr>
          <p:cNvGraphicFramePr/>
          <p:nvPr/>
        </p:nvGraphicFramePr>
        <p:xfrm>
          <a:off x="1369561" y="4979962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2" name="Gráfico 71">
            <a:extLst>
              <a:ext uri="{FF2B5EF4-FFF2-40B4-BE49-F238E27FC236}">
                <a16:creationId xmlns:a16="http://schemas.microsoft.com/office/drawing/2014/main" id="{32C80215-6FEB-13AF-71A8-06BB021AF302}"/>
              </a:ext>
            </a:extLst>
          </p:cNvPr>
          <p:cNvGraphicFramePr/>
          <p:nvPr/>
        </p:nvGraphicFramePr>
        <p:xfrm>
          <a:off x="7623600" y="4482779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3" name="Gráfico 72">
            <a:extLst>
              <a:ext uri="{FF2B5EF4-FFF2-40B4-BE49-F238E27FC236}">
                <a16:creationId xmlns:a16="http://schemas.microsoft.com/office/drawing/2014/main" id="{1361A66E-79A3-5BE5-C190-4375B80DAF7F}"/>
              </a:ext>
            </a:extLst>
          </p:cNvPr>
          <p:cNvGraphicFramePr/>
          <p:nvPr/>
        </p:nvGraphicFramePr>
        <p:xfrm>
          <a:off x="7623599" y="4979962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74" name="Gráfico 73">
            <a:extLst>
              <a:ext uri="{FF2B5EF4-FFF2-40B4-BE49-F238E27FC236}">
                <a16:creationId xmlns:a16="http://schemas.microsoft.com/office/drawing/2014/main" id="{47C042F5-8FE6-09BA-95FE-F290A74BCC7B}"/>
              </a:ext>
            </a:extLst>
          </p:cNvPr>
          <p:cNvGraphicFramePr/>
          <p:nvPr/>
        </p:nvGraphicFramePr>
        <p:xfrm>
          <a:off x="1369561" y="5507316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5" name="Gráfico 74">
            <a:extLst>
              <a:ext uri="{FF2B5EF4-FFF2-40B4-BE49-F238E27FC236}">
                <a16:creationId xmlns:a16="http://schemas.microsoft.com/office/drawing/2014/main" id="{213A03C8-BFFF-6A8D-C79A-A9B57A854872}"/>
              </a:ext>
            </a:extLst>
          </p:cNvPr>
          <p:cNvGraphicFramePr/>
          <p:nvPr/>
        </p:nvGraphicFramePr>
        <p:xfrm>
          <a:off x="7623599" y="5507316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" name="Título 1">
            <a:extLst>
              <a:ext uri="{FF2B5EF4-FFF2-40B4-BE49-F238E27FC236}">
                <a16:creationId xmlns:a16="http://schemas.microsoft.com/office/drawing/2014/main" id="{E0B82BDD-B582-86BD-D977-170B62363357}"/>
              </a:ext>
            </a:extLst>
          </p:cNvPr>
          <p:cNvSpPr txBox="1">
            <a:spLocks/>
          </p:cNvSpPr>
          <p:nvPr/>
        </p:nvSpPr>
        <p:spPr>
          <a:xfrm>
            <a:off x="555792" y="4745712"/>
            <a:ext cx="963669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pPr algn="ctr"/>
            <a:r>
              <a:rPr lang="es-MX" sz="1800" dirty="0"/>
              <a:t>2023</a:t>
            </a:r>
          </a:p>
          <a:p>
            <a:pPr algn="ctr"/>
            <a:endParaRPr lang="es-MX" sz="1800" dirty="0"/>
          </a:p>
          <a:p>
            <a:pPr algn="ctr"/>
            <a:r>
              <a:rPr lang="es-MX" sz="1800" dirty="0"/>
              <a:t>2024</a:t>
            </a:r>
          </a:p>
          <a:p>
            <a:pPr algn="ctr"/>
            <a:endParaRPr lang="es-MX" sz="1800" dirty="0"/>
          </a:p>
          <a:p>
            <a:pPr algn="ctr"/>
            <a:r>
              <a:rPr lang="es-MX" sz="1800" b="1" dirty="0"/>
              <a:t>2025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ABBD1F79-B3DA-2C6D-FE5D-EEC724BE2AF7}"/>
              </a:ext>
            </a:extLst>
          </p:cNvPr>
          <p:cNvSpPr txBox="1">
            <a:spLocks/>
          </p:cNvSpPr>
          <p:nvPr/>
        </p:nvSpPr>
        <p:spPr>
          <a:xfrm>
            <a:off x="6806689" y="4752111"/>
            <a:ext cx="963669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pPr algn="ctr"/>
            <a:r>
              <a:rPr lang="es-MX" sz="1800" dirty="0"/>
              <a:t>2023</a:t>
            </a:r>
          </a:p>
          <a:p>
            <a:pPr algn="ctr"/>
            <a:endParaRPr lang="es-MX" sz="1800" dirty="0"/>
          </a:p>
          <a:p>
            <a:pPr algn="ctr"/>
            <a:r>
              <a:rPr lang="es-MX" sz="1800" dirty="0"/>
              <a:t>2024</a:t>
            </a:r>
          </a:p>
          <a:p>
            <a:pPr algn="ctr"/>
            <a:endParaRPr lang="es-MX" sz="1800" dirty="0"/>
          </a:p>
          <a:p>
            <a:pPr algn="ctr"/>
            <a:r>
              <a:rPr lang="es-MX" sz="1800" b="1" dirty="0"/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174527659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D4CF1FB-577E-3769-937C-3560D6C4F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1753DCA-508A-DBBB-5C45-78DDBF4F9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39</a:t>
            </a:fld>
            <a:endParaRPr lang="es-MX"/>
          </a:p>
        </p:txBody>
      </p:sp>
      <p:grpSp>
        <p:nvGrpSpPr>
          <p:cNvPr id="3" name="Group 13">
            <a:extLst>
              <a:ext uri="{FF2B5EF4-FFF2-40B4-BE49-F238E27FC236}">
                <a16:creationId xmlns:a16="http://schemas.microsoft.com/office/drawing/2014/main" id="{EDA390A9-5BF1-E5B8-4013-4D05732B89AB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7" name="Round Same-side Corner of Rectangle 28">
              <a:extLst>
                <a:ext uri="{FF2B5EF4-FFF2-40B4-BE49-F238E27FC236}">
                  <a16:creationId xmlns:a16="http://schemas.microsoft.com/office/drawing/2014/main" id="{92743B5A-E28D-4D5C-D47C-8844ED523BC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EEAAFD05-242F-9A13-483B-C7253B6E9209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1" name="Oval 44">
                <a:extLst>
                  <a:ext uri="{FF2B5EF4-FFF2-40B4-BE49-F238E27FC236}">
                    <a16:creationId xmlns:a16="http://schemas.microsoft.com/office/drawing/2014/main" id="{126C6110-934A-1E72-9031-7AA1D98B59E9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TextBox 45">
                <a:extLst>
                  <a:ext uri="{FF2B5EF4-FFF2-40B4-BE49-F238E27FC236}">
                    <a16:creationId xmlns:a16="http://schemas.microsoft.com/office/drawing/2014/main" id="{B3BCE8D0-CE54-9030-6080-C93072324CB4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9" name="Google Shape;1194;p40">
              <a:extLst>
                <a:ext uri="{FF2B5EF4-FFF2-40B4-BE49-F238E27FC236}">
                  <a16:creationId xmlns:a16="http://schemas.microsoft.com/office/drawing/2014/main" id="{C4048FF6-1C72-EE31-FA93-E27A16498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graphicFrame>
        <p:nvGraphicFramePr>
          <p:cNvPr id="37" name="Table 9">
            <a:extLst>
              <a:ext uri="{FF2B5EF4-FFF2-40B4-BE49-F238E27FC236}">
                <a16:creationId xmlns:a16="http://schemas.microsoft.com/office/drawing/2014/main" id="{7E678F92-98E9-F135-91F1-819FC6A15EED}"/>
              </a:ext>
            </a:extLst>
          </p:cNvPr>
          <p:cNvGraphicFramePr>
            <a:graphicFrameLocks noGrp="1"/>
          </p:cNvGraphicFramePr>
          <p:nvPr/>
        </p:nvGraphicFramePr>
        <p:xfrm>
          <a:off x="1551292" y="1221557"/>
          <a:ext cx="2056778" cy="3358271"/>
        </p:xfrm>
        <a:graphic>
          <a:graphicData uri="http://schemas.openxmlformats.org/drawingml/2006/table">
            <a:tbl>
              <a:tblPr firstRow="1" bandRow="1"/>
              <a:tblGrid>
                <a:gridCol w="1123328">
                  <a:extLst>
                    <a:ext uri="{9D8B030D-6E8A-4147-A177-3AD203B41FA5}">
                      <a16:colId xmlns:a16="http://schemas.microsoft.com/office/drawing/2014/main" val="777586562"/>
                    </a:ext>
                  </a:extLst>
                </a:gridCol>
                <a:gridCol w="933450">
                  <a:extLst>
                    <a:ext uri="{9D8B030D-6E8A-4147-A177-3AD203B41FA5}">
                      <a16:colId xmlns:a16="http://schemas.microsoft.com/office/drawing/2014/main" val="990893922"/>
                    </a:ext>
                  </a:extLst>
                </a:gridCol>
              </a:tblGrid>
              <a:tr h="37757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  <a:latin typeface="+mj-lt"/>
                        </a:rPr>
                        <a:t>2023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  <a:latin typeface="+mj-lt"/>
                        </a:rPr>
                        <a:t>2024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078752"/>
                  </a:ext>
                </a:extLst>
              </a:tr>
              <a:tr h="3524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0.0</a:t>
                      </a:r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103,900</a:t>
                      </a:r>
                      <a:endParaRPr lang="en-US" sz="1000" b="1" i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152379"/>
                  </a:ext>
                </a:extLst>
              </a:tr>
              <a:tr h="3143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>
                          <a:solidFill>
                            <a:schemeClr val="tx1"/>
                          </a:solidFill>
                          <a:latin typeface="+mj-lt"/>
                        </a:rPr>
                        <a:t>-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>
                          <a:solidFill>
                            <a:schemeClr val="tx1"/>
                          </a:solidFill>
                          <a:latin typeface="+mj-lt"/>
                        </a:rPr>
                        <a:t>20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10735"/>
                  </a:ext>
                </a:extLst>
              </a:tr>
              <a:tr h="38100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-</a:t>
                      </a:r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760 TRPS</a:t>
                      </a:r>
                      <a:endParaRPr lang="en-US" sz="1000" b="1" i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508896"/>
                  </a:ext>
                </a:extLst>
              </a:tr>
              <a:tr h="28956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-</a:t>
                      </a:r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30%</a:t>
                      </a:r>
                      <a:endParaRPr lang="en-US" sz="1000" b="1" i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796899"/>
                  </a:ext>
                </a:extLst>
              </a:tr>
              <a:tr h="451339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-</a:t>
                      </a:r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20%</a:t>
                      </a:r>
                      <a:endParaRPr lang="en-US" sz="1000" b="1" i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0027884"/>
                  </a:ext>
                </a:extLst>
              </a:tr>
              <a:tr h="50966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>
                          <a:solidFill>
                            <a:schemeClr val="tx1"/>
                          </a:solidFill>
                          <a:latin typeface="+mj-lt"/>
                        </a:rPr>
                        <a:t>-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>
                          <a:solidFill>
                            <a:schemeClr val="tx1"/>
                          </a:solidFill>
                          <a:latin typeface="+mj-lt"/>
                        </a:rPr>
                        <a:t>+50%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3671133"/>
                  </a:ext>
                </a:extLst>
              </a:tr>
              <a:tr h="682386">
                <a:tc gridSpan="2"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En 2022 </a:t>
                      </a:r>
                      <a:r>
                        <a:rPr lang="en-US" sz="1000" b="1" i="0" u="none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tuvo</a:t>
                      </a:r>
                      <a:r>
                        <a:rPr lang="en-US" sz="1000" b="1" i="0" u="none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500% de </a:t>
                      </a:r>
                      <a:r>
                        <a:rPr lang="en-US" sz="1000" b="1" i="0" u="none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bonificación</a:t>
                      </a:r>
                      <a:r>
                        <a:rPr lang="en-US" sz="1000" b="1" i="0" u="none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por</a:t>
                      </a:r>
                      <a:r>
                        <a:rPr lang="en-US" sz="1000" b="1" i="0" u="none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producto</a:t>
                      </a:r>
                      <a:r>
                        <a:rPr lang="en-US" sz="1000" b="1" i="0" u="none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nuevo</a:t>
                      </a:r>
                    </a:p>
                  </a:txBody>
                  <a:tcPr anchor="ctr">
                    <a:lnL w="57150" cap="flat" cmpd="sng" algn="ctr">
                      <a:solidFill>
                        <a:srgbClr val="E3DC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E3DC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E3DC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C4C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681149"/>
                  </a:ext>
                </a:extLst>
              </a:tr>
            </a:tbl>
          </a:graphicData>
        </a:graphic>
      </p:graphicFrame>
      <p:pic>
        <p:nvPicPr>
          <p:cNvPr id="39" name="Imagen 38">
            <a:extLst>
              <a:ext uri="{FF2B5EF4-FFF2-40B4-BE49-F238E27FC236}">
                <a16:creationId xmlns:a16="http://schemas.microsoft.com/office/drawing/2014/main" id="{145B4760-8D96-6FDC-C1F6-DAB12A83047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481A72"/>
              </a:clrFrom>
              <a:clrTo>
                <a:srgbClr val="481A72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636" b="98501" l="2342" r="96253">
                        <a14:foregroundMark x1="7963" y1="47537" x2="16628" y2="30193"/>
                        <a14:foregroundMark x1="16628" y1="30193" x2="42155" y2="16916"/>
                        <a14:foregroundMark x1="64169" y1="14989" x2="74707" y2="20343"/>
                        <a14:foregroundMark x1="74707" y1="20343" x2="82436" y2="37901"/>
                        <a14:foregroundMark x1="82436" y1="37901" x2="84309" y2="50964"/>
                        <a14:foregroundMark x1="90632" y1="66809" x2="92740" y2="43255"/>
                        <a14:foregroundMark x1="92740" y1="43255" x2="81499" y2="25482"/>
                        <a14:foregroundMark x1="36534" y1="13276" x2="61358" y2="13490"/>
                        <a14:foregroundMark x1="61358" y1="13490" x2="85480" y2="26767"/>
                        <a14:foregroundMark x1="85480" y1="26767" x2="88759" y2="56745"/>
                        <a14:foregroundMark x1="88759" y1="56745" x2="87822" y2="62313"/>
                        <a14:foregroundMark x1="47775" y1="94004" x2="47775" y2="94004"/>
                        <a14:foregroundMark x1="25761" y1="88437" x2="25761" y2="88437"/>
                        <a14:foregroundMark x1="21077" y1="89079" x2="21077" y2="89079"/>
                        <a14:foregroundMark x1="21077" y1="89079" x2="6089" y2="44968"/>
                        <a14:foregroundMark x1="6089" y1="44968" x2="6089" y2="44754"/>
                        <a14:foregroundMark x1="11710" y1="31263" x2="2342" y2="56103"/>
                        <a14:foregroundMark x1="2342" y1="56103" x2="9133" y2="74732"/>
                        <a14:foregroundMark x1="9133" y1="74732" x2="12178" y2="77730"/>
                        <a14:foregroundMark x1="46370" y1="97216" x2="59016" y2="98073"/>
                        <a14:foregroundMark x1="59016" y1="98073" x2="67564" y2="96325"/>
                        <a14:foregroundMark x1="82436" y1="82227" x2="90164" y2="66595"/>
                        <a14:foregroundMark x1="90164" y1="66595" x2="89696" y2="61884"/>
                        <a14:foregroundMark x1="83841" y1="79229" x2="92272" y2="68951"/>
                        <a14:foregroundMark x1="92272" y1="68951" x2="96487" y2="49893"/>
                        <a14:foregroundMark x1="96487" y1="49893" x2="82436" y2="23126"/>
                        <a14:foregroundMark x1="61827" y1="94218" x2="71189" y2="92458"/>
                        <a14:foregroundMark x1="87758" y1="81295" x2="88525" y2="74090"/>
                        <a14:foregroundMark x1="20141" y1="88437" x2="52927" y2="98501"/>
                        <a14:foregroundMark x1="78220" y1="87366" x2="78220" y2="87366"/>
                        <a14:foregroundMark x1="71663" y1="89722" x2="82436" y2="83512"/>
                        <a14:foregroundMark x1="82436" y1="83512" x2="82904" y2="82869"/>
                        <a14:backgroundMark x1="70726" y1="96146" x2="83138" y2="94218"/>
                        <a14:backgroundMark x1="83138" y1="94218" x2="87822" y2="87794"/>
                        <a14:backgroundMark x1="82904" y1="91006" x2="88525" y2="84582"/>
                        <a14:backgroundMark x1="81499" y1="92077" x2="85246" y2="89722"/>
                        <a14:backgroundMark x1="78454" y1="91649" x2="86651" y2="87152"/>
                        <a14:backgroundMark x1="67213" y1="97002" x2="84309" y2="87580"/>
                        <a14:backgroundMark x1="84309" y1="87580" x2="95316" y2="71734"/>
                      </a14:backgroundRemoval>
                    </a14:imgEffect>
                  </a14:imgLayer>
                </a14:imgProps>
              </a:ext>
            </a:extLst>
          </a:blip>
          <a:srcRect t="5260"/>
          <a:stretch/>
        </p:blipFill>
        <p:spPr>
          <a:xfrm>
            <a:off x="1369562" y="734134"/>
            <a:ext cx="679257" cy="703818"/>
          </a:xfrm>
          <a:prstGeom prst="rect">
            <a:avLst/>
          </a:prstGeom>
        </p:spPr>
      </p:pic>
      <p:sp>
        <p:nvSpPr>
          <p:cNvPr id="43" name="Flecha: a la derecha 42">
            <a:extLst>
              <a:ext uri="{FF2B5EF4-FFF2-40B4-BE49-F238E27FC236}">
                <a16:creationId xmlns:a16="http://schemas.microsoft.com/office/drawing/2014/main" id="{D749D089-FAF6-9F1B-C143-AA7FCB3FCBCF}"/>
              </a:ext>
            </a:extLst>
          </p:cNvPr>
          <p:cNvSpPr/>
          <p:nvPr/>
        </p:nvSpPr>
        <p:spPr>
          <a:xfrm rot="5400000">
            <a:off x="9934149" y="1649197"/>
            <a:ext cx="216000" cy="199234"/>
          </a:xfrm>
          <a:prstGeom prst="rightArrow">
            <a:avLst/>
          </a:prstGeom>
          <a:solidFill>
            <a:srgbClr val="FF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44" name="Table 9">
            <a:extLst>
              <a:ext uri="{FF2B5EF4-FFF2-40B4-BE49-F238E27FC236}">
                <a16:creationId xmlns:a16="http://schemas.microsoft.com/office/drawing/2014/main" id="{2D4017B0-01B3-D7CE-3BDE-94B1CA386813}"/>
              </a:ext>
            </a:extLst>
          </p:cNvPr>
          <p:cNvGraphicFramePr>
            <a:graphicFrameLocks noGrp="1"/>
          </p:cNvGraphicFramePr>
          <p:nvPr/>
        </p:nvGraphicFramePr>
        <p:xfrm>
          <a:off x="7782925" y="1214325"/>
          <a:ext cx="2056778" cy="3387173"/>
        </p:xfrm>
        <a:graphic>
          <a:graphicData uri="http://schemas.openxmlformats.org/drawingml/2006/table">
            <a:tbl>
              <a:tblPr firstRow="1" bandRow="1"/>
              <a:tblGrid>
                <a:gridCol w="1123328">
                  <a:extLst>
                    <a:ext uri="{9D8B030D-6E8A-4147-A177-3AD203B41FA5}">
                      <a16:colId xmlns:a16="http://schemas.microsoft.com/office/drawing/2014/main" val="777586562"/>
                    </a:ext>
                  </a:extLst>
                </a:gridCol>
                <a:gridCol w="933450">
                  <a:extLst>
                    <a:ext uri="{9D8B030D-6E8A-4147-A177-3AD203B41FA5}">
                      <a16:colId xmlns:a16="http://schemas.microsoft.com/office/drawing/2014/main" val="990893922"/>
                    </a:ext>
                  </a:extLst>
                </a:gridCol>
              </a:tblGrid>
              <a:tr h="37757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  <a:latin typeface="+mj-lt"/>
                        </a:rPr>
                        <a:t>2023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  <a:latin typeface="+mj-lt"/>
                        </a:rPr>
                        <a:t>2024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078752"/>
                  </a:ext>
                </a:extLst>
              </a:tr>
              <a:tr h="3524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177,167</a:t>
                      </a:r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161,197</a:t>
                      </a:r>
                      <a:endParaRPr lang="en-US" sz="1000" b="1" i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152379"/>
                  </a:ext>
                </a:extLst>
              </a:tr>
              <a:tr h="3143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>
                          <a:solidFill>
                            <a:schemeClr val="tx1"/>
                          </a:solidFill>
                          <a:latin typeface="+mj-lt"/>
                        </a:rPr>
                        <a:t>32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>
                          <a:solidFill>
                            <a:schemeClr val="tx1"/>
                          </a:solidFill>
                          <a:latin typeface="+mj-lt"/>
                        </a:rPr>
                        <a:t>20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10735"/>
                  </a:ext>
                </a:extLst>
              </a:tr>
              <a:tr h="38100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920 TRPS</a:t>
                      </a:r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1092 TRPS</a:t>
                      </a:r>
                      <a:endParaRPr lang="en-US" sz="1000" b="1" i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508896"/>
                  </a:ext>
                </a:extLst>
              </a:tr>
              <a:tr h="28956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30%</a:t>
                      </a:r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45%</a:t>
                      </a:r>
                      <a:endParaRPr lang="en-US" sz="1000" b="1" i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796899"/>
                  </a:ext>
                </a:extLst>
              </a:tr>
              <a:tr h="443581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8%</a:t>
                      </a:r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16%</a:t>
                      </a:r>
                      <a:endParaRPr lang="en-US" sz="1000" b="1" i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0027884"/>
                  </a:ext>
                </a:extLst>
              </a:tr>
              <a:tr h="54632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>
                          <a:solidFill>
                            <a:schemeClr val="tx1"/>
                          </a:solidFill>
                          <a:latin typeface="+mj-lt"/>
                        </a:rPr>
                        <a:t>35%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>
                          <a:solidFill>
                            <a:schemeClr val="tx1"/>
                          </a:solidFill>
                          <a:latin typeface="+mj-lt"/>
                        </a:rPr>
                        <a:t>+65%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3671133"/>
                  </a:ext>
                </a:extLst>
              </a:tr>
              <a:tr h="682386">
                <a:tc gridSpan="2"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Mantuvo</a:t>
                      </a:r>
                      <a:r>
                        <a:rPr lang="en-US" sz="1000" b="1" i="0" u="none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durante</a:t>
                      </a:r>
                      <a:r>
                        <a:rPr lang="en-US" sz="1000" b="1" i="0" u="none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4 meses entradas y </a:t>
                      </a:r>
                      <a:r>
                        <a:rPr lang="en-US" sz="1000" b="1" i="0" u="none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salidas</a:t>
                      </a:r>
                      <a:r>
                        <a:rPr lang="en-US" sz="1000" b="1" i="0" u="none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a corte </a:t>
                      </a:r>
                      <a:r>
                        <a:rPr lang="en-US" sz="1000" b="1" i="0" u="none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en</a:t>
                      </a:r>
                      <a:r>
                        <a:rPr lang="en-US" sz="1000" b="1" i="0" u="none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TV</a:t>
                      </a:r>
                    </a:p>
                  </a:txBody>
                  <a:tcPr anchor="ctr">
                    <a:lnL w="57150" cap="flat" cmpd="sng" algn="ctr">
                      <a:solidFill>
                        <a:srgbClr val="E3DC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E3DC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E3DC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C4C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681149"/>
                  </a:ext>
                </a:extLst>
              </a:tr>
            </a:tbl>
          </a:graphicData>
        </a:graphic>
      </p:graphicFrame>
      <p:pic>
        <p:nvPicPr>
          <p:cNvPr id="45" name="Picture 3">
            <a:extLst>
              <a:ext uri="{FF2B5EF4-FFF2-40B4-BE49-F238E27FC236}">
                <a16:creationId xmlns:a16="http://schemas.microsoft.com/office/drawing/2014/main" id="{7988210B-4353-47CD-9C75-71041A187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1271" y="713425"/>
            <a:ext cx="780207" cy="754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7" name="Gráfico 46">
            <a:extLst>
              <a:ext uri="{FF2B5EF4-FFF2-40B4-BE49-F238E27FC236}">
                <a16:creationId xmlns:a16="http://schemas.microsoft.com/office/drawing/2014/main" id="{01A35141-8292-CA81-DD14-EBCEEC524008}"/>
              </a:ext>
            </a:extLst>
          </p:cNvPr>
          <p:cNvGraphicFramePr/>
          <p:nvPr/>
        </p:nvGraphicFramePr>
        <p:xfrm>
          <a:off x="1369562" y="4482779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7" name="Flecha: a la derecha 56">
            <a:extLst>
              <a:ext uri="{FF2B5EF4-FFF2-40B4-BE49-F238E27FC236}">
                <a16:creationId xmlns:a16="http://schemas.microsoft.com/office/drawing/2014/main" id="{6D029536-01BD-DBD6-5755-6D0650721573}"/>
              </a:ext>
            </a:extLst>
          </p:cNvPr>
          <p:cNvSpPr/>
          <p:nvPr/>
        </p:nvSpPr>
        <p:spPr>
          <a:xfrm rot="16200000">
            <a:off x="3711540" y="2321137"/>
            <a:ext cx="216000" cy="199234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8" name="Flecha: a la derecha 57">
            <a:extLst>
              <a:ext uri="{FF2B5EF4-FFF2-40B4-BE49-F238E27FC236}">
                <a16:creationId xmlns:a16="http://schemas.microsoft.com/office/drawing/2014/main" id="{08FC6706-FAE0-FBD4-9871-CAFB98348833}"/>
              </a:ext>
            </a:extLst>
          </p:cNvPr>
          <p:cNvSpPr/>
          <p:nvPr/>
        </p:nvSpPr>
        <p:spPr>
          <a:xfrm rot="16200000">
            <a:off x="3711541" y="2693497"/>
            <a:ext cx="216000" cy="199234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9" name="Flecha: a la derecha 58">
            <a:extLst>
              <a:ext uri="{FF2B5EF4-FFF2-40B4-BE49-F238E27FC236}">
                <a16:creationId xmlns:a16="http://schemas.microsoft.com/office/drawing/2014/main" id="{B09F4B37-4AC6-D34C-625C-98F299D1E434}"/>
              </a:ext>
            </a:extLst>
          </p:cNvPr>
          <p:cNvSpPr/>
          <p:nvPr/>
        </p:nvSpPr>
        <p:spPr>
          <a:xfrm rot="16200000">
            <a:off x="3711540" y="3530654"/>
            <a:ext cx="216000" cy="199233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0" name="Flecha: a la derecha 59">
            <a:extLst>
              <a:ext uri="{FF2B5EF4-FFF2-40B4-BE49-F238E27FC236}">
                <a16:creationId xmlns:a16="http://schemas.microsoft.com/office/drawing/2014/main" id="{AA452B86-35DE-C666-7C9D-1B5D9CC89645}"/>
              </a:ext>
            </a:extLst>
          </p:cNvPr>
          <p:cNvSpPr/>
          <p:nvPr/>
        </p:nvSpPr>
        <p:spPr>
          <a:xfrm rot="16200000">
            <a:off x="3711541" y="3085527"/>
            <a:ext cx="216000" cy="199233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1" name="Flecha: a la derecha 60">
            <a:extLst>
              <a:ext uri="{FF2B5EF4-FFF2-40B4-BE49-F238E27FC236}">
                <a16:creationId xmlns:a16="http://schemas.microsoft.com/office/drawing/2014/main" id="{29F4977F-6748-A6CA-5C45-67BF70A62D23}"/>
              </a:ext>
            </a:extLst>
          </p:cNvPr>
          <p:cNvSpPr/>
          <p:nvPr/>
        </p:nvSpPr>
        <p:spPr>
          <a:xfrm rot="16200000">
            <a:off x="9934149" y="2301374"/>
            <a:ext cx="216000" cy="199234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2" name="Flecha: a la derecha 61">
            <a:extLst>
              <a:ext uri="{FF2B5EF4-FFF2-40B4-BE49-F238E27FC236}">
                <a16:creationId xmlns:a16="http://schemas.microsoft.com/office/drawing/2014/main" id="{558D54C7-101E-DB72-26F3-4E344917C4AB}"/>
              </a:ext>
            </a:extLst>
          </p:cNvPr>
          <p:cNvSpPr/>
          <p:nvPr/>
        </p:nvSpPr>
        <p:spPr>
          <a:xfrm rot="16200000">
            <a:off x="9934150" y="2673734"/>
            <a:ext cx="216000" cy="199234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3" name="Flecha: a la derecha 62">
            <a:extLst>
              <a:ext uri="{FF2B5EF4-FFF2-40B4-BE49-F238E27FC236}">
                <a16:creationId xmlns:a16="http://schemas.microsoft.com/office/drawing/2014/main" id="{24A6A22F-686A-D890-1052-996EC0F53D3E}"/>
              </a:ext>
            </a:extLst>
          </p:cNvPr>
          <p:cNvSpPr/>
          <p:nvPr/>
        </p:nvSpPr>
        <p:spPr>
          <a:xfrm rot="16200000">
            <a:off x="9934149" y="3510891"/>
            <a:ext cx="216000" cy="199233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4" name="Flecha: a la derecha 63">
            <a:extLst>
              <a:ext uri="{FF2B5EF4-FFF2-40B4-BE49-F238E27FC236}">
                <a16:creationId xmlns:a16="http://schemas.microsoft.com/office/drawing/2014/main" id="{B38BEBFA-3AD2-256A-577F-AA22263919C7}"/>
              </a:ext>
            </a:extLst>
          </p:cNvPr>
          <p:cNvSpPr/>
          <p:nvPr/>
        </p:nvSpPr>
        <p:spPr>
          <a:xfrm rot="16200000">
            <a:off x="9934150" y="3065764"/>
            <a:ext cx="216000" cy="199233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6" name="Flecha: a la derecha 65">
            <a:extLst>
              <a:ext uri="{FF2B5EF4-FFF2-40B4-BE49-F238E27FC236}">
                <a16:creationId xmlns:a16="http://schemas.microsoft.com/office/drawing/2014/main" id="{34A813F3-17CF-E513-8691-5AFFB2758B18}"/>
              </a:ext>
            </a:extLst>
          </p:cNvPr>
          <p:cNvSpPr/>
          <p:nvPr/>
        </p:nvSpPr>
        <p:spPr>
          <a:xfrm rot="16200000">
            <a:off x="3711540" y="1652406"/>
            <a:ext cx="216000" cy="199234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4E284E3D-15C0-6499-341B-01910ACBF0AA}"/>
              </a:ext>
            </a:extLst>
          </p:cNvPr>
          <p:cNvGraphicFramePr/>
          <p:nvPr/>
        </p:nvGraphicFramePr>
        <p:xfrm>
          <a:off x="1369561" y="4979962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Gráfico 10">
            <a:extLst>
              <a:ext uri="{FF2B5EF4-FFF2-40B4-BE49-F238E27FC236}">
                <a16:creationId xmlns:a16="http://schemas.microsoft.com/office/drawing/2014/main" id="{44ADFA1A-A9B8-D4C4-63A2-31B609956460}"/>
              </a:ext>
            </a:extLst>
          </p:cNvPr>
          <p:cNvGraphicFramePr/>
          <p:nvPr/>
        </p:nvGraphicFramePr>
        <p:xfrm>
          <a:off x="7623600" y="4482779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Gráfico 11">
            <a:extLst>
              <a:ext uri="{FF2B5EF4-FFF2-40B4-BE49-F238E27FC236}">
                <a16:creationId xmlns:a16="http://schemas.microsoft.com/office/drawing/2014/main" id="{F1E2411E-6D18-EBA5-FE61-AE4B3F239FF6}"/>
              </a:ext>
            </a:extLst>
          </p:cNvPr>
          <p:cNvGraphicFramePr/>
          <p:nvPr/>
        </p:nvGraphicFramePr>
        <p:xfrm>
          <a:off x="7623599" y="4979962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Gráfico 12">
            <a:extLst>
              <a:ext uri="{FF2B5EF4-FFF2-40B4-BE49-F238E27FC236}">
                <a16:creationId xmlns:a16="http://schemas.microsoft.com/office/drawing/2014/main" id="{9C16B04A-C6B8-0FE0-ECFF-69456E2DA90E}"/>
              </a:ext>
            </a:extLst>
          </p:cNvPr>
          <p:cNvGraphicFramePr/>
          <p:nvPr/>
        </p:nvGraphicFramePr>
        <p:xfrm>
          <a:off x="1369561" y="5507316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Gráfico 13">
            <a:extLst>
              <a:ext uri="{FF2B5EF4-FFF2-40B4-BE49-F238E27FC236}">
                <a16:creationId xmlns:a16="http://schemas.microsoft.com/office/drawing/2014/main" id="{70027E2E-66C8-2041-0358-E4C2F7DD83F3}"/>
              </a:ext>
            </a:extLst>
          </p:cNvPr>
          <p:cNvGraphicFramePr/>
          <p:nvPr/>
        </p:nvGraphicFramePr>
        <p:xfrm>
          <a:off x="7623599" y="5507316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5" name="Título 1">
            <a:extLst>
              <a:ext uri="{FF2B5EF4-FFF2-40B4-BE49-F238E27FC236}">
                <a16:creationId xmlns:a16="http://schemas.microsoft.com/office/drawing/2014/main" id="{658C263A-3916-C299-52A1-329F8017D662}"/>
              </a:ext>
            </a:extLst>
          </p:cNvPr>
          <p:cNvSpPr txBox="1">
            <a:spLocks/>
          </p:cNvSpPr>
          <p:nvPr/>
        </p:nvSpPr>
        <p:spPr>
          <a:xfrm>
            <a:off x="555792" y="4745712"/>
            <a:ext cx="963669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pPr algn="ctr"/>
            <a:r>
              <a:rPr lang="es-MX" sz="1800" dirty="0"/>
              <a:t>2023</a:t>
            </a:r>
          </a:p>
          <a:p>
            <a:pPr algn="ctr"/>
            <a:endParaRPr lang="es-MX" sz="1800" dirty="0"/>
          </a:p>
          <a:p>
            <a:pPr algn="ctr"/>
            <a:r>
              <a:rPr lang="es-MX" sz="1800" dirty="0"/>
              <a:t>2024</a:t>
            </a:r>
          </a:p>
          <a:p>
            <a:pPr algn="ctr"/>
            <a:endParaRPr lang="es-MX" sz="1800" dirty="0"/>
          </a:p>
          <a:p>
            <a:pPr algn="ctr"/>
            <a:r>
              <a:rPr lang="es-MX" sz="1800" b="1" dirty="0"/>
              <a:t>2025</a:t>
            </a: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E1111BD8-31F3-EFA4-A82E-12991C4781D9}"/>
              </a:ext>
            </a:extLst>
          </p:cNvPr>
          <p:cNvSpPr txBox="1">
            <a:spLocks/>
          </p:cNvSpPr>
          <p:nvPr/>
        </p:nvSpPr>
        <p:spPr>
          <a:xfrm>
            <a:off x="6806689" y="4752111"/>
            <a:ext cx="963669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pPr algn="ctr"/>
            <a:r>
              <a:rPr lang="es-MX" sz="1800" dirty="0"/>
              <a:t>2023</a:t>
            </a:r>
          </a:p>
          <a:p>
            <a:pPr algn="ctr"/>
            <a:endParaRPr lang="es-MX" sz="1800" dirty="0"/>
          </a:p>
          <a:p>
            <a:pPr algn="ctr"/>
            <a:r>
              <a:rPr lang="es-MX" sz="1800" dirty="0"/>
              <a:t>2024</a:t>
            </a:r>
          </a:p>
          <a:p>
            <a:pPr algn="ctr"/>
            <a:endParaRPr lang="es-MX" sz="1800" dirty="0"/>
          </a:p>
          <a:p>
            <a:pPr algn="ctr"/>
            <a:r>
              <a:rPr lang="es-MX" sz="1800" b="1" dirty="0"/>
              <a:t>2025</a:t>
            </a:r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548B925F-3DC2-A0D0-5E2D-5951856429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285679"/>
            <a:ext cx="10765383" cy="449810"/>
          </a:xfrm>
        </p:spPr>
        <p:txBody>
          <a:bodyPr/>
          <a:lstStyle/>
          <a:p>
            <a:r>
              <a:rPr lang="es-MX" sz="2400" b="1" dirty="0"/>
              <a:t>MEDIA MIX</a:t>
            </a:r>
          </a:p>
        </p:txBody>
      </p:sp>
    </p:spTree>
    <p:extLst>
      <p:ext uri="{BB962C8B-B14F-4D97-AF65-F5344CB8AC3E}">
        <p14:creationId xmlns:p14="http://schemas.microsoft.com/office/powerpoint/2010/main" val="2745669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abla 23">
            <a:extLst>
              <a:ext uri="{FF2B5EF4-FFF2-40B4-BE49-F238E27FC236}">
                <a16:creationId xmlns:a16="http://schemas.microsoft.com/office/drawing/2014/main" id="{4B8B96CE-D6D1-1A51-38F1-FEDA9B3497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3887884"/>
              </p:ext>
            </p:extLst>
          </p:nvPr>
        </p:nvGraphicFramePr>
        <p:xfrm>
          <a:off x="652089" y="3573182"/>
          <a:ext cx="6792048" cy="21654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64016">
                  <a:extLst>
                    <a:ext uri="{9D8B030D-6E8A-4147-A177-3AD203B41FA5}">
                      <a16:colId xmlns:a16="http://schemas.microsoft.com/office/drawing/2014/main" val="151213938"/>
                    </a:ext>
                  </a:extLst>
                </a:gridCol>
                <a:gridCol w="2264016">
                  <a:extLst>
                    <a:ext uri="{9D8B030D-6E8A-4147-A177-3AD203B41FA5}">
                      <a16:colId xmlns:a16="http://schemas.microsoft.com/office/drawing/2014/main" val="2437278295"/>
                    </a:ext>
                  </a:extLst>
                </a:gridCol>
                <a:gridCol w="2264016">
                  <a:extLst>
                    <a:ext uri="{9D8B030D-6E8A-4147-A177-3AD203B41FA5}">
                      <a16:colId xmlns:a16="http://schemas.microsoft.com/office/drawing/2014/main" val="2573541986"/>
                    </a:ext>
                  </a:extLst>
                </a:gridCol>
              </a:tblGrid>
              <a:tr h="449226">
                <a:tc>
                  <a:txBody>
                    <a:bodyPr/>
                    <a:lstStyle/>
                    <a:p>
                      <a:pPr algn="ctr"/>
                      <a:r>
                        <a:rPr lang="es-MX" sz="1200" b="0"/>
                        <a:t>HVA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b="0"/>
                        <a:t>PRECISION MARKETING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b="0"/>
                        <a:t>FUNNEL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8719984"/>
                  </a:ext>
                </a:extLst>
              </a:tr>
              <a:tr h="449226">
                <a:tc>
                  <a:txBody>
                    <a:bodyPr/>
                    <a:lstStyle/>
                    <a:p>
                      <a:pPr algn="ctr"/>
                      <a:r>
                        <a:rPr kumimoji="0" lang="es-MX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endParaRPr lang="es-MX" sz="1100"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s-MX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ES / NO</a:t>
                      </a:r>
                      <a:endParaRPr lang="es-MX" sz="1100"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s-MX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ES / NO</a:t>
                      </a:r>
                      <a:endParaRPr lang="es-MX" sz="1100"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2058653"/>
                  </a:ext>
                </a:extLst>
              </a:tr>
              <a:tr h="449226">
                <a:tc>
                  <a:txBody>
                    <a:bodyPr/>
                    <a:lstStyle/>
                    <a:p>
                      <a:pPr algn="ctr"/>
                      <a:r>
                        <a:rPr kumimoji="0" lang="es-MX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endParaRPr lang="es-MX" sz="1100"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s-MX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ES / NO</a:t>
                      </a:r>
                      <a:endParaRPr lang="es-MX" sz="1100"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s-MX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ES / NO</a:t>
                      </a:r>
                      <a:endParaRPr lang="es-MX" sz="1100"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5599024"/>
                  </a:ext>
                </a:extLst>
              </a:tr>
              <a:tr h="449226">
                <a:tc>
                  <a:txBody>
                    <a:bodyPr/>
                    <a:lstStyle/>
                    <a:p>
                      <a:pPr algn="ctr"/>
                      <a:r>
                        <a:rPr kumimoji="0" lang="es-MX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endParaRPr lang="es-MX" sz="1100"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s-MX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ES / NO</a:t>
                      </a:r>
                      <a:endParaRPr lang="es-MX" sz="1100"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s-MX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ES / NO</a:t>
                      </a:r>
                      <a:endParaRPr lang="es-MX" sz="1100"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9864771"/>
                  </a:ext>
                </a:extLst>
              </a:tr>
              <a:tr h="368575">
                <a:tc>
                  <a:txBody>
                    <a:bodyPr/>
                    <a:lstStyle/>
                    <a:p>
                      <a:pPr algn="ctr"/>
                      <a:r>
                        <a:rPr kumimoji="0" lang="es-MX" sz="1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endParaRPr lang="es-MX" sz="1100"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s-MX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ES / NO</a:t>
                      </a:r>
                      <a:endParaRPr lang="es-MX" sz="1100"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s-MX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A0F0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YES / NO</a:t>
                      </a:r>
                      <a:endParaRPr lang="es-MX" sz="1100"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0467772"/>
                  </a:ext>
                </a:extLst>
              </a:tr>
            </a:tbl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52124B93-A395-F16B-A19E-D9402427C8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2400" b="1"/>
              <a:t>2024 ALKA-SELTZER, </a:t>
            </a:r>
            <a:r>
              <a:rPr lang="es-MX" sz="2400"/>
              <a:t>Inversión real</a:t>
            </a:r>
          </a:p>
        </p:txBody>
      </p:sp>
      <p:sp>
        <p:nvSpPr>
          <p:cNvPr id="18" name="Marcador de pie de página 17">
            <a:extLst>
              <a:ext uri="{FF2B5EF4-FFF2-40B4-BE49-F238E27FC236}">
                <a16:creationId xmlns:a16="http://schemas.microsoft.com/office/drawing/2014/main" id="{C3D38A5A-C5A2-4DBB-CC33-C32AD1A2DB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Fuente:</a:t>
            </a:r>
          </a:p>
        </p:txBody>
      </p:sp>
      <p:sp>
        <p:nvSpPr>
          <p:cNvPr id="19" name="Marcador de número de diapositiva 18">
            <a:extLst>
              <a:ext uri="{FF2B5EF4-FFF2-40B4-BE49-F238E27FC236}">
                <a16:creationId xmlns:a16="http://schemas.microsoft.com/office/drawing/2014/main" id="{CD66432F-B91D-DF52-3A2F-ADB0E7E7D8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4</a:t>
            </a:fld>
            <a:endParaRPr lang="es-MX"/>
          </a:p>
        </p:txBody>
      </p:sp>
      <p:sp>
        <p:nvSpPr>
          <p:cNvPr id="13" name="Rectangle 29">
            <a:extLst>
              <a:ext uri="{FF2B5EF4-FFF2-40B4-BE49-F238E27FC236}">
                <a16:creationId xmlns:a16="http://schemas.microsoft.com/office/drawing/2014/main" id="{A3DA2C1D-FD43-A5CD-AD25-0985F9FFF72E}"/>
              </a:ext>
            </a:extLst>
          </p:cNvPr>
          <p:cNvSpPr/>
          <p:nvPr/>
        </p:nvSpPr>
        <p:spPr>
          <a:xfrm>
            <a:off x="7647186" y="1347203"/>
            <a:ext cx="1671512" cy="4013986"/>
          </a:xfrm>
          <a:prstGeom prst="rect">
            <a:avLst/>
          </a:prstGeom>
          <a:ln w="19050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rIns="72000" rtlCol="0" anchor="t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400" b="1">
                <a:solidFill>
                  <a:srgbClr val="0A0F0D"/>
                </a:solidFill>
              </a:rPr>
              <a:t>MEDIA MIX</a:t>
            </a:r>
          </a:p>
        </p:txBody>
      </p:sp>
      <p:graphicFrame>
        <p:nvGraphicFramePr>
          <p:cNvPr id="16" name="Gráfico 15">
            <a:extLst>
              <a:ext uri="{FF2B5EF4-FFF2-40B4-BE49-F238E27FC236}">
                <a16:creationId xmlns:a16="http://schemas.microsoft.com/office/drawing/2014/main" id="{D578CBDC-D6EF-F098-C4FA-C5C53A4E62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1287506"/>
              </p:ext>
            </p:extLst>
          </p:nvPr>
        </p:nvGraphicFramePr>
        <p:xfrm>
          <a:off x="7647185" y="1647996"/>
          <a:ext cx="1671513" cy="3713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29">
            <a:extLst>
              <a:ext uri="{FF2B5EF4-FFF2-40B4-BE49-F238E27FC236}">
                <a16:creationId xmlns:a16="http://schemas.microsoft.com/office/drawing/2014/main" id="{04F1EF62-09C1-B1B3-743E-0004AEA19339}"/>
              </a:ext>
            </a:extLst>
          </p:cNvPr>
          <p:cNvSpPr/>
          <p:nvPr/>
        </p:nvSpPr>
        <p:spPr>
          <a:xfrm>
            <a:off x="693261" y="1347204"/>
            <a:ext cx="2087284" cy="2032706"/>
          </a:xfrm>
          <a:prstGeom prst="roundRect">
            <a:avLst/>
          </a:prstGeom>
          <a:noFill/>
          <a:ln w="19050" cap="flat" cmpd="sng" algn="ctr">
            <a:gradFill>
              <a:gsLst>
                <a:gs pos="0">
                  <a:srgbClr val="00BCFF"/>
                </a:gs>
                <a:gs pos="100000">
                  <a:srgbClr val="89D328"/>
                </a:gs>
              </a:gsLst>
              <a:lin ang="5400000" scaled="1"/>
            </a:gradFill>
            <a:prstDash val="solid"/>
            <a:miter lim="800000"/>
            <a:tailEnd type="none"/>
          </a:ln>
          <a:effectLst/>
        </p:spPr>
        <p:txBody>
          <a:bodyPr lIns="72000" rIns="72000" rtlCol="0" anchor="t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200" b="1" kern="0">
                <a:solidFill>
                  <a:srgbClr val="0A0F0D"/>
                </a:solidFill>
              </a:rPr>
              <a:t>ESTRATEGIA</a:t>
            </a:r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000" kern="0">
                <a:solidFill>
                  <a:srgbClr val="0A0F0D"/>
                </a:solidFill>
              </a:rPr>
              <a:t>XXXXXX</a:t>
            </a:r>
            <a:endParaRPr lang="en-GB" sz="1000" b="1" kern="0">
              <a:solidFill>
                <a:srgbClr val="0A0F0D"/>
              </a:solidFill>
            </a:endParaRPr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GB" sz="1200" b="1" kern="0">
              <a:solidFill>
                <a:srgbClr val="0A0F0D"/>
              </a:solidFill>
            </a:endParaRPr>
          </a:p>
        </p:txBody>
      </p:sp>
      <p:sp>
        <p:nvSpPr>
          <p:cNvPr id="7" name="Rectangle 29">
            <a:extLst>
              <a:ext uri="{FF2B5EF4-FFF2-40B4-BE49-F238E27FC236}">
                <a16:creationId xmlns:a16="http://schemas.microsoft.com/office/drawing/2014/main" id="{D1A14225-8A6C-C504-2D94-BA177752B289}"/>
              </a:ext>
            </a:extLst>
          </p:cNvPr>
          <p:cNvSpPr/>
          <p:nvPr/>
        </p:nvSpPr>
        <p:spPr>
          <a:xfrm>
            <a:off x="5356853" y="1347203"/>
            <a:ext cx="2087284" cy="2032705"/>
          </a:xfrm>
          <a:prstGeom prst="roundRect">
            <a:avLst/>
          </a:prstGeom>
          <a:noFill/>
          <a:ln w="19050" cap="flat" cmpd="sng" algn="ctr">
            <a:gradFill>
              <a:gsLst>
                <a:gs pos="0">
                  <a:srgbClr val="00BCFF"/>
                </a:gs>
                <a:gs pos="100000">
                  <a:srgbClr val="89D328"/>
                </a:gs>
              </a:gsLst>
              <a:lin ang="5400000" scaled="1"/>
            </a:gradFill>
            <a:prstDash val="solid"/>
            <a:miter lim="800000"/>
            <a:tailEnd type="none"/>
          </a:ln>
          <a:effectLst/>
        </p:spPr>
        <p:txBody>
          <a:bodyPr lIns="72000" rIns="72000" rtlCol="0" anchor="t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200" b="1" kern="0">
                <a:solidFill>
                  <a:srgbClr val="0A0F0D"/>
                </a:solidFill>
              </a:rPr>
              <a:t>INNOVACIÓN</a:t>
            </a:r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000" kern="0">
                <a:solidFill>
                  <a:srgbClr val="0A0F0D"/>
                </a:solidFill>
              </a:rPr>
              <a:t>(</a:t>
            </a:r>
            <a:r>
              <a:rPr lang="en-GB" sz="1000" kern="0" err="1">
                <a:solidFill>
                  <a:srgbClr val="0A0F0D"/>
                </a:solidFill>
              </a:rPr>
              <a:t>Qué</a:t>
            </a:r>
            <a:r>
              <a:rPr lang="en-GB" sz="1000" kern="0">
                <a:solidFill>
                  <a:srgbClr val="0A0F0D"/>
                </a:solidFill>
              </a:rPr>
              <a:t> nuevo </a:t>
            </a:r>
            <a:r>
              <a:rPr lang="en-GB" sz="1000" kern="0" err="1">
                <a:solidFill>
                  <a:srgbClr val="0A0F0D"/>
                </a:solidFill>
              </a:rPr>
              <a:t>uso</a:t>
            </a:r>
            <a:r>
              <a:rPr lang="en-GB" sz="1000" kern="0">
                <a:solidFill>
                  <a:srgbClr val="0A0F0D"/>
                </a:solidFill>
              </a:rPr>
              <a:t> de </a:t>
            </a:r>
            <a:r>
              <a:rPr lang="en-GB" sz="1000" kern="0" err="1">
                <a:solidFill>
                  <a:srgbClr val="0A0F0D"/>
                </a:solidFill>
              </a:rPr>
              <a:t>medios</a:t>
            </a:r>
            <a:r>
              <a:rPr lang="en-GB" sz="1000" kern="0">
                <a:solidFill>
                  <a:srgbClr val="0A0F0D"/>
                </a:solidFill>
              </a:rPr>
              <a:t> </a:t>
            </a:r>
            <a:r>
              <a:rPr lang="en-GB" sz="1000" kern="0" err="1">
                <a:solidFill>
                  <a:srgbClr val="0A0F0D"/>
                </a:solidFill>
              </a:rPr>
              <a:t>hubo</a:t>
            </a:r>
            <a:r>
              <a:rPr lang="en-GB" sz="1000" kern="0">
                <a:solidFill>
                  <a:srgbClr val="0A0F0D"/>
                </a:solidFill>
              </a:rPr>
              <a:t>, </a:t>
            </a:r>
            <a:r>
              <a:rPr lang="en-GB" sz="1000" kern="0" err="1">
                <a:solidFill>
                  <a:srgbClr val="0A0F0D"/>
                </a:solidFill>
              </a:rPr>
              <a:t>acciones</a:t>
            </a:r>
            <a:r>
              <a:rPr lang="en-GB" sz="1000" kern="0">
                <a:solidFill>
                  <a:srgbClr val="0A0F0D"/>
                </a:solidFill>
              </a:rPr>
              <a:t> </a:t>
            </a:r>
            <a:r>
              <a:rPr lang="en-GB" sz="1000" kern="0" err="1">
                <a:solidFill>
                  <a:srgbClr val="0A0F0D"/>
                </a:solidFill>
              </a:rPr>
              <a:t>especiales</a:t>
            </a:r>
            <a:r>
              <a:rPr lang="en-GB" sz="1000" kern="0">
                <a:solidFill>
                  <a:srgbClr val="0A0F0D"/>
                </a:solidFill>
              </a:rPr>
              <a:t> o </a:t>
            </a:r>
            <a:r>
              <a:rPr lang="en-GB" sz="1000" kern="0" err="1">
                <a:solidFill>
                  <a:srgbClr val="0A0F0D"/>
                </a:solidFill>
              </a:rPr>
              <a:t>nuevas</a:t>
            </a:r>
            <a:r>
              <a:rPr lang="en-GB" sz="1000" kern="0">
                <a:solidFill>
                  <a:srgbClr val="0A0F0D"/>
                </a:solidFill>
              </a:rPr>
              <a:t> </a:t>
            </a:r>
            <a:r>
              <a:rPr lang="en-GB" sz="1000" kern="0" err="1">
                <a:solidFill>
                  <a:srgbClr val="0A0F0D"/>
                </a:solidFill>
              </a:rPr>
              <a:t>plataformas</a:t>
            </a:r>
            <a:r>
              <a:rPr lang="en-GB" sz="1000" kern="0">
                <a:solidFill>
                  <a:srgbClr val="0A0F0D"/>
                </a:solidFill>
              </a:rPr>
              <a:t> </a:t>
            </a:r>
            <a:r>
              <a:rPr lang="en-GB" sz="1000" kern="0" err="1">
                <a:solidFill>
                  <a:srgbClr val="0A0F0D"/>
                </a:solidFill>
              </a:rPr>
              <a:t>activas</a:t>
            </a:r>
            <a:r>
              <a:rPr lang="en-GB" sz="1000" kern="0">
                <a:solidFill>
                  <a:srgbClr val="0A0F0D"/>
                </a:solidFill>
              </a:rPr>
              <a:t>?)</a:t>
            </a:r>
          </a:p>
        </p:txBody>
      </p:sp>
      <p:sp>
        <p:nvSpPr>
          <p:cNvPr id="11" name="Rectangle 29">
            <a:extLst>
              <a:ext uri="{FF2B5EF4-FFF2-40B4-BE49-F238E27FC236}">
                <a16:creationId xmlns:a16="http://schemas.microsoft.com/office/drawing/2014/main" id="{33427A13-0F7F-04C2-86EB-644F2ADA2E8E}"/>
              </a:ext>
            </a:extLst>
          </p:cNvPr>
          <p:cNvSpPr/>
          <p:nvPr/>
        </p:nvSpPr>
        <p:spPr>
          <a:xfrm>
            <a:off x="3025057" y="1347202"/>
            <a:ext cx="2087284" cy="2032706"/>
          </a:xfrm>
          <a:prstGeom prst="roundRect">
            <a:avLst/>
          </a:prstGeom>
          <a:noFill/>
          <a:ln w="19050" cap="flat" cmpd="sng" algn="ctr">
            <a:gradFill>
              <a:gsLst>
                <a:gs pos="0">
                  <a:srgbClr val="00BCFF"/>
                </a:gs>
                <a:gs pos="100000">
                  <a:srgbClr val="89D328"/>
                </a:gs>
              </a:gsLst>
              <a:lin ang="5400000" scaled="1"/>
            </a:gradFill>
            <a:prstDash val="solid"/>
            <a:miter lim="800000"/>
            <a:tailEnd type="none"/>
          </a:ln>
          <a:effectLst/>
        </p:spPr>
        <p:txBody>
          <a:bodyPr lIns="72000" rIns="72000" rtlCol="0" anchor="t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200" b="1" kern="0">
                <a:solidFill>
                  <a:srgbClr val="0A0F0D"/>
                </a:solidFill>
              </a:rPr>
              <a:t>GENERAL</a:t>
            </a:r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000" kern="0">
                <a:solidFill>
                  <a:srgbClr val="0A0F0D"/>
                </a:solidFill>
              </a:rPr>
              <a:t>(</a:t>
            </a:r>
            <a:r>
              <a:rPr lang="en-GB" sz="1000" kern="0" err="1">
                <a:solidFill>
                  <a:srgbClr val="0A0F0D"/>
                </a:solidFill>
              </a:rPr>
              <a:t>Qué</a:t>
            </a:r>
            <a:r>
              <a:rPr lang="en-GB" sz="1000" kern="0">
                <a:solidFill>
                  <a:srgbClr val="0A0F0D"/>
                </a:solidFill>
              </a:rPr>
              <a:t> </a:t>
            </a:r>
            <a:r>
              <a:rPr lang="en-GB" sz="1000" kern="0" err="1">
                <a:solidFill>
                  <a:srgbClr val="0A0F0D"/>
                </a:solidFill>
              </a:rPr>
              <a:t>hicimos</a:t>
            </a:r>
            <a:r>
              <a:rPr lang="en-GB" sz="1000" kern="0">
                <a:solidFill>
                  <a:srgbClr val="0A0F0D"/>
                </a:solidFill>
              </a:rPr>
              <a:t>/</a:t>
            </a:r>
            <a:r>
              <a:rPr lang="en-GB" sz="1000" kern="0" err="1">
                <a:solidFill>
                  <a:srgbClr val="0A0F0D"/>
                </a:solidFill>
              </a:rPr>
              <a:t>activamos</a:t>
            </a:r>
            <a:r>
              <a:rPr lang="en-GB" sz="1000" kern="0">
                <a:solidFill>
                  <a:srgbClr val="0A0F0D"/>
                </a:solidFill>
              </a:rPr>
              <a:t>? </a:t>
            </a:r>
            <a:r>
              <a:rPr lang="en-GB" sz="1000" kern="0" err="1">
                <a:solidFill>
                  <a:srgbClr val="0A0F0D"/>
                </a:solidFill>
              </a:rPr>
              <a:t>Consideraciones</a:t>
            </a:r>
            <a:r>
              <a:rPr lang="en-GB" sz="1000" kern="0">
                <a:solidFill>
                  <a:srgbClr val="0A0F0D"/>
                </a:solidFill>
              </a:rPr>
              <a:t> que se </a:t>
            </a:r>
            <a:r>
              <a:rPr lang="en-GB" sz="1000" kern="0" err="1">
                <a:solidFill>
                  <a:srgbClr val="0A0F0D"/>
                </a:solidFill>
              </a:rPr>
              <a:t>tomaron</a:t>
            </a:r>
            <a:r>
              <a:rPr lang="en-GB" sz="1000" kern="0">
                <a:solidFill>
                  <a:srgbClr val="0A0F0D"/>
                </a:solidFill>
              </a:rPr>
              <a:t>? </a:t>
            </a:r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000" kern="0">
                <a:solidFill>
                  <a:srgbClr val="0A0F0D"/>
                </a:solidFill>
              </a:rPr>
              <a:t>+ IVR, Media for Good, </a:t>
            </a:r>
            <a:r>
              <a:rPr lang="en-GB" sz="1000" kern="0" err="1">
                <a:solidFill>
                  <a:srgbClr val="0A0F0D"/>
                </a:solidFill>
              </a:rPr>
              <a:t>cambios</a:t>
            </a:r>
            <a:r>
              <a:rPr lang="en-GB" sz="1000" kern="0">
                <a:solidFill>
                  <a:srgbClr val="0A0F0D"/>
                </a:solidFill>
              </a:rPr>
              <a:t> </a:t>
            </a:r>
            <a:r>
              <a:rPr lang="en-GB" sz="1000" kern="0" err="1">
                <a:solidFill>
                  <a:srgbClr val="0A0F0D"/>
                </a:solidFill>
              </a:rPr>
              <a:t>importantes</a:t>
            </a:r>
            <a:r>
              <a:rPr lang="en-GB" sz="1000" kern="0">
                <a:solidFill>
                  <a:srgbClr val="0A0F0D"/>
                </a:solidFill>
              </a:rPr>
              <a:t> de budget</a:t>
            </a:r>
            <a:endParaRPr lang="en-GB" sz="1200" kern="0">
              <a:solidFill>
                <a:srgbClr val="0A0F0D"/>
              </a:solidFill>
            </a:endParaRPr>
          </a:p>
        </p:txBody>
      </p:sp>
      <p:sp>
        <p:nvSpPr>
          <p:cNvPr id="14" name="Marcador de texto 3">
            <a:extLst>
              <a:ext uri="{FF2B5EF4-FFF2-40B4-BE49-F238E27FC236}">
                <a16:creationId xmlns:a16="http://schemas.microsoft.com/office/drawing/2014/main" id="{14A4F40B-718C-CA10-37E9-B0759741A9FA}"/>
              </a:ext>
            </a:extLst>
          </p:cNvPr>
          <p:cNvSpPr txBox="1">
            <a:spLocks/>
          </p:cNvSpPr>
          <p:nvPr/>
        </p:nvSpPr>
        <p:spPr>
          <a:xfrm>
            <a:off x="9548793" y="1347202"/>
            <a:ext cx="2385816" cy="4391460"/>
          </a:xfrm>
          <a:prstGeom prst="roundRect">
            <a:avLst>
              <a:gd name="adj" fmla="val 9300"/>
            </a:avLst>
          </a:prstGeom>
          <a:noFill/>
          <a:ln w="19050" cap="flat" cmpd="sng" algn="ctr">
            <a:gradFill>
              <a:gsLst>
                <a:gs pos="0">
                  <a:srgbClr val="00BCFF"/>
                </a:gs>
                <a:gs pos="100000">
                  <a:srgbClr val="89D328"/>
                </a:gs>
              </a:gsLst>
              <a:lin ang="5400000" scaled="1"/>
            </a:gradFill>
            <a:prstDash val="solid"/>
            <a:miter lim="800000"/>
            <a:tailEnd type="none"/>
          </a:ln>
          <a:effectLst/>
        </p:spPr>
        <p:txBody>
          <a:bodyPr vert="horz" lIns="91440" tIns="45720" rIns="91440" bIns="45720" numCol="1" spcCol="360000" rtlCol="0" anchor="ctr">
            <a:noAutofit/>
          </a:bodyPr>
          <a:lstStyle>
            <a:lvl1pPr marL="0" indent="0" algn="ctr" defTabSz="3637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3637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3637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Clr>
                <a:schemeClr val="tx2"/>
              </a:buClr>
              <a:buFont typeface="System Font Regular"/>
              <a:buNone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stem Font Regular"/>
              <a:buNone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055" indent="0" algn="ctr" defTabSz="36370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tabLst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00180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2032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3883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5734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6370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s-MX" sz="1200" spc="300">
              <a:solidFill>
                <a:schemeClr val="tx1"/>
              </a:solidFill>
            </a:endParaRPr>
          </a:p>
          <a:p>
            <a:pPr marL="0" marR="0" lvl="0" indent="0" algn="ctr" defTabSz="36370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0" i="0" u="none" strike="noStrike" kern="1200" cap="none" spc="30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BUDGET (</a:t>
            </a:r>
            <a:r>
              <a:rPr lang="es-MX" sz="1200" spc="300">
                <a:solidFill>
                  <a:schemeClr val="tx1"/>
                </a:solidFill>
                <a:highlight>
                  <a:srgbClr val="FFFF00"/>
                </a:highlight>
              </a:rPr>
              <a:t>PAÍS</a:t>
            </a:r>
            <a:r>
              <a:rPr kumimoji="0" lang="es-MX" sz="1200" b="0" i="0" u="none" strike="noStrike" kern="1200" cap="none" spc="30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)</a:t>
            </a:r>
          </a:p>
          <a:p>
            <a:pPr>
              <a:spcAft>
                <a:spcPts val="600"/>
              </a:spcAft>
              <a:defRPr/>
            </a:pPr>
            <a:r>
              <a:rPr lang="es-MX" sz="5400">
                <a:gradFill>
                  <a:gsLst>
                    <a:gs pos="0">
                      <a:srgbClr val="00BCFF"/>
                    </a:gs>
                    <a:gs pos="99000">
                      <a:srgbClr val="89D328"/>
                    </a:gs>
                  </a:gsLst>
                  <a:lin ang="0" scaled="1"/>
                </a:gradFill>
                <a:cs typeface="Poppins SemiBold" pitchFamily="2" charset="77"/>
              </a:rPr>
              <a:t>$</a:t>
            </a:r>
            <a:r>
              <a:rPr lang="es-MX" sz="5400" err="1">
                <a:gradFill>
                  <a:gsLst>
                    <a:gs pos="0">
                      <a:srgbClr val="00BCFF"/>
                    </a:gs>
                    <a:gs pos="99000">
                      <a:srgbClr val="89D328"/>
                    </a:gs>
                  </a:gsLst>
                  <a:lin ang="0" scaled="1"/>
                </a:gradFill>
                <a:cs typeface="Poppins SemiBold" pitchFamily="2" charset="77"/>
              </a:rPr>
              <a:t>xx</a:t>
            </a:r>
            <a:endParaRPr lang="es-MX" sz="5400">
              <a:gradFill>
                <a:gsLst>
                  <a:gs pos="0">
                    <a:srgbClr val="00BCFF"/>
                  </a:gs>
                  <a:gs pos="99000">
                    <a:srgbClr val="89D328"/>
                  </a:gs>
                </a:gsLst>
                <a:lin ang="0" scaled="1"/>
              </a:gradFill>
              <a:cs typeface="Poppins SemiBold" pitchFamily="2" charset="77"/>
            </a:endParaRPr>
          </a:p>
          <a:p>
            <a:pPr marL="0" marR="0" lvl="0" indent="0" algn="ctr" defTabSz="36370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MX" sz="1200" b="0" i="0" u="none" strike="noStrike" kern="1200" cap="none" spc="30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36370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0" i="0" u="none" strike="noStrike" kern="1200" cap="none" spc="30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REACH</a:t>
            </a:r>
            <a:endParaRPr kumimoji="0" lang="es-MX" sz="1200" b="1" i="0" u="none" strike="noStrike" kern="1200" cap="none" spc="30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36370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900" b="0" i="0" u="none" strike="noStrike" kern="1200" cap="none" spc="30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Multimedia</a:t>
            </a:r>
          </a:p>
          <a:p>
            <a:pPr marR="0" lvl="0" fontAlgn="auto">
              <a:spcAft>
                <a:spcPts val="600"/>
              </a:spcAft>
              <a:buClrTx/>
              <a:buSzTx/>
              <a:tabLst/>
              <a:defRPr/>
            </a:pPr>
            <a:r>
              <a:rPr lang="es-MX" sz="5400">
                <a:gradFill>
                  <a:gsLst>
                    <a:gs pos="0">
                      <a:srgbClr val="00BCFF"/>
                    </a:gs>
                    <a:gs pos="99000">
                      <a:srgbClr val="89D328"/>
                    </a:gs>
                  </a:gsLst>
                  <a:lin ang="0" scaled="1"/>
                </a:gradFill>
                <a:cs typeface="Poppins SemiBold" pitchFamily="2" charset="77"/>
              </a:rPr>
              <a:t>XX</a:t>
            </a:r>
          </a:p>
          <a:p>
            <a:pPr marL="0" marR="0" lvl="0" indent="0" algn="ctr" defTabSz="36370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MX" sz="1200" b="0" i="0" u="none" strike="noStrike" kern="1200" cap="none" spc="30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363702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0" i="0" u="none" strike="noStrike" kern="1200" cap="none" spc="30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IVR </a:t>
            </a:r>
          </a:p>
          <a:p>
            <a:pPr>
              <a:spcAft>
                <a:spcPts val="600"/>
              </a:spcAft>
              <a:defRPr/>
            </a:pPr>
            <a:r>
              <a:rPr lang="es-MX" sz="5400">
                <a:gradFill>
                  <a:gsLst>
                    <a:gs pos="0">
                      <a:srgbClr val="00BCFF"/>
                    </a:gs>
                    <a:gs pos="99000">
                      <a:srgbClr val="89D328"/>
                    </a:gs>
                  </a:gsLst>
                  <a:lin ang="0" scaled="1"/>
                </a:gradFill>
                <a:cs typeface="Poppins SemiBold" pitchFamily="2" charset="77"/>
              </a:rPr>
              <a:t>XX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D51249AE-5A72-43DF-853C-5CEF1FB66AEB}"/>
              </a:ext>
            </a:extLst>
          </p:cNvPr>
          <p:cNvCxnSpPr>
            <a:cxnSpLocks/>
          </p:cNvCxnSpPr>
          <p:nvPr/>
        </p:nvCxnSpPr>
        <p:spPr>
          <a:xfrm>
            <a:off x="10021701" y="2836184"/>
            <a:ext cx="1440000" cy="0"/>
          </a:xfrm>
          <a:prstGeom prst="line">
            <a:avLst/>
          </a:prstGeom>
          <a:noFill/>
          <a:ln w="19050" cap="flat" cmpd="sng" algn="ctr">
            <a:gradFill>
              <a:gsLst>
                <a:gs pos="0">
                  <a:srgbClr val="00BCFF"/>
                </a:gs>
                <a:gs pos="100000">
                  <a:srgbClr val="89D328"/>
                </a:gs>
              </a:gsLst>
              <a:lin ang="5400000" scaled="1"/>
            </a:gradFill>
            <a:prstDash val="solid"/>
            <a:miter lim="800000"/>
            <a:tailEnd type="none"/>
          </a:ln>
          <a:effectLst/>
        </p:spPr>
      </p:cxn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C1EAC2E9-7B5C-C465-3282-3AFDB6BD6C24}"/>
              </a:ext>
            </a:extLst>
          </p:cNvPr>
          <p:cNvCxnSpPr>
            <a:cxnSpLocks/>
          </p:cNvCxnSpPr>
          <p:nvPr/>
        </p:nvCxnSpPr>
        <p:spPr>
          <a:xfrm>
            <a:off x="10021701" y="4262210"/>
            <a:ext cx="1440000" cy="0"/>
          </a:xfrm>
          <a:prstGeom prst="line">
            <a:avLst/>
          </a:prstGeom>
          <a:noFill/>
          <a:ln w="19050" cap="flat" cmpd="sng" algn="ctr">
            <a:gradFill>
              <a:gsLst>
                <a:gs pos="0">
                  <a:srgbClr val="00BCFF"/>
                </a:gs>
                <a:gs pos="100000">
                  <a:srgbClr val="89D328"/>
                </a:gs>
              </a:gsLst>
              <a:lin ang="5400000" scaled="1"/>
            </a:gradFill>
            <a:prstDash val="solid"/>
            <a:miter lim="800000"/>
            <a:tailEnd type="none"/>
          </a:ln>
          <a:effectLst/>
        </p:spPr>
      </p:cxnSp>
      <p:sp>
        <p:nvSpPr>
          <p:cNvPr id="25" name="Round Same-side Corner of Rectangle 7">
            <a:extLst>
              <a:ext uri="{FF2B5EF4-FFF2-40B4-BE49-F238E27FC236}">
                <a16:creationId xmlns:a16="http://schemas.microsoft.com/office/drawing/2014/main" id="{630D2817-6E37-070B-5AA6-53A2B9538846}"/>
              </a:ext>
            </a:extLst>
          </p:cNvPr>
          <p:cNvSpPr/>
          <p:nvPr/>
        </p:nvSpPr>
        <p:spPr>
          <a:xfrm rot="10800000">
            <a:off x="10154862" y="-67235"/>
            <a:ext cx="1681453" cy="574871"/>
          </a:xfrm>
          <a:prstGeom prst="round2SameRect">
            <a:avLst>
              <a:gd name="adj1" fmla="val 24269"/>
              <a:gd name="adj2" fmla="val 0"/>
            </a:avLst>
          </a:prstGeom>
          <a:solidFill>
            <a:schemeClr val="bg2"/>
          </a:solidFill>
          <a:ln w="1270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26" name="Group 20">
            <a:extLst>
              <a:ext uri="{FF2B5EF4-FFF2-40B4-BE49-F238E27FC236}">
                <a16:creationId xmlns:a16="http://schemas.microsoft.com/office/drawing/2014/main" id="{C54043C9-531A-99A1-A020-6B969C5E66AF}"/>
              </a:ext>
            </a:extLst>
          </p:cNvPr>
          <p:cNvGrpSpPr/>
          <p:nvPr/>
        </p:nvGrpSpPr>
        <p:grpSpPr>
          <a:xfrm>
            <a:off x="10299629" y="124456"/>
            <a:ext cx="1446176" cy="307777"/>
            <a:chOff x="1940295" y="2086507"/>
            <a:chExt cx="3049919" cy="649088"/>
          </a:xfrm>
        </p:grpSpPr>
        <p:grpSp>
          <p:nvGrpSpPr>
            <p:cNvPr id="27" name="Group 21">
              <a:extLst>
                <a:ext uri="{FF2B5EF4-FFF2-40B4-BE49-F238E27FC236}">
                  <a16:creationId xmlns:a16="http://schemas.microsoft.com/office/drawing/2014/main" id="{87406E2B-56BB-4BB5-32F6-AEFEED523034}"/>
                </a:ext>
              </a:extLst>
            </p:cNvPr>
            <p:cNvGrpSpPr/>
            <p:nvPr/>
          </p:nvGrpSpPr>
          <p:grpSpPr>
            <a:xfrm>
              <a:off x="1940295" y="2112018"/>
              <a:ext cx="598067" cy="598067"/>
              <a:chOff x="8582452" y="2686901"/>
              <a:chExt cx="621171" cy="621171"/>
            </a:xfrm>
          </p:grpSpPr>
          <p:sp>
            <p:nvSpPr>
              <p:cNvPr id="29" name="Oval 33">
                <a:extLst>
                  <a:ext uri="{FF2B5EF4-FFF2-40B4-BE49-F238E27FC236}">
                    <a16:creationId xmlns:a16="http://schemas.microsoft.com/office/drawing/2014/main" id="{2EC88666-37C8-9EC3-7790-53C5E18EF058}"/>
                  </a:ext>
                </a:extLst>
              </p:cNvPr>
              <p:cNvSpPr/>
              <p:nvPr/>
            </p:nvSpPr>
            <p:spPr>
              <a:xfrm>
                <a:off x="8582452" y="2686901"/>
                <a:ext cx="621171" cy="621171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pic>
            <p:nvPicPr>
              <p:cNvPr id="30" name="Graphic 37" descr="Triangle Ruler outline">
                <a:extLst>
                  <a:ext uri="{FF2B5EF4-FFF2-40B4-BE49-F238E27FC236}">
                    <a16:creationId xmlns:a16="http://schemas.microsoft.com/office/drawing/2014/main" id="{5DEC6178-C4DB-C2D7-27B0-5C6276549E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8732494" y="2780237"/>
                <a:ext cx="390382" cy="390382"/>
              </a:xfrm>
              <a:prstGeom prst="rect">
                <a:avLst/>
              </a:prstGeom>
            </p:spPr>
          </p:pic>
        </p:grpSp>
        <p:sp>
          <p:nvSpPr>
            <p:cNvPr id="28" name="TextBox 22">
              <a:extLst>
                <a:ext uri="{FF2B5EF4-FFF2-40B4-BE49-F238E27FC236}">
                  <a16:creationId xmlns:a16="http://schemas.microsoft.com/office/drawing/2014/main" id="{1CE730B7-02D6-C9BA-C5D8-2A7721F33C09}"/>
                </a:ext>
              </a:extLst>
            </p:cNvPr>
            <p:cNvSpPr txBox="1"/>
            <p:nvPr/>
          </p:nvSpPr>
          <p:spPr>
            <a:xfrm>
              <a:off x="2518275" y="2086507"/>
              <a:ext cx="2471939" cy="64908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FC3D8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Alineación</a:t>
              </a:r>
              <a:endPara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FC3D8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endParaRPr>
            </a:p>
          </p:txBody>
        </p:sp>
      </p:grpSp>
      <p:sp>
        <p:nvSpPr>
          <p:cNvPr id="3" name="CuadroTexto 2">
            <a:extLst>
              <a:ext uri="{FF2B5EF4-FFF2-40B4-BE49-F238E27FC236}">
                <a16:creationId xmlns:a16="http://schemas.microsoft.com/office/drawing/2014/main" id="{92B30ECC-F20B-9F36-13BE-4F9869032EC3}"/>
              </a:ext>
            </a:extLst>
          </p:cNvPr>
          <p:cNvSpPr txBox="1"/>
          <p:nvPr/>
        </p:nvSpPr>
        <p:spPr>
          <a:xfrm>
            <a:off x="6096000" y="614696"/>
            <a:ext cx="3535153" cy="646331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TOTAL MARCAS ene-</a:t>
            </a:r>
            <a:r>
              <a:rPr lang="es-ES" err="1"/>
              <a:t>ags</a:t>
            </a:r>
            <a:r>
              <a:rPr lang="es-ES"/>
              <a:t> proyección </a:t>
            </a:r>
            <a:r>
              <a:rPr lang="es-ES" err="1"/>
              <a:t>sep</a:t>
            </a:r>
            <a:r>
              <a:rPr lang="es-ES"/>
              <a:t>-dic</a:t>
            </a:r>
            <a:endParaRPr lang="es-GT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A6C557FF-340D-8F3C-08BA-39BEDFDFF909}"/>
              </a:ext>
            </a:extLst>
          </p:cNvPr>
          <p:cNvSpPr txBox="1"/>
          <p:nvPr/>
        </p:nvSpPr>
        <p:spPr>
          <a:xfrm>
            <a:off x="1577188" y="4655606"/>
            <a:ext cx="54057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GUATEMALA</a:t>
            </a:r>
            <a:endParaRPr lang="es-GT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0F9353D6-A91A-523F-60D0-6E04E37C9C15}"/>
              </a:ext>
            </a:extLst>
          </p:cNvPr>
          <p:cNvSpPr txBox="1"/>
          <p:nvPr/>
        </p:nvSpPr>
        <p:spPr>
          <a:xfrm>
            <a:off x="1577188" y="2226731"/>
            <a:ext cx="54057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AGENCIA LOCAL</a:t>
            </a:r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354365762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D4CF1FB-577E-3769-937C-3560D6C4F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1753DCA-508A-DBBB-5C45-78DDBF4F9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40</a:t>
            </a:fld>
            <a:endParaRPr lang="es-MX"/>
          </a:p>
        </p:txBody>
      </p:sp>
      <p:graphicFrame>
        <p:nvGraphicFramePr>
          <p:cNvPr id="6" name="Table 13">
            <a:extLst>
              <a:ext uri="{FF2B5EF4-FFF2-40B4-BE49-F238E27FC236}">
                <a16:creationId xmlns:a16="http://schemas.microsoft.com/office/drawing/2014/main" id="{72ACAE7D-EB5C-3806-0FEB-520B74A092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6908112"/>
              </p:ext>
            </p:extLst>
          </p:nvPr>
        </p:nvGraphicFramePr>
        <p:xfrm>
          <a:off x="785261" y="839617"/>
          <a:ext cx="10863132" cy="5231151"/>
        </p:xfrm>
        <a:graphic>
          <a:graphicData uri="http://schemas.openxmlformats.org/drawingml/2006/table">
            <a:tbl>
              <a:tblPr/>
              <a:tblGrid>
                <a:gridCol w="997488">
                  <a:extLst>
                    <a:ext uri="{9D8B030D-6E8A-4147-A177-3AD203B41FA5}">
                      <a16:colId xmlns:a16="http://schemas.microsoft.com/office/drawing/2014/main" val="1159214674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20266068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56868226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2175271297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279566585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2553792247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050529919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96335095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725381274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496237563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005630223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54412480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636195450"/>
                    </a:ext>
                  </a:extLst>
                </a:gridCol>
              </a:tblGrid>
              <a:tr h="422261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A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FE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P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U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SE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O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O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E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967622"/>
                  </a:ext>
                </a:extLst>
              </a:tr>
              <a:tr h="41237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bierta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728675"/>
                  </a:ext>
                </a:extLst>
              </a:tr>
              <a:tr h="454329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aga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1204072"/>
                  </a:ext>
                </a:extLst>
              </a:tr>
              <a:tr h="43866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Ra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4529460"/>
                  </a:ext>
                </a:extLst>
              </a:tr>
              <a:tr h="37182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Exteriores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02206"/>
                  </a:ext>
                </a:extLst>
              </a:tr>
              <a:tr h="45354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mpresos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8684724"/>
                  </a:ext>
                </a:extLst>
              </a:tr>
              <a:tr h="4230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Social Medi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8542301"/>
                  </a:ext>
                </a:extLst>
              </a:tr>
              <a:tr h="46999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rogrammati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7830940"/>
                  </a:ext>
                </a:extLst>
              </a:tr>
              <a:tr h="506814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nfluencer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184236"/>
                  </a:ext>
                </a:extLst>
              </a:tr>
              <a:tr h="438664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igital Innovatio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8408837"/>
                  </a:ext>
                </a:extLst>
              </a:tr>
              <a:tr h="419841">
                <a:tc>
                  <a:txBody>
                    <a:bodyPr/>
                    <a:lstStyle/>
                    <a:p>
                      <a:pPr algn="ctr" rtl="0" fontAlgn="b"/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2238750"/>
                  </a:ext>
                </a:extLst>
              </a:tr>
              <a:tr h="419841">
                <a:tc>
                  <a:txBody>
                    <a:bodyPr/>
                    <a:lstStyle/>
                    <a:p>
                      <a:pPr algn="ctr" rtl="0" fontAlgn="b"/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780309"/>
                  </a:ext>
                </a:extLst>
              </a:tr>
            </a:tbl>
          </a:graphicData>
        </a:graphic>
      </p:graphicFrame>
      <p:sp>
        <p:nvSpPr>
          <p:cNvPr id="10" name="Rounded Rectangle 14">
            <a:extLst>
              <a:ext uri="{FF2B5EF4-FFF2-40B4-BE49-F238E27FC236}">
                <a16:creationId xmlns:a16="http://schemas.microsoft.com/office/drawing/2014/main" id="{0DA1081E-384C-5FA5-9F73-50C4C3CDF665}"/>
              </a:ext>
            </a:extLst>
          </p:cNvPr>
          <p:cNvSpPr/>
          <p:nvPr/>
        </p:nvSpPr>
        <p:spPr>
          <a:xfrm>
            <a:off x="3614131" y="1280275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" name="Rounded Rectangle 14">
            <a:extLst>
              <a:ext uri="{FF2B5EF4-FFF2-40B4-BE49-F238E27FC236}">
                <a16:creationId xmlns:a16="http://schemas.microsoft.com/office/drawing/2014/main" id="{0FEF813D-E7FA-3CA5-1FE5-A1A0EC1A63D6}"/>
              </a:ext>
            </a:extLst>
          </p:cNvPr>
          <p:cNvSpPr/>
          <p:nvPr/>
        </p:nvSpPr>
        <p:spPr>
          <a:xfrm>
            <a:off x="4500356" y="1292338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Rounded Rectangle 14">
            <a:extLst>
              <a:ext uri="{FF2B5EF4-FFF2-40B4-BE49-F238E27FC236}">
                <a16:creationId xmlns:a16="http://schemas.microsoft.com/office/drawing/2014/main" id="{F0602F13-DE8C-FDB9-BCE3-C928A9FEDDAD}"/>
              </a:ext>
            </a:extLst>
          </p:cNvPr>
          <p:cNvSpPr/>
          <p:nvPr/>
        </p:nvSpPr>
        <p:spPr>
          <a:xfrm>
            <a:off x="5411162" y="1289950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Rounded Rectangle 14">
            <a:extLst>
              <a:ext uri="{FF2B5EF4-FFF2-40B4-BE49-F238E27FC236}">
                <a16:creationId xmlns:a16="http://schemas.microsoft.com/office/drawing/2014/main" id="{A0EA52F9-E2C7-91C6-CB83-59D0B2FA9B12}"/>
              </a:ext>
            </a:extLst>
          </p:cNvPr>
          <p:cNvSpPr/>
          <p:nvPr/>
        </p:nvSpPr>
        <p:spPr>
          <a:xfrm>
            <a:off x="7200416" y="1299663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Rounded Rectangle 14">
            <a:extLst>
              <a:ext uri="{FF2B5EF4-FFF2-40B4-BE49-F238E27FC236}">
                <a16:creationId xmlns:a16="http://schemas.microsoft.com/office/drawing/2014/main" id="{72048C3C-C9FC-816D-8F6D-154C3B4D8945}"/>
              </a:ext>
            </a:extLst>
          </p:cNvPr>
          <p:cNvSpPr/>
          <p:nvPr/>
        </p:nvSpPr>
        <p:spPr>
          <a:xfrm>
            <a:off x="8089852" y="1289953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B715DC1B-E667-1C93-A7DD-12086B318A05}"/>
              </a:ext>
            </a:extLst>
          </p:cNvPr>
          <p:cNvSpPr/>
          <p:nvPr/>
        </p:nvSpPr>
        <p:spPr>
          <a:xfrm>
            <a:off x="6290998" y="1289950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Rounded Rectangle 14">
            <a:extLst>
              <a:ext uri="{FF2B5EF4-FFF2-40B4-BE49-F238E27FC236}">
                <a16:creationId xmlns:a16="http://schemas.microsoft.com/office/drawing/2014/main" id="{35F454A6-4F8B-50F0-210D-AAF8D5FDD827}"/>
              </a:ext>
            </a:extLst>
          </p:cNvPr>
          <p:cNvSpPr/>
          <p:nvPr/>
        </p:nvSpPr>
        <p:spPr>
          <a:xfrm>
            <a:off x="10742008" y="1289951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Rounded Rectangle 14">
            <a:extLst>
              <a:ext uri="{FF2B5EF4-FFF2-40B4-BE49-F238E27FC236}">
                <a16:creationId xmlns:a16="http://schemas.microsoft.com/office/drawing/2014/main" id="{FBF3BF9F-C1A6-9D17-3299-CBDF75A0B460}"/>
              </a:ext>
            </a:extLst>
          </p:cNvPr>
          <p:cNvSpPr/>
          <p:nvPr/>
        </p:nvSpPr>
        <p:spPr>
          <a:xfrm>
            <a:off x="8990060" y="1296770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Rounded Rectangle 14">
            <a:extLst>
              <a:ext uri="{FF2B5EF4-FFF2-40B4-BE49-F238E27FC236}">
                <a16:creationId xmlns:a16="http://schemas.microsoft.com/office/drawing/2014/main" id="{B410A6EA-5770-883E-10CF-476FB5F0BBC2}"/>
              </a:ext>
            </a:extLst>
          </p:cNvPr>
          <p:cNvSpPr/>
          <p:nvPr/>
        </p:nvSpPr>
        <p:spPr>
          <a:xfrm>
            <a:off x="9868724" y="1289952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Rounded Rectangle 14">
            <a:extLst>
              <a:ext uri="{FF2B5EF4-FFF2-40B4-BE49-F238E27FC236}">
                <a16:creationId xmlns:a16="http://schemas.microsoft.com/office/drawing/2014/main" id="{1D5F2694-2DE8-E296-16ED-B76576F8A9EB}"/>
              </a:ext>
            </a:extLst>
          </p:cNvPr>
          <p:cNvSpPr/>
          <p:nvPr/>
        </p:nvSpPr>
        <p:spPr>
          <a:xfrm>
            <a:off x="2709714" y="1280275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Rounded Rectangle 14">
            <a:extLst>
              <a:ext uri="{FF2B5EF4-FFF2-40B4-BE49-F238E27FC236}">
                <a16:creationId xmlns:a16="http://schemas.microsoft.com/office/drawing/2014/main" id="{73BC2826-AAEF-5F68-9822-ADED30644AE0}"/>
              </a:ext>
            </a:extLst>
          </p:cNvPr>
          <p:cNvSpPr/>
          <p:nvPr/>
        </p:nvSpPr>
        <p:spPr>
          <a:xfrm>
            <a:off x="1815277" y="1289950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3" name="Group 13">
            <a:extLst>
              <a:ext uri="{FF2B5EF4-FFF2-40B4-BE49-F238E27FC236}">
                <a16:creationId xmlns:a16="http://schemas.microsoft.com/office/drawing/2014/main" id="{EDA390A9-5BF1-E5B8-4013-4D05732B89AB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7" name="Round Same-side Corner of Rectangle 28">
              <a:extLst>
                <a:ext uri="{FF2B5EF4-FFF2-40B4-BE49-F238E27FC236}">
                  <a16:creationId xmlns:a16="http://schemas.microsoft.com/office/drawing/2014/main" id="{92743B5A-E28D-4D5C-D47C-8844ED523BC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EEAAFD05-242F-9A13-483B-C7253B6E9209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1" name="Oval 44">
                <a:extLst>
                  <a:ext uri="{FF2B5EF4-FFF2-40B4-BE49-F238E27FC236}">
                    <a16:creationId xmlns:a16="http://schemas.microsoft.com/office/drawing/2014/main" id="{126C6110-934A-1E72-9031-7AA1D98B59E9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TextBox 45">
                <a:extLst>
                  <a:ext uri="{FF2B5EF4-FFF2-40B4-BE49-F238E27FC236}">
                    <a16:creationId xmlns:a16="http://schemas.microsoft.com/office/drawing/2014/main" id="{B3BCE8D0-CE54-9030-6080-C93072324CB4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9" name="Google Shape;1194;p40">
              <a:extLst>
                <a:ext uri="{FF2B5EF4-FFF2-40B4-BE49-F238E27FC236}">
                  <a16:creationId xmlns:a16="http://schemas.microsoft.com/office/drawing/2014/main" id="{C4048FF6-1C72-EE31-FA93-E27A16498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36" name="Título 1">
            <a:extLst>
              <a:ext uri="{FF2B5EF4-FFF2-40B4-BE49-F238E27FC236}">
                <a16:creationId xmlns:a16="http://schemas.microsoft.com/office/drawing/2014/main" id="{47294257-304D-4435-AF07-AA55E223E265}"/>
              </a:ext>
            </a:extLst>
          </p:cNvPr>
          <p:cNvSpPr txBox="1">
            <a:spLocks/>
          </p:cNvSpPr>
          <p:nvPr/>
        </p:nvSpPr>
        <p:spPr>
          <a:xfrm>
            <a:off x="713310" y="285679"/>
            <a:ext cx="3184134" cy="4498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2400" b="1" dirty="0"/>
              <a:t>2025 ROAD MAP</a:t>
            </a:r>
          </a:p>
        </p:txBody>
      </p:sp>
      <p:sp>
        <p:nvSpPr>
          <p:cNvPr id="39" name="Rounded Rectangle 14">
            <a:extLst>
              <a:ext uri="{FF2B5EF4-FFF2-40B4-BE49-F238E27FC236}">
                <a16:creationId xmlns:a16="http://schemas.microsoft.com/office/drawing/2014/main" id="{1E65F0F8-B247-91E1-76AA-C5D477BE45D9}"/>
              </a:ext>
            </a:extLst>
          </p:cNvPr>
          <p:cNvSpPr/>
          <p:nvPr/>
        </p:nvSpPr>
        <p:spPr>
          <a:xfrm>
            <a:off x="6339235" y="318582"/>
            <a:ext cx="294895" cy="276918"/>
          </a:xfrm>
          <a:prstGeom prst="roundRect">
            <a:avLst>
              <a:gd name="adj" fmla="val 50000"/>
            </a:avLst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40" name="Picture 2">
            <a:extLst>
              <a:ext uri="{FF2B5EF4-FFF2-40B4-BE49-F238E27FC236}">
                <a16:creationId xmlns:a16="http://schemas.microsoft.com/office/drawing/2014/main" id="{2C2043A4-AF7F-83C1-2BB5-3E230BFB42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3059" y="168601"/>
            <a:ext cx="533400" cy="571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3">
            <a:extLst>
              <a:ext uri="{FF2B5EF4-FFF2-40B4-BE49-F238E27FC236}">
                <a16:creationId xmlns:a16="http://schemas.microsoft.com/office/drawing/2014/main" id="{7706D9C3-98D8-9662-7EB2-65D15EE91A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908" y="164767"/>
            <a:ext cx="581025" cy="561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ounded Rectangle 14">
            <a:extLst>
              <a:ext uri="{FF2B5EF4-FFF2-40B4-BE49-F238E27FC236}">
                <a16:creationId xmlns:a16="http://schemas.microsoft.com/office/drawing/2014/main" id="{AB83BEE9-12F7-29F1-6705-75234EEC9C32}"/>
              </a:ext>
            </a:extLst>
          </p:cNvPr>
          <p:cNvSpPr/>
          <p:nvPr/>
        </p:nvSpPr>
        <p:spPr>
          <a:xfrm>
            <a:off x="7407846" y="301729"/>
            <a:ext cx="294895" cy="276918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5" name="Rounded Rectangle 14">
            <a:extLst>
              <a:ext uri="{FF2B5EF4-FFF2-40B4-BE49-F238E27FC236}">
                <a16:creationId xmlns:a16="http://schemas.microsoft.com/office/drawing/2014/main" id="{5D9BEDF3-15CD-2D0F-391A-180F958C5B7B}"/>
              </a:ext>
            </a:extLst>
          </p:cNvPr>
          <p:cNvSpPr/>
          <p:nvPr/>
        </p:nvSpPr>
        <p:spPr>
          <a:xfrm>
            <a:off x="8379281" y="315891"/>
            <a:ext cx="294895" cy="276918"/>
          </a:xfrm>
          <a:prstGeom prst="roundRect">
            <a:avLst>
              <a:gd name="adj" fmla="val 50000"/>
            </a:avLst>
          </a:prstGeom>
          <a:solidFill>
            <a:srgbClr val="89D328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6" name="Rounded Rectangle 14">
            <a:extLst>
              <a:ext uri="{FF2B5EF4-FFF2-40B4-BE49-F238E27FC236}">
                <a16:creationId xmlns:a16="http://schemas.microsoft.com/office/drawing/2014/main" id="{260DD87C-FEC5-74A3-FDA9-446DC4625656}"/>
              </a:ext>
            </a:extLst>
          </p:cNvPr>
          <p:cNvSpPr/>
          <p:nvPr/>
        </p:nvSpPr>
        <p:spPr>
          <a:xfrm>
            <a:off x="9488687" y="337043"/>
            <a:ext cx="294895" cy="276918"/>
          </a:xfrm>
          <a:prstGeom prst="roundRect">
            <a:avLst>
              <a:gd name="adj" fmla="val 50000"/>
            </a:avLst>
          </a:prstGeom>
          <a:solidFill>
            <a:srgbClr val="944F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47" name="Imagen 46" descr="Logotipo&#10;&#10;Descripción generada automáticamente">
            <a:extLst>
              <a:ext uri="{FF2B5EF4-FFF2-40B4-BE49-F238E27FC236}">
                <a16:creationId xmlns:a16="http://schemas.microsoft.com/office/drawing/2014/main" id="{DA192912-45B3-D760-F645-D1AD32EBD6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1430" y="168540"/>
            <a:ext cx="718476" cy="561976"/>
          </a:xfrm>
          <a:prstGeom prst="rect">
            <a:avLst/>
          </a:prstGeom>
        </p:spPr>
      </p:pic>
      <p:pic>
        <p:nvPicPr>
          <p:cNvPr id="48" name="Picture 4" descr="page18image1786144">
            <a:extLst>
              <a:ext uri="{FF2B5EF4-FFF2-40B4-BE49-F238E27FC236}">
                <a16:creationId xmlns:a16="http://schemas.microsoft.com/office/drawing/2014/main" id="{3E4574F0-A3B8-C241-BC97-88BF93EAFE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66221" y="99626"/>
            <a:ext cx="932761" cy="739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ounded Rectangle 14">
            <a:extLst>
              <a:ext uri="{FF2B5EF4-FFF2-40B4-BE49-F238E27FC236}">
                <a16:creationId xmlns:a16="http://schemas.microsoft.com/office/drawing/2014/main" id="{38F8E73F-F8C5-68EF-24E8-BB20D7D26CBB}"/>
              </a:ext>
            </a:extLst>
          </p:cNvPr>
          <p:cNvSpPr/>
          <p:nvPr/>
        </p:nvSpPr>
        <p:spPr>
          <a:xfrm>
            <a:off x="3616631" y="1402695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0" name="Rounded Rectangle 14">
            <a:extLst>
              <a:ext uri="{FF2B5EF4-FFF2-40B4-BE49-F238E27FC236}">
                <a16:creationId xmlns:a16="http://schemas.microsoft.com/office/drawing/2014/main" id="{6B6B412B-CFAE-6C36-7B40-D4F2589ECC61}"/>
              </a:ext>
            </a:extLst>
          </p:cNvPr>
          <p:cNvSpPr/>
          <p:nvPr/>
        </p:nvSpPr>
        <p:spPr>
          <a:xfrm>
            <a:off x="4502856" y="1414758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Rounded Rectangle 14">
            <a:extLst>
              <a:ext uri="{FF2B5EF4-FFF2-40B4-BE49-F238E27FC236}">
                <a16:creationId xmlns:a16="http://schemas.microsoft.com/office/drawing/2014/main" id="{E9E73939-2F94-6A6F-8B47-F046972977B6}"/>
              </a:ext>
            </a:extLst>
          </p:cNvPr>
          <p:cNvSpPr/>
          <p:nvPr/>
        </p:nvSpPr>
        <p:spPr>
          <a:xfrm>
            <a:off x="5413662" y="1412370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Rounded Rectangle 14">
            <a:extLst>
              <a:ext uri="{FF2B5EF4-FFF2-40B4-BE49-F238E27FC236}">
                <a16:creationId xmlns:a16="http://schemas.microsoft.com/office/drawing/2014/main" id="{8A2F6F5C-DFFF-9651-6078-7B0C38F0E14B}"/>
              </a:ext>
            </a:extLst>
          </p:cNvPr>
          <p:cNvSpPr/>
          <p:nvPr/>
        </p:nvSpPr>
        <p:spPr>
          <a:xfrm>
            <a:off x="7202916" y="1422083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Rounded Rectangle 14">
            <a:extLst>
              <a:ext uri="{FF2B5EF4-FFF2-40B4-BE49-F238E27FC236}">
                <a16:creationId xmlns:a16="http://schemas.microsoft.com/office/drawing/2014/main" id="{BE404C8B-474C-6A23-5227-EBA8DDE8EC64}"/>
              </a:ext>
            </a:extLst>
          </p:cNvPr>
          <p:cNvSpPr/>
          <p:nvPr/>
        </p:nvSpPr>
        <p:spPr>
          <a:xfrm>
            <a:off x="8092352" y="1412373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Rounded Rectangle 14">
            <a:extLst>
              <a:ext uri="{FF2B5EF4-FFF2-40B4-BE49-F238E27FC236}">
                <a16:creationId xmlns:a16="http://schemas.microsoft.com/office/drawing/2014/main" id="{9FFF6FE1-9B26-CCF2-B45C-581FB051FB04}"/>
              </a:ext>
            </a:extLst>
          </p:cNvPr>
          <p:cNvSpPr/>
          <p:nvPr/>
        </p:nvSpPr>
        <p:spPr>
          <a:xfrm>
            <a:off x="6293498" y="1412370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Rounded Rectangle 14">
            <a:extLst>
              <a:ext uri="{FF2B5EF4-FFF2-40B4-BE49-F238E27FC236}">
                <a16:creationId xmlns:a16="http://schemas.microsoft.com/office/drawing/2014/main" id="{D58D70F3-3BDC-45CA-130E-7083938E8994}"/>
              </a:ext>
            </a:extLst>
          </p:cNvPr>
          <p:cNvSpPr/>
          <p:nvPr/>
        </p:nvSpPr>
        <p:spPr>
          <a:xfrm>
            <a:off x="10744508" y="1412371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6" name="Rounded Rectangle 14">
            <a:extLst>
              <a:ext uri="{FF2B5EF4-FFF2-40B4-BE49-F238E27FC236}">
                <a16:creationId xmlns:a16="http://schemas.microsoft.com/office/drawing/2014/main" id="{E404E8B6-15AC-39C7-7B9B-D998F91E7606}"/>
              </a:ext>
            </a:extLst>
          </p:cNvPr>
          <p:cNvSpPr/>
          <p:nvPr/>
        </p:nvSpPr>
        <p:spPr>
          <a:xfrm>
            <a:off x="8992560" y="1419190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Rounded Rectangle 14">
            <a:extLst>
              <a:ext uri="{FF2B5EF4-FFF2-40B4-BE49-F238E27FC236}">
                <a16:creationId xmlns:a16="http://schemas.microsoft.com/office/drawing/2014/main" id="{54619E13-9F64-2CD0-F55C-3969A1D4C3FC}"/>
              </a:ext>
            </a:extLst>
          </p:cNvPr>
          <p:cNvSpPr/>
          <p:nvPr/>
        </p:nvSpPr>
        <p:spPr>
          <a:xfrm>
            <a:off x="9871224" y="1412372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8" name="Rounded Rectangle 14">
            <a:extLst>
              <a:ext uri="{FF2B5EF4-FFF2-40B4-BE49-F238E27FC236}">
                <a16:creationId xmlns:a16="http://schemas.microsoft.com/office/drawing/2014/main" id="{46D9E965-F49A-4513-F2B9-1E79B2CC93E7}"/>
              </a:ext>
            </a:extLst>
          </p:cNvPr>
          <p:cNvSpPr/>
          <p:nvPr/>
        </p:nvSpPr>
        <p:spPr>
          <a:xfrm>
            <a:off x="2712214" y="1402695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9" name="Rounded Rectangle 14">
            <a:extLst>
              <a:ext uri="{FF2B5EF4-FFF2-40B4-BE49-F238E27FC236}">
                <a16:creationId xmlns:a16="http://schemas.microsoft.com/office/drawing/2014/main" id="{AA57DBD9-DE42-1860-C418-74A957BB21F1}"/>
              </a:ext>
            </a:extLst>
          </p:cNvPr>
          <p:cNvSpPr/>
          <p:nvPr/>
        </p:nvSpPr>
        <p:spPr>
          <a:xfrm>
            <a:off x="1817777" y="1412370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Rounded Rectangle 14">
            <a:extLst>
              <a:ext uri="{FF2B5EF4-FFF2-40B4-BE49-F238E27FC236}">
                <a16:creationId xmlns:a16="http://schemas.microsoft.com/office/drawing/2014/main" id="{9AC13F80-C9E5-821F-80F9-9A839641940D}"/>
              </a:ext>
            </a:extLst>
          </p:cNvPr>
          <p:cNvSpPr/>
          <p:nvPr/>
        </p:nvSpPr>
        <p:spPr>
          <a:xfrm>
            <a:off x="3619131" y="1540105"/>
            <a:ext cx="819959" cy="72000"/>
          </a:xfrm>
          <a:prstGeom prst="roundRect">
            <a:avLst>
              <a:gd name="adj" fmla="val 50000"/>
            </a:avLst>
          </a:prstGeom>
          <a:solidFill>
            <a:srgbClr val="679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Rounded Rectangle 14">
            <a:extLst>
              <a:ext uri="{FF2B5EF4-FFF2-40B4-BE49-F238E27FC236}">
                <a16:creationId xmlns:a16="http://schemas.microsoft.com/office/drawing/2014/main" id="{07E914C8-C957-9D51-B460-1528B885C2F3}"/>
              </a:ext>
            </a:extLst>
          </p:cNvPr>
          <p:cNvSpPr/>
          <p:nvPr/>
        </p:nvSpPr>
        <p:spPr>
          <a:xfrm>
            <a:off x="4505356" y="1552168"/>
            <a:ext cx="819959" cy="72000"/>
          </a:xfrm>
          <a:prstGeom prst="roundRect">
            <a:avLst>
              <a:gd name="adj" fmla="val 50000"/>
            </a:avLst>
          </a:prstGeom>
          <a:solidFill>
            <a:srgbClr val="679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2" name="Rounded Rectangle 14">
            <a:extLst>
              <a:ext uri="{FF2B5EF4-FFF2-40B4-BE49-F238E27FC236}">
                <a16:creationId xmlns:a16="http://schemas.microsoft.com/office/drawing/2014/main" id="{268CDDE3-8129-F397-82BB-E9338016AE71}"/>
              </a:ext>
            </a:extLst>
          </p:cNvPr>
          <p:cNvSpPr/>
          <p:nvPr/>
        </p:nvSpPr>
        <p:spPr>
          <a:xfrm>
            <a:off x="5416162" y="1549780"/>
            <a:ext cx="819959" cy="72000"/>
          </a:xfrm>
          <a:prstGeom prst="roundRect">
            <a:avLst>
              <a:gd name="adj" fmla="val 50000"/>
            </a:avLst>
          </a:prstGeom>
          <a:solidFill>
            <a:srgbClr val="679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Rounded Rectangle 14">
            <a:extLst>
              <a:ext uri="{FF2B5EF4-FFF2-40B4-BE49-F238E27FC236}">
                <a16:creationId xmlns:a16="http://schemas.microsoft.com/office/drawing/2014/main" id="{00568569-758E-31FE-334E-4994163A8D71}"/>
              </a:ext>
            </a:extLst>
          </p:cNvPr>
          <p:cNvSpPr/>
          <p:nvPr/>
        </p:nvSpPr>
        <p:spPr>
          <a:xfrm>
            <a:off x="7205416" y="1559493"/>
            <a:ext cx="819959" cy="72000"/>
          </a:xfrm>
          <a:prstGeom prst="roundRect">
            <a:avLst>
              <a:gd name="adj" fmla="val 50000"/>
            </a:avLst>
          </a:prstGeom>
          <a:solidFill>
            <a:srgbClr val="679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" name="Rounded Rectangle 14">
            <a:extLst>
              <a:ext uri="{FF2B5EF4-FFF2-40B4-BE49-F238E27FC236}">
                <a16:creationId xmlns:a16="http://schemas.microsoft.com/office/drawing/2014/main" id="{A83C7A93-CDFD-9663-1BDE-57C9D0CDA3E9}"/>
              </a:ext>
            </a:extLst>
          </p:cNvPr>
          <p:cNvSpPr/>
          <p:nvPr/>
        </p:nvSpPr>
        <p:spPr>
          <a:xfrm>
            <a:off x="8094852" y="1549783"/>
            <a:ext cx="819959" cy="72000"/>
          </a:xfrm>
          <a:prstGeom prst="roundRect">
            <a:avLst>
              <a:gd name="adj" fmla="val 50000"/>
            </a:avLst>
          </a:prstGeom>
          <a:solidFill>
            <a:srgbClr val="679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" name="Rounded Rectangle 14">
            <a:extLst>
              <a:ext uri="{FF2B5EF4-FFF2-40B4-BE49-F238E27FC236}">
                <a16:creationId xmlns:a16="http://schemas.microsoft.com/office/drawing/2014/main" id="{1E99F170-14B7-66A5-FC53-9D9B45E4B6C8}"/>
              </a:ext>
            </a:extLst>
          </p:cNvPr>
          <p:cNvSpPr/>
          <p:nvPr/>
        </p:nvSpPr>
        <p:spPr>
          <a:xfrm>
            <a:off x="6295998" y="1549780"/>
            <a:ext cx="819959" cy="72000"/>
          </a:xfrm>
          <a:prstGeom prst="roundRect">
            <a:avLst>
              <a:gd name="adj" fmla="val 50000"/>
            </a:avLst>
          </a:prstGeom>
          <a:solidFill>
            <a:srgbClr val="679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6" name="Rounded Rectangle 14">
            <a:extLst>
              <a:ext uri="{FF2B5EF4-FFF2-40B4-BE49-F238E27FC236}">
                <a16:creationId xmlns:a16="http://schemas.microsoft.com/office/drawing/2014/main" id="{F94EA91A-6F80-2FC7-1147-01B8AAD4265E}"/>
              </a:ext>
            </a:extLst>
          </p:cNvPr>
          <p:cNvSpPr/>
          <p:nvPr/>
        </p:nvSpPr>
        <p:spPr>
          <a:xfrm>
            <a:off x="10747008" y="1549781"/>
            <a:ext cx="819959" cy="72000"/>
          </a:xfrm>
          <a:prstGeom prst="roundRect">
            <a:avLst>
              <a:gd name="adj" fmla="val 50000"/>
            </a:avLst>
          </a:prstGeom>
          <a:solidFill>
            <a:srgbClr val="679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7" name="Rounded Rectangle 14">
            <a:extLst>
              <a:ext uri="{FF2B5EF4-FFF2-40B4-BE49-F238E27FC236}">
                <a16:creationId xmlns:a16="http://schemas.microsoft.com/office/drawing/2014/main" id="{0A03F268-7663-64DA-14F6-EA50087FFE60}"/>
              </a:ext>
            </a:extLst>
          </p:cNvPr>
          <p:cNvSpPr/>
          <p:nvPr/>
        </p:nvSpPr>
        <p:spPr>
          <a:xfrm>
            <a:off x="8995060" y="1556600"/>
            <a:ext cx="819959" cy="72000"/>
          </a:xfrm>
          <a:prstGeom prst="roundRect">
            <a:avLst>
              <a:gd name="adj" fmla="val 50000"/>
            </a:avLst>
          </a:prstGeom>
          <a:solidFill>
            <a:srgbClr val="679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8" name="Rounded Rectangle 14">
            <a:extLst>
              <a:ext uri="{FF2B5EF4-FFF2-40B4-BE49-F238E27FC236}">
                <a16:creationId xmlns:a16="http://schemas.microsoft.com/office/drawing/2014/main" id="{2E05642C-E897-45AD-BC67-2CCA5FDA7BED}"/>
              </a:ext>
            </a:extLst>
          </p:cNvPr>
          <p:cNvSpPr/>
          <p:nvPr/>
        </p:nvSpPr>
        <p:spPr>
          <a:xfrm>
            <a:off x="9873724" y="1549782"/>
            <a:ext cx="819959" cy="72000"/>
          </a:xfrm>
          <a:prstGeom prst="roundRect">
            <a:avLst>
              <a:gd name="adj" fmla="val 50000"/>
            </a:avLst>
          </a:prstGeom>
          <a:solidFill>
            <a:srgbClr val="679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9" name="Rounded Rectangle 14">
            <a:extLst>
              <a:ext uri="{FF2B5EF4-FFF2-40B4-BE49-F238E27FC236}">
                <a16:creationId xmlns:a16="http://schemas.microsoft.com/office/drawing/2014/main" id="{B0E4C47B-8F74-C817-FF24-C6F5B5321C26}"/>
              </a:ext>
            </a:extLst>
          </p:cNvPr>
          <p:cNvSpPr/>
          <p:nvPr/>
        </p:nvSpPr>
        <p:spPr>
          <a:xfrm>
            <a:off x="2714714" y="1540105"/>
            <a:ext cx="819959" cy="72000"/>
          </a:xfrm>
          <a:prstGeom prst="roundRect">
            <a:avLst>
              <a:gd name="adj" fmla="val 50000"/>
            </a:avLst>
          </a:prstGeom>
          <a:solidFill>
            <a:srgbClr val="679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0" name="Rounded Rectangle 14">
            <a:extLst>
              <a:ext uri="{FF2B5EF4-FFF2-40B4-BE49-F238E27FC236}">
                <a16:creationId xmlns:a16="http://schemas.microsoft.com/office/drawing/2014/main" id="{327B90DA-B005-26C6-D085-F4A30CE66B4C}"/>
              </a:ext>
            </a:extLst>
          </p:cNvPr>
          <p:cNvSpPr/>
          <p:nvPr/>
        </p:nvSpPr>
        <p:spPr>
          <a:xfrm>
            <a:off x="1820277" y="1549780"/>
            <a:ext cx="819959" cy="72000"/>
          </a:xfrm>
          <a:prstGeom prst="roundRect">
            <a:avLst>
              <a:gd name="adj" fmla="val 50000"/>
            </a:avLst>
          </a:prstGeom>
          <a:solidFill>
            <a:srgbClr val="679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187340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" name="Picture 10" descr="Guía básica para primerizos en Guatemala | Viajar a guatemala ...">
            <a:extLst>
              <a:ext uri="{FF2B5EF4-FFF2-40B4-BE49-F238E27FC236}">
                <a16:creationId xmlns:a16="http://schemas.microsoft.com/office/drawing/2014/main" id="{D1C5D45D-87A0-8016-0D68-6B056763BAF3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9" b="829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955D7F7-FCF9-A93A-3DC7-DD6304753E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0869" y="2471288"/>
            <a:ext cx="5535806" cy="1428034"/>
          </a:xfrm>
        </p:spPr>
        <p:txBody>
          <a:bodyPr/>
          <a:lstStyle/>
          <a:p>
            <a:pPr lvl="0"/>
            <a:r>
              <a:rPr lang="en-GB" sz="4400" dirty="0"/>
              <a:t>GUATEMALA</a:t>
            </a:r>
          </a:p>
          <a:p>
            <a:pPr lvl="0"/>
            <a:r>
              <a:rPr lang="en-GB" sz="4400" dirty="0"/>
              <a:t>Blueprint 2025</a:t>
            </a:r>
          </a:p>
          <a:p>
            <a:pPr lvl="0"/>
            <a:r>
              <a:rPr lang="en-GB" sz="4400" dirty="0"/>
              <a:t>ONLIN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282E3B8-42B8-09BF-771A-71CE3A56B1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6480" y="5250510"/>
            <a:ext cx="8774265" cy="1010472"/>
          </a:xfrm>
          <a:prstGeom prst="rect">
            <a:avLst/>
          </a:prstGeom>
        </p:spPr>
      </p:pic>
      <p:pic>
        <p:nvPicPr>
          <p:cNvPr id="2" name="Picture 4" descr="Guatemala, country, flag icon - Download on Iconfinder">
            <a:extLst>
              <a:ext uri="{FF2B5EF4-FFF2-40B4-BE49-F238E27FC236}">
                <a16:creationId xmlns:a16="http://schemas.microsoft.com/office/drawing/2014/main" id="{EF083FF0-E7D9-AFC6-1986-ED3174E8D4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1550" y="4306999"/>
            <a:ext cx="842282" cy="842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19652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0" name="Picture 10" descr="GUATEMALA / BELIZE, Time Tours, créateur de circuits à la carte pour ...">
            <a:extLst>
              <a:ext uri="{FF2B5EF4-FFF2-40B4-BE49-F238E27FC236}">
                <a16:creationId xmlns:a16="http://schemas.microsoft.com/office/drawing/2014/main" id="{DBE11765-65D7-ED70-7E42-D9207D9BD656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24" r="112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955D7F7-FCF9-A93A-3DC7-DD6304753E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0869" y="2471288"/>
            <a:ext cx="5535806" cy="1428034"/>
          </a:xfrm>
        </p:spPr>
        <p:txBody>
          <a:bodyPr/>
          <a:lstStyle/>
          <a:p>
            <a:pPr lvl="0"/>
            <a:r>
              <a:rPr lang="en-GB" sz="4400" dirty="0"/>
              <a:t>GUATEMALA</a:t>
            </a:r>
          </a:p>
          <a:p>
            <a:pPr lvl="0"/>
            <a:r>
              <a:rPr lang="en-GB" sz="4400" dirty="0"/>
              <a:t>Blueprint 2025</a:t>
            </a:r>
          </a:p>
          <a:p>
            <a:pPr lvl="0"/>
            <a:r>
              <a:rPr lang="en-GB" sz="4400" dirty="0"/>
              <a:t>OFFLIN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282E3B8-42B8-09BF-771A-71CE3A56B1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6480" y="5250510"/>
            <a:ext cx="8774265" cy="1010472"/>
          </a:xfrm>
          <a:prstGeom prst="rect">
            <a:avLst/>
          </a:prstGeom>
        </p:spPr>
      </p:pic>
      <p:pic>
        <p:nvPicPr>
          <p:cNvPr id="2" name="Picture 4" descr="Guatemala, country, flag icon - Download on Iconfinder">
            <a:extLst>
              <a:ext uri="{FF2B5EF4-FFF2-40B4-BE49-F238E27FC236}">
                <a16:creationId xmlns:a16="http://schemas.microsoft.com/office/drawing/2014/main" id="{365F0F31-8E93-0CCD-49DA-2720066212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1550" y="4306999"/>
            <a:ext cx="842282" cy="842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63101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ijdelijke aanduiding voor tekst 3">
            <a:extLst>
              <a:ext uri="{FF2B5EF4-FFF2-40B4-BE49-F238E27FC236}">
                <a16:creationId xmlns:a16="http://schemas.microsoft.com/office/drawing/2014/main" id="{5758959A-D512-9699-EEC4-DBBFEF3333DB}"/>
              </a:ext>
            </a:extLst>
          </p:cNvPr>
          <p:cNvSpPr txBox="1">
            <a:spLocks/>
          </p:cNvSpPr>
          <p:nvPr/>
        </p:nvSpPr>
        <p:spPr>
          <a:xfrm>
            <a:off x="5857544" y="2875294"/>
            <a:ext cx="2298653" cy="28647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180000" tIns="0" rIns="180000" bIns="0" rtlCol="0" anchor="ctr">
            <a:noAutofit/>
          </a:bodyPr>
          <a:lstStyle>
            <a:lvl1pPr marL="172799" indent="-172799" algn="l" defTabSz="691195" rtl="0" eaLnBrk="1" latinLnBrk="0" hangingPunct="1">
              <a:lnSpc>
                <a:spcPct val="90000"/>
              </a:lnSpc>
              <a:spcBef>
                <a:spcPts val="756"/>
              </a:spcBef>
              <a:buFont typeface="Arial" panose="020B060402020202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839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9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959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518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78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38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98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57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4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highlight>
                <a:srgbClr val="FFFF00"/>
              </a:highlight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2" name="Oval 10">
            <a:extLst>
              <a:ext uri="{FF2B5EF4-FFF2-40B4-BE49-F238E27FC236}">
                <a16:creationId xmlns:a16="http://schemas.microsoft.com/office/drawing/2014/main" id="{2EB324A2-AEE7-A8FB-3BDE-22F597670FE1}"/>
              </a:ext>
            </a:extLst>
          </p:cNvPr>
          <p:cNvSpPr/>
          <p:nvPr/>
        </p:nvSpPr>
        <p:spPr>
          <a:xfrm>
            <a:off x="5842554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aphicFrame>
        <p:nvGraphicFramePr>
          <p:cNvPr id="39" name="Table 6">
            <a:extLst>
              <a:ext uri="{FF2B5EF4-FFF2-40B4-BE49-F238E27FC236}">
                <a16:creationId xmlns:a16="http://schemas.microsoft.com/office/drawing/2014/main" id="{91EEB369-26A8-62A5-7155-1BFB0AC25B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5491969"/>
              </p:ext>
            </p:extLst>
          </p:nvPr>
        </p:nvGraphicFramePr>
        <p:xfrm>
          <a:off x="8282904" y="2872791"/>
          <a:ext cx="3652078" cy="2839539"/>
        </p:xfrm>
        <a:graphic>
          <a:graphicData uri="http://schemas.openxmlformats.org/drawingml/2006/table">
            <a:tbl>
              <a:tblPr firstRow="1" bandRow="1"/>
              <a:tblGrid>
                <a:gridCol w="1826039">
                  <a:extLst>
                    <a:ext uri="{9D8B030D-6E8A-4147-A177-3AD203B41FA5}">
                      <a16:colId xmlns:a16="http://schemas.microsoft.com/office/drawing/2014/main" val="1211728796"/>
                    </a:ext>
                  </a:extLst>
                </a:gridCol>
                <a:gridCol w="1826039">
                  <a:extLst>
                    <a:ext uri="{9D8B030D-6E8A-4147-A177-3AD203B41FA5}">
                      <a16:colId xmlns:a16="http://schemas.microsoft.com/office/drawing/2014/main" val="2279435026"/>
                    </a:ext>
                  </a:extLst>
                </a:gridCol>
              </a:tblGrid>
              <a:tr h="48663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Estacionalidad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Verano, Lluvia, fin de </a:t>
                      </a:r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año</a:t>
                      </a: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4737685"/>
                  </a:ext>
                </a:extLst>
              </a:tr>
              <a:tr h="498711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Tipo de </a:t>
                      </a:r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señal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OTV + PTV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0210266"/>
                  </a:ext>
                </a:extLst>
              </a:tr>
              <a:tr h="476461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Tipo de </a:t>
                      </a:r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acción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EyS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 corte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829059"/>
                  </a:ext>
                </a:extLst>
              </a:tr>
              <a:tr h="48853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Duración</a:t>
                      </a: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 de spot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10ss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6281069"/>
                  </a:ext>
                </a:extLst>
              </a:tr>
              <a:tr h="449124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Trp´s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298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968482"/>
                  </a:ext>
                </a:extLst>
              </a:tr>
              <a:tr h="439997">
                <a:tc>
                  <a:txBody>
                    <a:bodyPr/>
                    <a:lstStyle/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Alcance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45%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652471"/>
                  </a:ext>
                </a:extLst>
              </a:tr>
            </a:tbl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3BF01DDF-4EC1-41C9-0C71-F64807156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369" y="289685"/>
            <a:ext cx="4838278" cy="1766900"/>
          </a:xfrm>
        </p:spPr>
        <p:txBody>
          <a:bodyPr/>
          <a:lstStyle/>
          <a:p>
            <a:r>
              <a:rPr lang="en-GB" dirty="0"/>
              <a:t>Curvas de </a:t>
            </a:r>
            <a:r>
              <a:rPr lang="en-GB" dirty="0" err="1"/>
              <a:t>alcance</a:t>
            </a:r>
            <a:br>
              <a:rPr lang="en-GB" dirty="0"/>
            </a:br>
            <a:r>
              <a:rPr lang="en-GB" dirty="0">
                <a:solidFill>
                  <a:schemeClr val="tx2"/>
                </a:solidFill>
              </a:rPr>
              <a:t>TV, P18a45</a:t>
            </a:r>
            <a:endParaRPr lang="en-GB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D17DE41-C9A8-B99F-7EB8-C8B2AA36C418}"/>
              </a:ext>
            </a:extLst>
          </p:cNvPr>
          <p:cNvSpPr/>
          <p:nvPr/>
        </p:nvSpPr>
        <p:spPr>
          <a:xfrm>
            <a:off x="8267923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0" name="Freeform 185">
            <a:extLst>
              <a:ext uri="{FF2B5EF4-FFF2-40B4-BE49-F238E27FC236}">
                <a16:creationId xmlns:a16="http://schemas.microsoft.com/office/drawing/2014/main" id="{6F1A9D9F-B643-4EC3-B35E-7BD6985D3F03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8360566" y="2391148"/>
            <a:ext cx="246384" cy="246114"/>
          </a:xfrm>
          <a:custGeom>
            <a:avLst/>
            <a:gdLst>
              <a:gd name="T0" fmla="*/ 497 w 995"/>
              <a:gd name="T1" fmla="*/ 0 h 994"/>
              <a:gd name="T2" fmla="*/ 0 w 995"/>
              <a:gd name="T3" fmla="*/ 497 h 994"/>
              <a:gd name="T4" fmla="*/ 497 w 995"/>
              <a:gd name="T5" fmla="*/ 994 h 994"/>
              <a:gd name="T6" fmla="*/ 995 w 995"/>
              <a:gd name="T7" fmla="*/ 497 h 994"/>
              <a:gd name="T8" fmla="*/ 497 w 995"/>
              <a:gd name="T9" fmla="*/ 0 h 994"/>
              <a:gd name="T10" fmla="*/ 497 w 995"/>
              <a:gd name="T11" fmla="*/ 944 h 994"/>
              <a:gd name="T12" fmla="*/ 50 w 995"/>
              <a:gd name="T13" fmla="*/ 497 h 994"/>
              <a:gd name="T14" fmla="*/ 497 w 995"/>
              <a:gd name="T15" fmla="*/ 49 h 994"/>
              <a:gd name="T16" fmla="*/ 945 w 995"/>
              <a:gd name="T17" fmla="*/ 497 h 994"/>
              <a:gd name="T18" fmla="*/ 497 w 995"/>
              <a:gd name="T19" fmla="*/ 944 h 994"/>
              <a:gd name="T20" fmla="*/ 452 w 995"/>
              <a:gd name="T21" fmla="*/ 271 h 994"/>
              <a:gd name="T22" fmla="*/ 542 w 995"/>
              <a:gd name="T23" fmla="*/ 271 h 994"/>
              <a:gd name="T24" fmla="*/ 542 w 995"/>
              <a:gd name="T25" fmla="*/ 354 h 994"/>
              <a:gd name="T26" fmla="*/ 452 w 995"/>
              <a:gd name="T27" fmla="*/ 354 h 994"/>
              <a:gd name="T28" fmla="*/ 452 w 995"/>
              <a:gd name="T29" fmla="*/ 271 h 994"/>
              <a:gd name="T30" fmla="*/ 452 w 995"/>
              <a:gd name="T31" fmla="*/ 404 h 994"/>
              <a:gd name="T32" fmla="*/ 542 w 995"/>
              <a:gd name="T33" fmla="*/ 404 h 994"/>
              <a:gd name="T34" fmla="*/ 542 w 995"/>
              <a:gd name="T35" fmla="*/ 723 h 994"/>
              <a:gd name="T36" fmla="*/ 452 w 995"/>
              <a:gd name="T37" fmla="*/ 723 h 994"/>
              <a:gd name="T38" fmla="*/ 452 w 995"/>
              <a:gd name="T39" fmla="*/ 404 h 9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95" h="994">
                <a:moveTo>
                  <a:pt x="497" y="0"/>
                </a:moveTo>
                <a:cubicBezTo>
                  <a:pt x="223" y="0"/>
                  <a:pt x="0" y="222"/>
                  <a:pt x="0" y="497"/>
                </a:cubicBezTo>
                <a:cubicBezTo>
                  <a:pt x="0" y="771"/>
                  <a:pt x="223" y="994"/>
                  <a:pt x="497" y="994"/>
                </a:cubicBezTo>
                <a:cubicBezTo>
                  <a:pt x="772" y="994"/>
                  <a:pt x="995" y="771"/>
                  <a:pt x="995" y="497"/>
                </a:cubicBezTo>
                <a:cubicBezTo>
                  <a:pt x="995" y="222"/>
                  <a:pt x="772" y="0"/>
                  <a:pt x="497" y="0"/>
                </a:cubicBezTo>
                <a:moveTo>
                  <a:pt x="497" y="944"/>
                </a:moveTo>
                <a:cubicBezTo>
                  <a:pt x="251" y="944"/>
                  <a:pt x="50" y="744"/>
                  <a:pt x="50" y="497"/>
                </a:cubicBezTo>
                <a:cubicBezTo>
                  <a:pt x="50" y="250"/>
                  <a:pt x="251" y="49"/>
                  <a:pt x="497" y="49"/>
                </a:cubicBezTo>
                <a:cubicBezTo>
                  <a:pt x="744" y="49"/>
                  <a:pt x="945" y="250"/>
                  <a:pt x="945" y="497"/>
                </a:cubicBezTo>
                <a:cubicBezTo>
                  <a:pt x="945" y="744"/>
                  <a:pt x="744" y="944"/>
                  <a:pt x="497" y="944"/>
                </a:cubicBezTo>
                <a:moveTo>
                  <a:pt x="452" y="271"/>
                </a:moveTo>
                <a:cubicBezTo>
                  <a:pt x="542" y="271"/>
                  <a:pt x="542" y="271"/>
                  <a:pt x="542" y="271"/>
                </a:cubicBezTo>
                <a:cubicBezTo>
                  <a:pt x="542" y="354"/>
                  <a:pt x="542" y="354"/>
                  <a:pt x="542" y="354"/>
                </a:cubicBezTo>
                <a:cubicBezTo>
                  <a:pt x="452" y="354"/>
                  <a:pt x="452" y="354"/>
                  <a:pt x="452" y="354"/>
                </a:cubicBezTo>
                <a:lnTo>
                  <a:pt x="452" y="271"/>
                </a:lnTo>
                <a:close/>
                <a:moveTo>
                  <a:pt x="452" y="404"/>
                </a:moveTo>
                <a:cubicBezTo>
                  <a:pt x="542" y="404"/>
                  <a:pt x="542" y="404"/>
                  <a:pt x="542" y="404"/>
                </a:cubicBezTo>
                <a:cubicBezTo>
                  <a:pt x="542" y="723"/>
                  <a:pt x="542" y="723"/>
                  <a:pt x="542" y="723"/>
                </a:cubicBezTo>
                <a:cubicBezTo>
                  <a:pt x="452" y="723"/>
                  <a:pt x="452" y="723"/>
                  <a:pt x="452" y="723"/>
                </a:cubicBezTo>
                <a:lnTo>
                  <a:pt x="452" y="40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61" b="0" i="0" u="none" strike="noStrike" kern="1200" cap="none" spc="26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AdihausDIN Cn" charset="0"/>
              <a:cs typeface="AdihausDIN Cn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6D4E947-25A2-603B-143B-3A7A6F1DCD89}"/>
              </a:ext>
            </a:extLst>
          </p:cNvPr>
          <p:cNvSpPr txBox="1"/>
          <p:nvPr/>
        </p:nvSpPr>
        <p:spPr bwMode="gray">
          <a:xfrm>
            <a:off x="806550" y="2405150"/>
            <a:ext cx="1606867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Curva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AC81DC2-35CE-4E49-6C80-517E313DB787}"/>
              </a:ext>
            </a:extLst>
          </p:cNvPr>
          <p:cNvSpPr txBox="1"/>
          <p:nvPr/>
        </p:nvSpPr>
        <p:spPr bwMode="gray">
          <a:xfrm>
            <a:off x="8777532" y="2393247"/>
            <a:ext cx="1654478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Resultado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rial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943CDF5-2DC8-A0BF-458B-AF59D04E6C1E}"/>
              </a:ext>
            </a:extLst>
          </p:cNvPr>
          <p:cNvCxnSpPr/>
          <p:nvPr/>
        </p:nvCxnSpPr>
        <p:spPr>
          <a:xfrm>
            <a:off x="4114982" y="2109833"/>
            <a:ext cx="586800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161FABC-A580-F1FB-107A-83ADCBAE6A53}"/>
              </a:ext>
            </a:extLst>
          </p:cNvPr>
          <p:cNvCxnSpPr/>
          <p:nvPr/>
        </p:nvCxnSpPr>
        <p:spPr>
          <a:xfrm>
            <a:off x="4114982" y="1089811"/>
            <a:ext cx="586800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47" name="Slide Number Placeholder 46">
            <a:extLst>
              <a:ext uri="{FF2B5EF4-FFF2-40B4-BE49-F238E27FC236}">
                <a16:creationId xmlns:a16="http://schemas.microsoft.com/office/drawing/2014/main" id="{0628E9C6-36B7-2E3F-6B70-CE5AC8F317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ExtraLight" pitchFamily="2" charset="77"/>
                <a:ea typeface="+mn-ea"/>
                <a:cs typeface="Poppins Extra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ExtraLight" pitchFamily="2" charset="77"/>
              <a:ea typeface="+mn-ea"/>
              <a:cs typeface="Poppins ExtraLight" pitchFamily="2" charset="77"/>
            </a:endParaRPr>
          </a:p>
        </p:txBody>
      </p:sp>
      <p:sp>
        <p:nvSpPr>
          <p:cNvPr id="38" name="Tijdelijke aanduiding voor tekst 3">
            <a:extLst>
              <a:ext uri="{FF2B5EF4-FFF2-40B4-BE49-F238E27FC236}">
                <a16:creationId xmlns:a16="http://schemas.microsoft.com/office/drawing/2014/main" id="{6F8452F6-7DE5-FC3A-E2D5-42A27D64F80D}"/>
              </a:ext>
            </a:extLst>
          </p:cNvPr>
          <p:cNvSpPr txBox="1">
            <a:spLocks/>
          </p:cNvSpPr>
          <p:nvPr/>
        </p:nvSpPr>
        <p:spPr>
          <a:xfrm>
            <a:off x="257019" y="2872794"/>
            <a:ext cx="5453291" cy="28647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180000" tIns="0" rIns="180000" bIns="0" rtlCol="0" anchor="ctr">
            <a:noAutofit/>
          </a:bodyPr>
          <a:lstStyle>
            <a:lvl1pPr marL="172799" indent="-172799" algn="l" defTabSz="691195" rtl="0" eaLnBrk="1" latinLnBrk="0" hangingPunct="1">
              <a:lnSpc>
                <a:spcPct val="90000"/>
              </a:lnSpc>
              <a:spcBef>
                <a:spcPts val="756"/>
              </a:spcBef>
              <a:buFont typeface="Arial" panose="020B060402020202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839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9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959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518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78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38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98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57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4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highlight>
                <a:srgbClr val="FFFF00"/>
              </a:highlight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9262D76-9A16-683A-1C06-91084C0C5A34}"/>
              </a:ext>
            </a:extLst>
          </p:cNvPr>
          <p:cNvCxnSpPr/>
          <p:nvPr/>
        </p:nvCxnSpPr>
        <p:spPr>
          <a:xfrm>
            <a:off x="247518" y="2869619"/>
            <a:ext cx="5472000" cy="0"/>
          </a:xfrm>
          <a:prstGeom prst="line">
            <a:avLst/>
          </a:prstGeom>
          <a:ln w="190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13">
            <a:extLst>
              <a:ext uri="{FF2B5EF4-FFF2-40B4-BE49-F238E27FC236}">
                <a16:creationId xmlns:a16="http://schemas.microsoft.com/office/drawing/2014/main" id="{6BE546B9-4FE3-5E3F-7EDA-82F26FC062A1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12" name="Round Same-side Corner of Rectangle 28">
              <a:extLst>
                <a:ext uri="{FF2B5EF4-FFF2-40B4-BE49-F238E27FC236}">
                  <a16:creationId xmlns:a16="http://schemas.microsoft.com/office/drawing/2014/main" id="{A19B98B2-C6B4-7F47-E38E-ECE7CD422F57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22" name="Group 33">
              <a:extLst>
                <a:ext uri="{FF2B5EF4-FFF2-40B4-BE49-F238E27FC236}">
                  <a16:creationId xmlns:a16="http://schemas.microsoft.com/office/drawing/2014/main" id="{B06F0F45-BCA4-6721-9483-7968675F81AA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0" name="Oval 44">
                <a:extLst>
                  <a:ext uri="{FF2B5EF4-FFF2-40B4-BE49-F238E27FC236}">
                    <a16:creationId xmlns:a16="http://schemas.microsoft.com/office/drawing/2014/main" id="{110A085F-A824-0FBB-3426-B83C71C2CA50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3" name="TextBox 45">
                <a:extLst>
                  <a:ext uri="{FF2B5EF4-FFF2-40B4-BE49-F238E27FC236}">
                    <a16:creationId xmlns:a16="http://schemas.microsoft.com/office/drawing/2014/main" id="{330EE13E-FA8C-A7B8-3A95-50714C9544DE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4" name="Google Shape;1194;p40">
              <a:extLst>
                <a:ext uri="{FF2B5EF4-FFF2-40B4-BE49-F238E27FC236}">
                  <a16:creationId xmlns:a16="http://schemas.microsoft.com/office/drawing/2014/main" id="{E1F879EC-0902-AB19-CDA3-CE22BD08CA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2" name="TextBox 30">
            <a:extLst>
              <a:ext uri="{FF2B5EF4-FFF2-40B4-BE49-F238E27FC236}">
                <a16:creationId xmlns:a16="http://schemas.microsoft.com/office/drawing/2014/main" id="{EF61E2C5-FAD4-7661-6C65-34B1404AE92E}"/>
              </a:ext>
            </a:extLst>
          </p:cNvPr>
          <p:cNvSpPr txBox="1"/>
          <p:nvPr/>
        </p:nvSpPr>
        <p:spPr bwMode="gray">
          <a:xfrm>
            <a:off x="4185007" y="793516"/>
            <a:ext cx="5318757" cy="2154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Anunciante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 de la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competencia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 con mayor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actividad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:</a:t>
            </a:r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C348D7F8-44D0-6397-3CA5-7EAA20726B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38829326"/>
              </p:ext>
            </p:extLst>
          </p:nvPr>
        </p:nvGraphicFramePr>
        <p:xfrm>
          <a:off x="338989" y="2866445"/>
          <a:ext cx="5289403" cy="2845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Oval 31">
            <a:extLst>
              <a:ext uri="{FF2B5EF4-FFF2-40B4-BE49-F238E27FC236}">
                <a16:creationId xmlns:a16="http://schemas.microsoft.com/office/drawing/2014/main" id="{DF920E4F-E050-C785-B38B-439D254E1831}"/>
              </a:ext>
            </a:extLst>
          </p:cNvPr>
          <p:cNvSpPr/>
          <p:nvPr/>
        </p:nvSpPr>
        <p:spPr>
          <a:xfrm>
            <a:off x="251311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" name="Freeform 131">
            <a:extLst>
              <a:ext uri="{FF2B5EF4-FFF2-40B4-BE49-F238E27FC236}">
                <a16:creationId xmlns:a16="http://schemas.microsoft.com/office/drawing/2014/main" id="{74C148ED-22C7-1849-449F-416766339464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330512" y="2391149"/>
            <a:ext cx="273268" cy="274920"/>
          </a:xfrm>
          <a:custGeom>
            <a:avLst/>
            <a:gdLst>
              <a:gd name="T0" fmla="*/ 1207 w 1207"/>
              <a:gd name="T1" fmla="*/ 1047 h 1207"/>
              <a:gd name="T2" fmla="*/ 1167 w 1207"/>
              <a:gd name="T3" fmla="*/ 1087 h 1207"/>
              <a:gd name="T4" fmla="*/ 1047 w 1207"/>
              <a:gd name="T5" fmla="*/ 1207 h 1207"/>
              <a:gd name="T6" fmla="*/ 1007 w 1207"/>
              <a:gd name="T7" fmla="*/ 1167 h 1207"/>
              <a:gd name="T8" fmla="*/ 1099 w 1207"/>
              <a:gd name="T9" fmla="*/ 1076 h 1207"/>
              <a:gd name="T10" fmla="*/ 188 w 1207"/>
              <a:gd name="T11" fmla="*/ 1076 h 1207"/>
              <a:gd name="T12" fmla="*/ 132 w 1207"/>
              <a:gd name="T13" fmla="*/ 1076 h 1207"/>
              <a:gd name="T14" fmla="*/ 132 w 1207"/>
              <a:gd name="T15" fmla="*/ 1019 h 1207"/>
              <a:gd name="T16" fmla="*/ 132 w 1207"/>
              <a:gd name="T17" fmla="*/ 109 h 1207"/>
              <a:gd name="T18" fmla="*/ 40 w 1207"/>
              <a:gd name="T19" fmla="*/ 200 h 1207"/>
              <a:gd name="T20" fmla="*/ 0 w 1207"/>
              <a:gd name="T21" fmla="*/ 160 h 1207"/>
              <a:gd name="T22" fmla="*/ 120 w 1207"/>
              <a:gd name="T23" fmla="*/ 40 h 1207"/>
              <a:gd name="T24" fmla="*/ 160 w 1207"/>
              <a:gd name="T25" fmla="*/ 0 h 1207"/>
              <a:gd name="T26" fmla="*/ 200 w 1207"/>
              <a:gd name="T27" fmla="*/ 40 h 1207"/>
              <a:gd name="T28" fmla="*/ 320 w 1207"/>
              <a:gd name="T29" fmla="*/ 160 h 1207"/>
              <a:gd name="T30" fmla="*/ 280 w 1207"/>
              <a:gd name="T31" fmla="*/ 200 h 1207"/>
              <a:gd name="T32" fmla="*/ 188 w 1207"/>
              <a:gd name="T33" fmla="*/ 109 h 1207"/>
              <a:gd name="T34" fmla="*/ 188 w 1207"/>
              <a:gd name="T35" fmla="*/ 1019 h 1207"/>
              <a:gd name="T36" fmla="*/ 1099 w 1207"/>
              <a:gd name="T37" fmla="*/ 1019 h 1207"/>
              <a:gd name="T38" fmla="*/ 1007 w 1207"/>
              <a:gd name="T39" fmla="*/ 927 h 1207"/>
              <a:gd name="T40" fmla="*/ 1047 w 1207"/>
              <a:gd name="T41" fmla="*/ 887 h 1207"/>
              <a:gd name="T42" fmla="*/ 1167 w 1207"/>
              <a:gd name="T43" fmla="*/ 1007 h 1207"/>
              <a:gd name="T44" fmla="*/ 1207 w 1207"/>
              <a:gd name="T45" fmla="*/ 1047 h 1207"/>
              <a:gd name="T46" fmla="*/ 300 w 1207"/>
              <a:gd name="T47" fmla="*/ 799 h 1207"/>
              <a:gd name="T48" fmla="*/ 469 w 1207"/>
              <a:gd name="T49" fmla="*/ 481 h 1207"/>
              <a:gd name="T50" fmla="*/ 614 w 1207"/>
              <a:gd name="T51" fmla="*/ 664 h 1207"/>
              <a:gd name="T52" fmla="*/ 784 w 1207"/>
              <a:gd name="T53" fmla="*/ 878 h 1207"/>
              <a:gd name="T54" fmla="*/ 954 w 1207"/>
              <a:gd name="T55" fmla="*/ 597 h 1207"/>
              <a:gd name="T56" fmla="*/ 1164 w 1207"/>
              <a:gd name="T57" fmla="*/ 195 h 1207"/>
              <a:gd name="T58" fmla="*/ 1137 w 1207"/>
              <a:gd name="T59" fmla="*/ 145 h 1207"/>
              <a:gd name="T60" fmla="*/ 900 w 1207"/>
              <a:gd name="T61" fmla="*/ 582 h 1207"/>
              <a:gd name="T62" fmla="*/ 784 w 1207"/>
              <a:gd name="T63" fmla="*/ 821 h 1207"/>
              <a:gd name="T64" fmla="*/ 667 w 1207"/>
              <a:gd name="T65" fmla="*/ 645 h 1207"/>
              <a:gd name="T66" fmla="*/ 457 w 1207"/>
              <a:gd name="T67" fmla="*/ 425 h 1207"/>
              <a:gd name="T68" fmla="*/ 245 w 1207"/>
              <a:gd name="T69" fmla="*/ 787 h 1207"/>
              <a:gd name="T70" fmla="*/ 300 w 1207"/>
              <a:gd name="T71" fmla="*/ 799 h 12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207" h="1207">
                <a:moveTo>
                  <a:pt x="1207" y="1047"/>
                </a:moveTo>
                <a:cubicBezTo>
                  <a:pt x="1167" y="1087"/>
                  <a:pt x="1167" y="1087"/>
                  <a:pt x="1167" y="1087"/>
                </a:cubicBezTo>
                <a:cubicBezTo>
                  <a:pt x="1047" y="1207"/>
                  <a:pt x="1047" y="1207"/>
                  <a:pt x="1047" y="1207"/>
                </a:cubicBezTo>
                <a:cubicBezTo>
                  <a:pt x="1007" y="1167"/>
                  <a:pt x="1007" y="1167"/>
                  <a:pt x="1007" y="1167"/>
                </a:cubicBezTo>
                <a:cubicBezTo>
                  <a:pt x="1099" y="1076"/>
                  <a:pt x="1099" y="1076"/>
                  <a:pt x="1099" y="1076"/>
                </a:cubicBezTo>
                <a:cubicBezTo>
                  <a:pt x="188" y="1076"/>
                  <a:pt x="188" y="1076"/>
                  <a:pt x="188" y="1076"/>
                </a:cubicBezTo>
                <a:cubicBezTo>
                  <a:pt x="132" y="1076"/>
                  <a:pt x="132" y="1076"/>
                  <a:pt x="132" y="1076"/>
                </a:cubicBezTo>
                <a:cubicBezTo>
                  <a:pt x="132" y="1019"/>
                  <a:pt x="132" y="1019"/>
                  <a:pt x="132" y="1019"/>
                </a:cubicBezTo>
                <a:cubicBezTo>
                  <a:pt x="132" y="109"/>
                  <a:pt x="132" y="109"/>
                  <a:pt x="132" y="109"/>
                </a:cubicBezTo>
                <a:cubicBezTo>
                  <a:pt x="40" y="200"/>
                  <a:pt x="40" y="200"/>
                  <a:pt x="40" y="200"/>
                </a:cubicBezTo>
                <a:cubicBezTo>
                  <a:pt x="0" y="160"/>
                  <a:pt x="0" y="160"/>
                  <a:pt x="0" y="160"/>
                </a:cubicBezTo>
                <a:cubicBezTo>
                  <a:pt x="120" y="40"/>
                  <a:pt x="120" y="40"/>
                  <a:pt x="120" y="40"/>
                </a:cubicBezTo>
                <a:cubicBezTo>
                  <a:pt x="160" y="0"/>
                  <a:pt x="160" y="0"/>
                  <a:pt x="160" y="0"/>
                </a:cubicBezTo>
                <a:cubicBezTo>
                  <a:pt x="200" y="40"/>
                  <a:pt x="200" y="40"/>
                  <a:pt x="200" y="40"/>
                </a:cubicBezTo>
                <a:cubicBezTo>
                  <a:pt x="320" y="160"/>
                  <a:pt x="320" y="160"/>
                  <a:pt x="320" y="160"/>
                </a:cubicBezTo>
                <a:cubicBezTo>
                  <a:pt x="280" y="200"/>
                  <a:pt x="280" y="200"/>
                  <a:pt x="280" y="200"/>
                </a:cubicBezTo>
                <a:cubicBezTo>
                  <a:pt x="188" y="109"/>
                  <a:pt x="188" y="109"/>
                  <a:pt x="188" y="109"/>
                </a:cubicBezTo>
                <a:cubicBezTo>
                  <a:pt x="188" y="1019"/>
                  <a:pt x="188" y="1019"/>
                  <a:pt x="188" y="1019"/>
                </a:cubicBezTo>
                <a:cubicBezTo>
                  <a:pt x="1099" y="1019"/>
                  <a:pt x="1099" y="1019"/>
                  <a:pt x="1099" y="1019"/>
                </a:cubicBezTo>
                <a:cubicBezTo>
                  <a:pt x="1007" y="927"/>
                  <a:pt x="1007" y="927"/>
                  <a:pt x="1007" y="927"/>
                </a:cubicBezTo>
                <a:cubicBezTo>
                  <a:pt x="1047" y="887"/>
                  <a:pt x="1047" y="887"/>
                  <a:pt x="1047" y="887"/>
                </a:cubicBezTo>
                <a:cubicBezTo>
                  <a:pt x="1167" y="1007"/>
                  <a:pt x="1167" y="1007"/>
                  <a:pt x="1167" y="1007"/>
                </a:cubicBezTo>
                <a:lnTo>
                  <a:pt x="1207" y="1047"/>
                </a:lnTo>
                <a:close/>
                <a:moveTo>
                  <a:pt x="300" y="799"/>
                </a:moveTo>
                <a:cubicBezTo>
                  <a:pt x="338" y="625"/>
                  <a:pt x="408" y="495"/>
                  <a:pt x="469" y="481"/>
                </a:cubicBezTo>
                <a:cubicBezTo>
                  <a:pt x="537" y="465"/>
                  <a:pt x="570" y="543"/>
                  <a:pt x="614" y="664"/>
                </a:cubicBezTo>
                <a:cubicBezTo>
                  <a:pt x="651" y="769"/>
                  <a:pt x="690" y="878"/>
                  <a:pt x="784" y="878"/>
                </a:cubicBezTo>
                <a:cubicBezTo>
                  <a:pt x="878" y="878"/>
                  <a:pt x="913" y="748"/>
                  <a:pt x="954" y="597"/>
                </a:cubicBezTo>
                <a:cubicBezTo>
                  <a:pt x="997" y="438"/>
                  <a:pt x="1046" y="257"/>
                  <a:pt x="1164" y="195"/>
                </a:cubicBezTo>
                <a:cubicBezTo>
                  <a:pt x="1137" y="145"/>
                  <a:pt x="1137" y="145"/>
                  <a:pt x="1137" y="145"/>
                </a:cubicBezTo>
                <a:cubicBezTo>
                  <a:pt x="998" y="219"/>
                  <a:pt x="946" y="412"/>
                  <a:pt x="900" y="582"/>
                </a:cubicBezTo>
                <a:cubicBezTo>
                  <a:pt x="868" y="700"/>
                  <a:pt x="835" y="821"/>
                  <a:pt x="784" y="821"/>
                </a:cubicBezTo>
                <a:cubicBezTo>
                  <a:pt x="730" y="821"/>
                  <a:pt x="698" y="732"/>
                  <a:pt x="667" y="645"/>
                </a:cubicBezTo>
                <a:cubicBezTo>
                  <a:pt x="625" y="529"/>
                  <a:pt x="579" y="398"/>
                  <a:pt x="457" y="425"/>
                </a:cubicBezTo>
                <a:cubicBezTo>
                  <a:pt x="354" y="449"/>
                  <a:pt x="280" y="627"/>
                  <a:pt x="245" y="787"/>
                </a:cubicBezTo>
                <a:lnTo>
                  <a:pt x="300" y="799"/>
                </a:lnTo>
                <a:close/>
              </a:path>
            </a:pathLst>
          </a:custGeom>
          <a:solidFill>
            <a:srgbClr val="011627"/>
          </a:solidFill>
          <a:ln>
            <a:noFill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61" b="0" i="0" u="none" strike="noStrike" kern="0" cap="none" spc="26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AdihausDIN Cn" charset="0"/>
              <a:cs typeface="AdihausDIN Cn" charset="0"/>
            </a:endParaRPr>
          </a:p>
        </p:txBody>
      </p:sp>
      <p:pic>
        <p:nvPicPr>
          <p:cNvPr id="45" name="Picture 37" descr="A yellow and black logo&#10;&#10;Description automatically generated">
            <a:extLst>
              <a:ext uri="{FF2B5EF4-FFF2-40B4-BE49-F238E27FC236}">
                <a16:creationId xmlns:a16="http://schemas.microsoft.com/office/drawing/2014/main" id="{FEA8967F-C806-8F56-C73E-1A67B9C302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5779" y="3484605"/>
            <a:ext cx="465647" cy="323132"/>
          </a:xfrm>
          <a:prstGeom prst="rect">
            <a:avLst/>
          </a:prstGeom>
        </p:spPr>
      </p:pic>
      <p:pic>
        <p:nvPicPr>
          <p:cNvPr id="46" name="Picture 38" descr="A colorful number with black background&#10;&#10;Description automatically generated">
            <a:extLst>
              <a:ext uri="{FF2B5EF4-FFF2-40B4-BE49-F238E27FC236}">
                <a16:creationId xmlns:a16="http://schemas.microsoft.com/office/drawing/2014/main" id="{FDF39DB1-6C09-8D19-E412-7DEE904E91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2437" y="3512462"/>
            <a:ext cx="494222" cy="261309"/>
          </a:xfrm>
          <a:prstGeom prst="rect">
            <a:avLst/>
          </a:prstGeom>
        </p:spPr>
      </p:pic>
      <p:pic>
        <p:nvPicPr>
          <p:cNvPr id="48" name="Picture 39">
            <a:extLst>
              <a:ext uri="{FF2B5EF4-FFF2-40B4-BE49-F238E27FC236}">
                <a16:creationId xmlns:a16="http://schemas.microsoft.com/office/drawing/2014/main" id="{3452006F-1499-F76D-7298-AEE691D1EC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63313" y="3439676"/>
            <a:ext cx="304082" cy="380102"/>
          </a:xfrm>
          <a:prstGeom prst="rect">
            <a:avLst/>
          </a:prstGeom>
        </p:spPr>
      </p:pic>
      <p:pic>
        <p:nvPicPr>
          <p:cNvPr id="54" name="Picture 40" descr="TN23 Noticias Guatemala en vivo, Online ~ Teleame Directos TV">
            <a:extLst>
              <a:ext uri="{FF2B5EF4-FFF2-40B4-BE49-F238E27FC236}">
                <a16:creationId xmlns:a16="http://schemas.microsoft.com/office/drawing/2014/main" id="{BE3C4B5A-A209-12E9-4C6E-5B36B431064C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CFFFF"/>
              </a:clrFrom>
              <a:clrTo>
                <a:srgbClr val="FC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949664" y="4051988"/>
            <a:ext cx="579767" cy="418202"/>
          </a:xfrm>
          <a:prstGeom prst="rect">
            <a:avLst/>
          </a:prstGeom>
        </p:spPr>
      </p:pic>
      <p:pic>
        <p:nvPicPr>
          <p:cNvPr id="56" name="Picture 48" descr="Telemundo Logo / Television / Logonoid.com">
            <a:extLst>
              <a:ext uri="{FF2B5EF4-FFF2-40B4-BE49-F238E27FC236}">
                <a16:creationId xmlns:a16="http://schemas.microsoft.com/office/drawing/2014/main" id="{76FFB14E-418E-F6DB-AA4B-A17E129B25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23535" y="4776930"/>
            <a:ext cx="414756" cy="356875"/>
          </a:xfrm>
          <a:prstGeom prst="rect">
            <a:avLst/>
          </a:prstGeom>
        </p:spPr>
      </p:pic>
      <p:pic>
        <p:nvPicPr>
          <p:cNvPr id="57" name="Picture 49" descr="Las Estrellas – Logos Download">
            <a:extLst>
              <a:ext uri="{FF2B5EF4-FFF2-40B4-BE49-F238E27FC236}">
                <a16:creationId xmlns:a16="http://schemas.microsoft.com/office/drawing/2014/main" id="{B43D6372-2946-DE27-7405-1F6183603C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99124" y="4026097"/>
            <a:ext cx="436742" cy="406293"/>
          </a:xfrm>
          <a:prstGeom prst="rect">
            <a:avLst/>
          </a:prstGeom>
        </p:spPr>
      </p:pic>
      <p:pic>
        <p:nvPicPr>
          <p:cNvPr id="58" name="Picture 50" descr="A yellow circle with red letters&#10;&#10;Description automatically generated">
            <a:extLst>
              <a:ext uri="{FF2B5EF4-FFF2-40B4-BE49-F238E27FC236}">
                <a16:creationId xmlns:a16="http://schemas.microsoft.com/office/drawing/2014/main" id="{1E138304-A8EC-8082-970C-E85943D6C21B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BFF"/>
              </a:clrFrom>
              <a:clrTo>
                <a:srgbClr val="FFFB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708165" y="4760989"/>
            <a:ext cx="409144" cy="371476"/>
          </a:xfrm>
          <a:prstGeom prst="rect">
            <a:avLst/>
          </a:prstGeom>
        </p:spPr>
      </p:pic>
      <p:pic>
        <p:nvPicPr>
          <p:cNvPr id="59" name="Picture 51" descr="Cinemax - Wikipedia">
            <a:extLst>
              <a:ext uri="{FF2B5EF4-FFF2-40B4-BE49-F238E27FC236}">
                <a16:creationId xmlns:a16="http://schemas.microsoft.com/office/drawing/2014/main" id="{70441C56-D6FC-2867-4D62-F01C746A892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52219" y="4799813"/>
            <a:ext cx="820825" cy="310827"/>
          </a:xfrm>
          <a:prstGeom prst="rect">
            <a:avLst/>
          </a:prstGeom>
        </p:spPr>
      </p:pic>
      <p:pic>
        <p:nvPicPr>
          <p:cNvPr id="63" name="Picture 52" descr="TLnovelas | Logopedia | FANDOM powered by Wikia">
            <a:extLst>
              <a:ext uri="{FF2B5EF4-FFF2-40B4-BE49-F238E27FC236}">
                <a16:creationId xmlns:a16="http://schemas.microsoft.com/office/drawing/2014/main" id="{862A1301-0665-6345-A3E4-1D1EA7A3E9C5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8420" t="7018" r="12308" b="14551"/>
          <a:stretch/>
        </p:blipFill>
        <p:spPr>
          <a:xfrm>
            <a:off x="6737969" y="4103733"/>
            <a:ext cx="674307" cy="353449"/>
          </a:xfrm>
          <a:prstGeom prst="rect">
            <a:avLst/>
          </a:prstGeom>
        </p:spPr>
      </p:pic>
      <p:sp>
        <p:nvSpPr>
          <p:cNvPr id="64" name="CuadroTexto 63">
            <a:extLst>
              <a:ext uri="{FF2B5EF4-FFF2-40B4-BE49-F238E27FC236}">
                <a16:creationId xmlns:a16="http://schemas.microsoft.com/office/drawing/2014/main" id="{88FCAF3F-AEF1-CB72-9689-31972D2D2792}"/>
              </a:ext>
            </a:extLst>
          </p:cNvPr>
          <p:cNvSpPr txBox="1"/>
          <p:nvPr/>
        </p:nvSpPr>
        <p:spPr>
          <a:xfrm>
            <a:off x="5029554" y="1189680"/>
            <a:ext cx="41541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Uso de TV abierta + TV Pag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 err="1">
                <a:solidFill>
                  <a:srgbClr val="0A0F0D"/>
                </a:solidFill>
                <a:latin typeface="Century Gothic"/>
              </a:rPr>
              <a:t>Kpi´s</a:t>
            </a:r>
            <a:r>
              <a:rPr lang="es-MX" sz="1200" dirty="0">
                <a:solidFill>
                  <a:srgbClr val="0A0F0D"/>
                </a:solidFill>
                <a:latin typeface="Century Gothic"/>
              </a:rPr>
              <a:t> en mes bajo: 149 </a:t>
            </a:r>
            <a:r>
              <a:rPr lang="es-MX" sz="1200" dirty="0" err="1">
                <a:solidFill>
                  <a:srgbClr val="0A0F0D"/>
                </a:solidFill>
                <a:latin typeface="Century Gothic"/>
              </a:rPr>
              <a:t>Trp´s</a:t>
            </a:r>
            <a:r>
              <a:rPr lang="es-MX" sz="1200" dirty="0">
                <a:solidFill>
                  <a:srgbClr val="0A0F0D"/>
                </a:solidFill>
                <a:latin typeface="Century Gothic"/>
              </a:rPr>
              <a:t> / 33% alcance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 err="1">
                <a:solidFill>
                  <a:srgbClr val="0A0F0D"/>
                </a:solidFill>
                <a:latin typeface="Century Gothic"/>
              </a:rPr>
              <a:t>Kpi´s</a:t>
            </a:r>
            <a:r>
              <a:rPr lang="es-MX" sz="1200" dirty="0">
                <a:solidFill>
                  <a:srgbClr val="0A0F0D"/>
                </a:solidFill>
                <a:latin typeface="Century Gothic"/>
              </a:rPr>
              <a:t> en meses altos: 274 </a:t>
            </a:r>
            <a:r>
              <a:rPr lang="es-MX" sz="1200" dirty="0" err="1">
                <a:solidFill>
                  <a:srgbClr val="0A0F0D"/>
                </a:solidFill>
                <a:latin typeface="Century Gothic"/>
              </a:rPr>
              <a:t>Trp´s</a:t>
            </a:r>
            <a:r>
              <a:rPr lang="es-MX" sz="1200" dirty="0">
                <a:solidFill>
                  <a:srgbClr val="0A0F0D"/>
                </a:solidFill>
                <a:latin typeface="Century Gothic"/>
              </a:rPr>
              <a:t> / 45% alcanc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Duración de spot: 5ss y 15ss</a:t>
            </a:r>
            <a:endParaRPr lang="es-GT" sz="1200" dirty="0">
              <a:solidFill>
                <a:srgbClr val="0A0F0D"/>
              </a:solidFill>
              <a:latin typeface="Century Gothic"/>
            </a:endParaRPr>
          </a:p>
        </p:txBody>
      </p:sp>
      <p:pic>
        <p:nvPicPr>
          <p:cNvPr id="2050" name="Picture 2" descr="Pepto Bismol Logo">
            <a:extLst>
              <a:ext uri="{FF2B5EF4-FFF2-40B4-BE49-F238E27FC236}">
                <a16:creationId xmlns:a16="http://schemas.microsoft.com/office/drawing/2014/main" id="{E4EE2B73-49AB-C6F5-0642-934C33447C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89" b="15466"/>
          <a:stretch/>
        </p:blipFill>
        <p:spPr bwMode="auto">
          <a:xfrm>
            <a:off x="8940907" y="350135"/>
            <a:ext cx="1019330" cy="710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6" name="Group 15">
            <a:extLst>
              <a:ext uri="{FF2B5EF4-FFF2-40B4-BE49-F238E27FC236}">
                <a16:creationId xmlns:a16="http://schemas.microsoft.com/office/drawing/2014/main" id="{B9EC7145-A7AD-9D97-B5D8-D7C6C4197EA8}"/>
              </a:ext>
            </a:extLst>
          </p:cNvPr>
          <p:cNvGrpSpPr/>
          <p:nvPr/>
        </p:nvGrpSpPr>
        <p:grpSpPr>
          <a:xfrm>
            <a:off x="5966162" y="2382950"/>
            <a:ext cx="214434" cy="261022"/>
            <a:chOff x="5757290" y="2898545"/>
            <a:chExt cx="677417" cy="824595"/>
          </a:xfrm>
        </p:grpSpPr>
        <p:sp>
          <p:nvSpPr>
            <p:cNvPr id="67" name="Freeform 43">
              <a:extLst>
                <a:ext uri="{FF2B5EF4-FFF2-40B4-BE49-F238E27FC236}">
                  <a16:creationId xmlns:a16="http://schemas.microsoft.com/office/drawing/2014/main" id="{EDE63BC0-EDC9-FE59-ABFB-2B137D7DF232}"/>
                </a:ext>
              </a:extLst>
            </p:cNvPr>
            <p:cNvSpPr/>
            <p:nvPr/>
          </p:nvSpPr>
          <p:spPr>
            <a:xfrm>
              <a:off x="5757290" y="2898545"/>
              <a:ext cx="677417" cy="824595"/>
            </a:xfrm>
            <a:custGeom>
              <a:avLst/>
              <a:gdLst>
                <a:gd name="connsiteX0" fmla="*/ 677418 w 677417"/>
                <a:gd name="connsiteY0" fmla="*/ 56314 h 824595"/>
                <a:gd name="connsiteX1" fmla="*/ 422910 w 677417"/>
                <a:gd name="connsiteY1" fmla="*/ 56314 h 824595"/>
                <a:gd name="connsiteX2" fmla="*/ 304727 w 677417"/>
                <a:gd name="connsiteY2" fmla="*/ 6591 h 824595"/>
                <a:gd name="connsiteX3" fmla="*/ 254603 w 677417"/>
                <a:gd name="connsiteY3" fmla="*/ 56314 h 824595"/>
                <a:gd name="connsiteX4" fmla="*/ 0 w 677417"/>
                <a:gd name="connsiteY4" fmla="*/ 56314 h 824595"/>
                <a:gd name="connsiteX5" fmla="*/ 0 w 677417"/>
                <a:gd name="connsiteY5" fmla="*/ 824596 h 824595"/>
                <a:gd name="connsiteX6" fmla="*/ 677418 w 677417"/>
                <a:gd name="connsiteY6" fmla="*/ 824596 h 824595"/>
                <a:gd name="connsiteX7" fmla="*/ 283940 w 677417"/>
                <a:gd name="connsiteY7" fmla="*/ 94109 h 824595"/>
                <a:gd name="connsiteX8" fmla="*/ 287179 w 677417"/>
                <a:gd name="connsiteY8" fmla="*/ 79180 h 824595"/>
                <a:gd name="connsiteX9" fmla="*/ 349903 w 677417"/>
                <a:gd name="connsiteY9" fmla="*/ 39072 h 824595"/>
                <a:gd name="connsiteX10" fmla="*/ 390335 w 677417"/>
                <a:gd name="connsiteY10" fmla="*/ 79180 h 824595"/>
                <a:gd name="connsiteX11" fmla="*/ 393573 w 677417"/>
                <a:gd name="connsiteY11" fmla="*/ 94109 h 824595"/>
                <a:gd name="connsiteX12" fmla="*/ 450723 w 677417"/>
                <a:gd name="connsiteY12" fmla="*/ 94109 h 824595"/>
                <a:gd name="connsiteX13" fmla="*/ 450723 w 677417"/>
                <a:gd name="connsiteY13" fmla="*/ 165448 h 824595"/>
                <a:gd name="connsiteX14" fmla="*/ 226790 w 677417"/>
                <a:gd name="connsiteY14" fmla="*/ 165448 h 824595"/>
                <a:gd name="connsiteX15" fmla="*/ 226790 w 677417"/>
                <a:gd name="connsiteY15" fmla="*/ 94109 h 824595"/>
                <a:gd name="connsiteX16" fmla="*/ 639318 w 677417"/>
                <a:gd name="connsiteY16" fmla="*/ 786801 h 824595"/>
                <a:gd name="connsiteX17" fmla="*/ 38100 w 677417"/>
                <a:gd name="connsiteY17" fmla="*/ 786801 h 824595"/>
                <a:gd name="connsiteX18" fmla="*/ 38100 w 677417"/>
                <a:gd name="connsiteY18" fmla="*/ 94109 h 824595"/>
                <a:gd name="connsiteX19" fmla="*/ 188690 w 677417"/>
                <a:gd name="connsiteY19" fmla="*/ 94109 h 824595"/>
                <a:gd name="connsiteX20" fmla="*/ 188690 w 677417"/>
                <a:gd name="connsiteY20" fmla="*/ 203243 h 824595"/>
                <a:gd name="connsiteX21" fmla="*/ 488728 w 677417"/>
                <a:gd name="connsiteY21" fmla="*/ 203243 h 824595"/>
                <a:gd name="connsiteX22" fmla="*/ 488728 w 677417"/>
                <a:gd name="connsiteY22" fmla="*/ 94109 h 824595"/>
                <a:gd name="connsiteX23" fmla="*/ 639318 w 677417"/>
                <a:gd name="connsiteY23" fmla="*/ 94109 h 82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77417" h="824595">
                  <a:moveTo>
                    <a:pt x="677418" y="56314"/>
                  </a:moveTo>
                  <a:lnTo>
                    <a:pt x="422910" y="56314"/>
                  </a:lnTo>
                  <a:cubicBezTo>
                    <a:pt x="404116" y="10209"/>
                    <a:pt x="351204" y="-12053"/>
                    <a:pt x="304727" y="6591"/>
                  </a:cubicBezTo>
                  <a:cubicBezTo>
                    <a:pt x="281916" y="15741"/>
                    <a:pt x="263827" y="33685"/>
                    <a:pt x="254603" y="56314"/>
                  </a:cubicBezTo>
                  <a:lnTo>
                    <a:pt x="0" y="56314"/>
                  </a:lnTo>
                  <a:lnTo>
                    <a:pt x="0" y="824596"/>
                  </a:lnTo>
                  <a:lnTo>
                    <a:pt x="677418" y="824596"/>
                  </a:lnTo>
                  <a:close/>
                  <a:moveTo>
                    <a:pt x="283940" y="94109"/>
                  </a:moveTo>
                  <a:lnTo>
                    <a:pt x="287179" y="79180"/>
                  </a:lnTo>
                  <a:cubicBezTo>
                    <a:pt x="293335" y="50922"/>
                    <a:pt x="321417" y="32965"/>
                    <a:pt x="349903" y="39072"/>
                  </a:cubicBezTo>
                  <a:cubicBezTo>
                    <a:pt x="370147" y="43412"/>
                    <a:pt x="385960" y="59098"/>
                    <a:pt x="390335" y="79180"/>
                  </a:cubicBezTo>
                  <a:lnTo>
                    <a:pt x="393573" y="94109"/>
                  </a:lnTo>
                  <a:lnTo>
                    <a:pt x="450723" y="94109"/>
                  </a:lnTo>
                  <a:lnTo>
                    <a:pt x="450723" y="165448"/>
                  </a:lnTo>
                  <a:lnTo>
                    <a:pt x="226790" y="165448"/>
                  </a:lnTo>
                  <a:lnTo>
                    <a:pt x="226790" y="94109"/>
                  </a:lnTo>
                  <a:close/>
                  <a:moveTo>
                    <a:pt x="639318" y="786801"/>
                  </a:moveTo>
                  <a:lnTo>
                    <a:pt x="38100" y="786801"/>
                  </a:lnTo>
                  <a:lnTo>
                    <a:pt x="38100" y="94109"/>
                  </a:lnTo>
                  <a:lnTo>
                    <a:pt x="188690" y="94109"/>
                  </a:lnTo>
                  <a:lnTo>
                    <a:pt x="188690" y="203243"/>
                  </a:lnTo>
                  <a:lnTo>
                    <a:pt x="488728" y="203243"/>
                  </a:lnTo>
                  <a:lnTo>
                    <a:pt x="488728" y="94109"/>
                  </a:lnTo>
                  <a:lnTo>
                    <a:pt x="639318" y="94109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7D09A10F-77CB-739E-F309-2378B0830C7A}"/>
                </a:ext>
              </a:extLst>
            </p:cNvPr>
            <p:cNvSpPr/>
            <p:nvPr/>
          </p:nvSpPr>
          <p:spPr>
            <a:xfrm>
              <a:off x="5881687" y="3208559"/>
              <a:ext cx="149161" cy="147968"/>
            </a:xfrm>
            <a:custGeom>
              <a:avLst/>
              <a:gdLst>
                <a:gd name="connsiteX0" fmla="*/ 0 w 149161"/>
                <a:gd name="connsiteY0" fmla="*/ 147968 h 147968"/>
                <a:gd name="connsiteX1" fmla="*/ 149162 w 149161"/>
                <a:gd name="connsiteY1" fmla="*/ 147968 h 147968"/>
                <a:gd name="connsiteX2" fmla="*/ 149162 w 149161"/>
                <a:gd name="connsiteY2" fmla="*/ 0 h 147968"/>
                <a:gd name="connsiteX3" fmla="*/ 0 w 149161"/>
                <a:gd name="connsiteY3" fmla="*/ 0 h 147968"/>
                <a:gd name="connsiteX4" fmla="*/ 38100 w 149161"/>
                <a:gd name="connsiteY4" fmla="*/ 37795 h 147968"/>
                <a:gd name="connsiteX5" fmla="*/ 111062 w 149161"/>
                <a:gd name="connsiteY5" fmla="*/ 37795 h 147968"/>
                <a:gd name="connsiteX6" fmla="*/ 111062 w 149161"/>
                <a:gd name="connsiteY6" fmla="*/ 110173 h 147968"/>
                <a:gd name="connsiteX7" fmla="*/ 38100 w 149161"/>
                <a:gd name="connsiteY7" fmla="*/ 110173 h 14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161" h="147968">
                  <a:moveTo>
                    <a:pt x="0" y="147968"/>
                  </a:moveTo>
                  <a:lnTo>
                    <a:pt x="149162" y="147968"/>
                  </a:lnTo>
                  <a:lnTo>
                    <a:pt x="149162" y="0"/>
                  </a:lnTo>
                  <a:lnTo>
                    <a:pt x="0" y="0"/>
                  </a:lnTo>
                  <a:close/>
                  <a:moveTo>
                    <a:pt x="38100" y="37795"/>
                  </a:moveTo>
                  <a:lnTo>
                    <a:pt x="111062" y="37795"/>
                  </a:lnTo>
                  <a:lnTo>
                    <a:pt x="111062" y="110173"/>
                  </a:lnTo>
                  <a:lnTo>
                    <a:pt x="38100" y="1101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69" name="Freeform 45">
              <a:extLst>
                <a:ext uri="{FF2B5EF4-FFF2-40B4-BE49-F238E27FC236}">
                  <a16:creationId xmlns:a16="http://schemas.microsoft.com/office/drawing/2014/main" id="{799F534B-8BB6-FF88-1D85-36E20FA4196B}"/>
                </a:ext>
              </a:extLst>
            </p:cNvPr>
            <p:cNvSpPr/>
            <p:nvPr/>
          </p:nvSpPr>
          <p:spPr>
            <a:xfrm>
              <a:off x="6079140" y="3263646"/>
              <a:ext cx="231171" cy="37795"/>
            </a:xfrm>
            <a:custGeom>
              <a:avLst/>
              <a:gdLst>
                <a:gd name="connsiteX0" fmla="*/ 0 w 231171"/>
                <a:gd name="connsiteY0" fmla="*/ 0 h 37795"/>
                <a:gd name="connsiteX1" fmla="*/ 231172 w 231171"/>
                <a:gd name="connsiteY1" fmla="*/ 0 h 37795"/>
                <a:gd name="connsiteX2" fmla="*/ 231172 w 231171"/>
                <a:gd name="connsiteY2" fmla="*/ 37795 h 37795"/>
                <a:gd name="connsiteX3" fmla="*/ 0 w 231171"/>
                <a:gd name="connsiteY3" fmla="*/ 37795 h 3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171" h="37795">
                  <a:moveTo>
                    <a:pt x="0" y="0"/>
                  </a:moveTo>
                  <a:lnTo>
                    <a:pt x="231172" y="0"/>
                  </a:lnTo>
                  <a:lnTo>
                    <a:pt x="231172" y="37795"/>
                  </a:lnTo>
                  <a:lnTo>
                    <a:pt x="0" y="377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0" name="Freeform 46">
              <a:extLst>
                <a:ext uri="{FF2B5EF4-FFF2-40B4-BE49-F238E27FC236}">
                  <a16:creationId xmlns:a16="http://schemas.microsoft.com/office/drawing/2014/main" id="{DCA79E9F-FDB9-5F5A-E1C3-12CAD396D5FD}"/>
                </a:ext>
              </a:extLst>
            </p:cNvPr>
            <p:cNvSpPr/>
            <p:nvPr/>
          </p:nvSpPr>
          <p:spPr>
            <a:xfrm>
              <a:off x="5881687" y="3435330"/>
              <a:ext cx="149161" cy="147968"/>
            </a:xfrm>
            <a:custGeom>
              <a:avLst/>
              <a:gdLst>
                <a:gd name="connsiteX0" fmla="*/ 0 w 149161"/>
                <a:gd name="connsiteY0" fmla="*/ 147968 h 147968"/>
                <a:gd name="connsiteX1" fmla="*/ 149162 w 149161"/>
                <a:gd name="connsiteY1" fmla="*/ 147968 h 147968"/>
                <a:gd name="connsiteX2" fmla="*/ 149162 w 149161"/>
                <a:gd name="connsiteY2" fmla="*/ 0 h 147968"/>
                <a:gd name="connsiteX3" fmla="*/ 0 w 149161"/>
                <a:gd name="connsiteY3" fmla="*/ 0 h 147968"/>
                <a:gd name="connsiteX4" fmla="*/ 38100 w 149161"/>
                <a:gd name="connsiteY4" fmla="*/ 37795 h 147968"/>
                <a:gd name="connsiteX5" fmla="*/ 111062 w 149161"/>
                <a:gd name="connsiteY5" fmla="*/ 37795 h 147968"/>
                <a:gd name="connsiteX6" fmla="*/ 111062 w 149161"/>
                <a:gd name="connsiteY6" fmla="*/ 110173 h 147968"/>
                <a:gd name="connsiteX7" fmla="*/ 38100 w 149161"/>
                <a:gd name="connsiteY7" fmla="*/ 110173 h 14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161" h="147968">
                  <a:moveTo>
                    <a:pt x="0" y="147968"/>
                  </a:moveTo>
                  <a:lnTo>
                    <a:pt x="149162" y="147968"/>
                  </a:lnTo>
                  <a:lnTo>
                    <a:pt x="149162" y="0"/>
                  </a:lnTo>
                  <a:lnTo>
                    <a:pt x="0" y="0"/>
                  </a:lnTo>
                  <a:close/>
                  <a:moveTo>
                    <a:pt x="38100" y="37795"/>
                  </a:moveTo>
                  <a:lnTo>
                    <a:pt x="111062" y="37795"/>
                  </a:lnTo>
                  <a:lnTo>
                    <a:pt x="111062" y="110173"/>
                  </a:lnTo>
                  <a:lnTo>
                    <a:pt x="38100" y="1101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1" name="Freeform 47">
              <a:extLst>
                <a:ext uri="{FF2B5EF4-FFF2-40B4-BE49-F238E27FC236}">
                  <a16:creationId xmlns:a16="http://schemas.microsoft.com/office/drawing/2014/main" id="{DE427F10-C7E8-FDEE-1CE1-7C7769D29AE0}"/>
                </a:ext>
              </a:extLst>
            </p:cNvPr>
            <p:cNvSpPr/>
            <p:nvPr/>
          </p:nvSpPr>
          <p:spPr>
            <a:xfrm>
              <a:off x="6079140" y="3490417"/>
              <a:ext cx="231171" cy="37795"/>
            </a:xfrm>
            <a:custGeom>
              <a:avLst/>
              <a:gdLst>
                <a:gd name="connsiteX0" fmla="*/ 0 w 231171"/>
                <a:gd name="connsiteY0" fmla="*/ 0 h 37795"/>
                <a:gd name="connsiteX1" fmla="*/ 231172 w 231171"/>
                <a:gd name="connsiteY1" fmla="*/ 0 h 37795"/>
                <a:gd name="connsiteX2" fmla="*/ 231172 w 231171"/>
                <a:gd name="connsiteY2" fmla="*/ 37795 h 37795"/>
                <a:gd name="connsiteX3" fmla="*/ 0 w 231171"/>
                <a:gd name="connsiteY3" fmla="*/ 37795 h 3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171" h="37795">
                  <a:moveTo>
                    <a:pt x="0" y="0"/>
                  </a:moveTo>
                  <a:lnTo>
                    <a:pt x="231172" y="0"/>
                  </a:lnTo>
                  <a:lnTo>
                    <a:pt x="231172" y="37795"/>
                  </a:lnTo>
                  <a:lnTo>
                    <a:pt x="0" y="377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sp>
        <p:nvSpPr>
          <p:cNvPr id="74" name="TextBox 33">
            <a:extLst>
              <a:ext uri="{FF2B5EF4-FFF2-40B4-BE49-F238E27FC236}">
                <a16:creationId xmlns:a16="http://schemas.microsoft.com/office/drawing/2014/main" id="{AEFD2E9B-5C6F-999A-AE40-9F58EC96418E}"/>
              </a:ext>
            </a:extLst>
          </p:cNvPr>
          <p:cNvSpPr txBox="1"/>
          <p:nvPr/>
        </p:nvSpPr>
        <p:spPr bwMode="gray">
          <a:xfrm>
            <a:off x="6352163" y="2393247"/>
            <a:ext cx="1654478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Canale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rial" charset="0"/>
            </a:endParaRPr>
          </a:p>
        </p:txBody>
      </p:sp>
      <p:cxnSp>
        <p:nvCxnSpPr>
          <p:cNvPr id="75" name="Straight Connector 48">
            <a:extLst>
              <a:ext uri="{FF2B5EF4-FFF2-40B4-BE49-F238E27FC236}">
                <a16:creationId xmlns:a16="http://schemas.microsoft.com/office/drawing/2014/main" id="{D832014C-AE62-6305-4C2E-8017B0D37025}"/>
              </a:ext>
            </a:extLst>
          </p:cNvPr>
          <p:cNvCxnSpPr/>
          <p:nvPr/>
        </p:nvCxnSpPr>
        <p:spPr>
          <a:xfrm>
            <a:off x="5856347" y="2872119"/>
            <a:ext cx="2304000" cy="0"/>
          </a:xfrm>
          <a:prstGeom prst="line">
            <a:avLst/>
          </a:prstGeom>
          <a:ln w="190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7" name="Picture 2">
            <a:extLst>
              <a:ext uri="{FF2B5EF4-FFF2-40B4-BE49-F238E27FC236}">
                <a16:creationId xmlns:a16="http://schemas.microsoft.com/office/drawing/2014/main" id="{4F70A779-1441-C3F2-E847-EA730DD16C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369" y="1173135"/>
            <a:ext cx="706239" cy="668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3">
            <a:extLst>
              <a:ext uri="{FF2B5EF4-FFF2-40B4-BE49-F238E27FC236}">
                <a16:creationId xmlns:a16="http://schemas.microsoft.com/office/drawing/2014/main" id="{862DF9C1-C17E-29D2-7B71-49054F298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498" y="1171216"/>
            <a:ext cx="698420" cy="671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870537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WhatsApp Video 2023-10-09 at 5.16.15 PM">
            <a:hlinkClick r:id="" action="ppaction://media"/>
            <a:extLst>
              <a:ext uri="{FF2B5EF4-FFF2-40B4-BE49-F238E27FC236}">
                <a16:creationId xmlns:a16="http://schemas.microsoft.com/office/drawing/2014/main" id="{C20991ED-9684-63B2-8DCD-CE694967FF69}"/>
              </a:ext>
            </a:extLst>
          </p:cNvPr>
          <p:cNvPicPr>
            <a:picLocks noGrp="1" noChangeAspect="1"/>
          </p:cNvPicPr>
          <p:nvPr>
            <p:ph type="pic" sz="quarter" idx="14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33677" r="17220"/>
          <a:stretch/>
        </p:blipFill>
        <p:spPr>
          <a:xfrm>
            <a:off x="6214089" y="6350"/>
            <a:ext cx="5981075" cy="685165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 err="1"/>
              <a:t>Exteriores</a:t>
            </a:r>
            <a:br>
              <a:rPr lang="en-GB" dirty="0"/>
            </a:br>
            <a:r>
              <a:rPr lang="en-GB" dirty="0">
                <a:solidFill>
                  <a:schemeClr val="tx2"/>
                </a:solidFill>
              </a:rPr>
              <a:t>Valla 9x12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3" y="2759685"/>
            <a:ext cx="236083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xxxxxxxxxxx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296588" y="2759685"/>
            <a:ext cx="23914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xxxxxxxxxx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1975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97981C-7BD0-9B2D-BF62-60E1A1A7304D}"/>
              </a:ext>
            </a:extLst>
          </p:cNvPr>
          <p:cNvSpPr txBox="1"/>
          <p:nvPr/>
        </p:nvSpPr>
        <p:spPr>
          <a:xfrm>
            <a:off x="2272731" y="5364143"/>
            <a:ext cx="582963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xxxxxxxxxxxxxxxxxx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30" name="Rectángulo 29">
            <a:extLst>
              <a:ext uri="{FF2B5EF4-FFF2-40B4-BE49-F238E27FC236}">
                <a16:creationId xmlns:a16="http://schemas.microsoft.com/office/drawing/2014/main" id="{B17BD2C0-6419-DFDA-A6B7-C30E71F2200A}"/>
              </a:ext>
            </a:extLst>
          </p:cNvPr>
          <p:cNvSpPr/>
          <p:nvPr/>
        </p:nvSpPr>
        <p:spPr>
          <a:xfrm>
            <a:off x="-16342" y="3384264"/>
            <a:ext cx="5877760" cy="1088701"/>
          </a:xfrm>
          <a:prstGeom prst="rect">
            <a:avLst/>
          </a:prstGeom>
          <a:solidFill>
            <a:srgbClr val="FBB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200" b="1" dirty="0">
                <a:solidFill>
                  <a:schemeClr val="tx1"/>
                </a:solidFill>
              </a:rPr>
              <a:t>La propuesta se puede relacionar tanto a motivos de alcance, relevancia, impacto, como también algo muy táctico “amarrado” a HVA y HVM</a:t>
            </a:r>
          </a:p>
        </p:txBody>
      </p:sp>
    </p:spTree>
    <p:extLst>
      <p:ext uri="{BB962C8B-B14F-4D97-AF65-F5344CB8AC3E}">
        <p14:creationId xmlns:p14="http://schemas.microsoft.com/office/powerpoint/2010/main" val="3170960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69" fill="hold"/>
                                        <p:tgtEl>
                                          <p:spTgt spid="2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9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29"/>
                </p:tgtEl>
              </p:cMediaNode>
            </p:video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Marcador de posición de imagen 17">
            <a:extLst>
              <a:ext uri="{FF2B5EF4-FFF2-40B4-BE49-F238E27FC236}">
                <a16:creationId xmlns:a16="http://schemas.microsoft.com/office/drawing/2014/main" id="{296611B0-CCCE-EBF5-927D-2D4E25C857C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/>
          <a:srcRect l="1096" r="1096"/>
          <a:stretch>
            <a:fillRect/>
          </a:stretch>
        </p:blipFill>
        <p:spPr>
          <a:xfrm>
            <a:off x="6096000" y="6350"/>
            <a:ext cx="6096000" cy="685165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Radio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Segmento</a:t>
            </a:r>
            <a:r>
              <a:rPr lang="en-GB" dirty="0">
                <a:solidFill>
                  <a:schemeClr val="tx2"/>
                </a:solidFill>
              </a:rPr>
              <a:t>/</a:t>
            </a:r>
            <a:r>
              <a:rPr lang="en-GB" dirty="0" err="1">
                <a:solidFill>
                  <a:schemeClr val="tx2"/>
                </a:solidFill>
              </a:rPr>
              <a:t>patrocinio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3" y="2759685"/>
            <a:ext cx="236083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xxxxxxxxxxx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296588" y="2759685"/>
            <a:ext cx="23914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xxxxxxxxxx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1975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97981C-7BD0-9B2D-BF62-60E1A1A7304D}"/>
              </a:ext>
            </a:extLst>
          </p:cNvPr>
          <p:cNvSpPr txBox="1"/>
          <p:nvPr/>
        </p:nvSpPr>
        <p:spPr>
          <a:xfrm>
            <a:off x="2272731" y="5364143"/>
            <a:ext cx="582963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xxxxxxxxxxxxxxxxxx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30" name="Rectángulo 29">
            <a:extLst>
              <a:ext uri="{FF2B5EF4-FFF2-40B4-BE49-F238E27FC236}">
                <a16:creationId xmlns:a16="http://schemas.microsoft.com/office/drawing/2014/main" id="{B17BD2C0-6419-DFDA-A6B7-C30E71F2200A}"/>
              </a:ext>
            </a:extLst>
          </p:cNvPr>
          <p:cNvSpPr/>
          <p:nvPr/>
        </p:nvSpPr>
        <p:spPr>
          <a:xfrm>
            <a:off x="-16342" y="3384264"/>
            <a:ext cx="5877760" cy="1088701"/>
          </a:xfrm>
          <a:prstGeom prst="rect">
            <a:avLst/>
          </a:prstGeom>
          <a:solidFill>
            <a:srgbClr val="FBB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200" b="1" dirty="0">
                <a:solidFill>
                  <a:schemeClr val="tx1"/>
                </a:solidFill>
              </a:rPr>
              <a:t>La propuesta se puede relacionar tanto a motivos de alcance, relevancia, impacto, como también algo muy táctico “amarrado” a HVA y HVM</a:t>
            </a:r>
          </a:p>
        </p:txBody>
      </p:sp>
      <p:pic>
        <p:nvPicPr>
          <p:cNvPr id="19" name="Picture 4" descr="page18image1786144">
            <a:extLst>
              <a:ext uri="{FF2B5EF4-FFF2-40B4-BE49-F238E27FC236}">
                <a16:creationId xmlns:a16="http://schemas.microsoft.com/office/drawing/2014/main" id="{9F1CC840-1C21-2B0A-FFC3-32705F657D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31613" y="74700"/>
            <a:ext cx="1950335" cy="1547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DEMO UN SIX PALAS 6">
            <a:hlinkClick r:id="" action="ppaction://media"/>
            <a:extLst>
              <a:ext uri="{FF2B5EF4-FFF2-40B4-BE49-F238E27FC236}">
                <a16:creationId xmlns:a16="http://schemas.microsoft.com/office/drawing/2014/main" id="{25B8E9D5-B91F-4F95-0C94-B77782FDB255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116126" y="3434746"/>
            <a:ext cx="907615" cy="907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24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6709" fill="hold"/>
                                        <p:tgtEl>
                                          <p:spTgt spid="2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0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0"/>
                </p:tgtEl>
              </p:cMediaNode>
            </p:audio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Vector De Icono De Botón De Bandera De País Nacional Redondeado Plano De El  Salvador Ilustraciones svg, vectoriales, clip art vectorizado libre de  derechos. Image 190181485">
            <a:extLst>
              <a:ext uri="{FF2B5EF4-FFF2-40B4-BE49-F238E27FC236}">
                <a16:creationId xmlns:a16="http://schemas.microsoft.com/office/drawing/2014/main" id="{A6C381A1-2B24-F982-6210-350D9CC8DD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42" y="3878009"/>
            <a:ext cx="1467098" cy="1173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Tomándole fotos a la comida... - Anayanci Nangullasmú">
            <a:extLst>
              <a:ext uri="{FF2B5EF4-FFF2-40B4-BE49-F238E27FC236}">
                <a16:creationId xmlns:a16="http://schemas.microsoft.com/office/drawing/2014/main" id="{F542B83B-4D02-5B88-8315-3BB359EC83F7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3" r="16123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955D7F7-FCF9-A93A-3DC7-DD6304753E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en-GB" sz="4400" dirty="0"/>
              <a:t>EL SALVADOR</a:t>
            </a:r>
          </a:p>
          <a:p>
            <a:pPr lvl="0"/>
            <a:r>
              <a:rPr lang="en-GB" sz="4400" dirty="0"/>
              <a:t>Blueprint 2025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282E3B8-42B8-09BF-771A-71CE3A56B1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6480" y="5250510"/>
            <a:ext cx="8774265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95515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29">
            <a:extLst>
              <a:ext uri="{FF2B5EF4-FFF2-40B4-BE49-F238E27FC236}">
                <a16:creationId xmlns:a16="http://schemas.microsoft.com/office/drawing/2014/main" id="{C04663AE-470C-7C24-648A-15750E5F2A15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0F0F0"/>
              </a:clrFrom>
              <a:clrTo>
                <a:srgbClr val="F0F0F0">
                  <a:alpha val="0"/>
                </a:srgbClr>
              </a:clrTo>
            </a:clrChange>
          </a:blip>
          <a:srcRect/>
          <a:stretch/>
        </p:blipFill>
        <p:spPr>
          <a:xfrm>
            <a:off x="895773" y="3997929"/>
            <a:ext cx="933836" cy="933836"/>
          </a:xfrm>
          <a:prstGeom prst="rect">
            <a:avLst/>
          </a:prstGeom>
        </p:spPr>
      </p:pic>
      <p:pic>
        <p:nvPicPr>
          <p:cNvPr id="1028" name="Picture 4" descr="Tomándole fotos a la comida... - Anayanci Nangullasmú">
            <a:extLst>
              <a:ext uri="{FF2B5EF4-FFF2-40B4-BE49-F238E27FC236}">
                <a16:creationId xmlns:a16="http://schemas.microsoft.com/office/drawing/2014/main" id="{F542B83B-4D02-5B88-8315-3BB359EC83F7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3" r="16123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955D7F7-FCF9-A93A-3DC7-DD6304753E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en-GB" sz="4400" dirty="0"/>
              <a:t>HONDURAS</a:t>
            </a:r>
          </a:p>
          <a:p>
            <a:pPr lvl="0"/>
            <a:r>
              <a:rPr lang="en-GB" sz="4400" dirty="0"/>
              <a:t>Blueprint 2025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282E3B8-42B8-09BF-771A-71CE3A56B1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6480" y="5250510"/>
            <a:ext cx="8774265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97382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ndera circular de nicaragua. 11571441 PNG">
            <a:extLst>
              <a:ext uri="{FF2B5EF4-FFF2-40B4-BE49-F238E27FC236}">
                <a16:creationId xmlns:a16="http://schemas.microsoft.com/office/drawing/2014/main" id="{9503C8AF-7BC2-1AC6-4A64-4FD698A0C6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9F9F9"/>
              </a:clrFrom>
              <a:clrTo>
                <a:srgbClr val="F9F9F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773" y="3997929"/>
            <a:ext cx="933837" cy="933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Tomándole fotos a la comida... - Anayanci Nangullasmú">
            <a:extLst>
              <a:ext uri="{FF2B5EF4-FFF2-40B4-BE49-F238E27FC236}">
                <a16:creationId xmlns:a16="http://schemas.microsoft.com/office/drawing/2014/main" id="{F542B83B-4D02-5B88-8315-3BB359EC83F7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3" r="16123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955D7F7-FCF9-A93A-3DC7-DD6304753E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en-GB" sz="4400" dirty="0"/>
              <a:t>NICARAGUA</a:t>
            </a:r>
          </a:p>
          <a:p>
            <a:pPr lvl="0"/>
            <a:r>
              <a:rPr lang="en-GB" sz="4400" dirty="0"/>
              <a:t>Blueprint 2025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282E3B8-42B8-09BF-771A-71CE3A56B1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6480" y="5250510"/>
            <a:ext cx="8774265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41328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Bandera Redonda de Costa Rica SVG Bandera Circular - Etsy España">
            <a:extLst>
              <a:ext uri="{FF2B5EF4-FFF2-40B4-BE49-F238E27FC236}">
                <a16:creationId xmlns:a16="http://schemas.microsoft.com/office/drawing/2014/main" id="{2399B26C-3512-F1AD-A0F4-48E300AE04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48" t="9954" r="21824" b="19125"/>
          <a:stretch/>
        </p:blipFill>
        <p:spPr bwMode="auto">
          <a:xfrm>
            <a:off x="895773" y="3989262"/>
            <a:ext cx="933837" cy="937276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Tomándole fotos a la comida... - Anayanci Nangullasmú">
            <a:extLst>
              <a:ext uri="{FF2B5EF4-FFF2-40B4-BE49-F238E27FC236}">
                <a16:creationId xmlns:a16="http://schemas.microsoft.com/office/drawing/2014/main" id="{F542B83B-4D02-5B88-8315-3BB359EC83F7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3" r="16123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955D7F7-FCF9-A93A-3DC7-DD6304753E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en-GB" sz="4400" dirty="0"/>
              <a:t>COSTA RICA</a:t>
            </a:r>
          </a:p>
          <a:p>
            <a:pPr lvl="0"/>
            <a:r>
              <a:rPr lang="en-GB" sz="4400" dirty="0"/>
              <a:t>Blueprint 2025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282E3B8-42B8-09BF-771A-71CE3A56B1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6480" y="5250510"/>
            <a:ext cx="8774265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4374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pie de página 8">
            <a:extLst>
              <a:ext uri="{FF2B5EF4-FFF2-40B4-BE49-F238E27FC236}">
                <a16:creationId xmlns:a16="http://schemas.microsoft.com/office/drawing/2014/main" id="{A3BBF1C0-CE8D-2160-3B15-FAEF925C79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Fuente:</a:t>
            </a:r>
          </a:p>
        </p:txBody>
      </p:sp>
      <p:sp>
        <p:nvSpPr>
          <p:cNvPr id="10" name="Marcador de número de diapositiva 9">
            <a:extLst>
              <a:ext uri="{FF2B5EF4-FFF2-40B4-BE49-F238E27FC236}">
                <a16:creationId xmlns:a16="http://schemas.microsoft.com/office/drawing/2014/main" id="{83289819-6AB7-E359-17A0-1DF6FE390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5</a:t>
            </a:fld>
            <a:endParaRPr lang="es-MX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5E47CE2-9852-3412-34A6-ED5F5D7A8F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914400"/>
            <a:r>
              <a:rPr lang="es-MX" sz="1800">
                <a:gradFill>
                  <a:gsLst>
                    <a:gs pos="0">
                      <a:srgbClr val="00BCFF"/>
                    </a:gs>
                    <a:gs pos="99000">
                      <a:srgbClr val="89D328"/>
                    </a:gs>
                  </a:gsLst>
                  <a:lin ang="0" scaled="1"/>
                </a:gradFill>
                <a:cs typeface="Poppins SemiBold" pitchFamily="2" charset="77"/>
              </a:rPr>
              <a:t>[INCLUIR TENDENCIA RELEVANTE EN UNA FRASE]</a:t>
            </a:r>
          </a:p>
          <a:p>
            <a:r>
              <a:rPr lang="es-MX"/>
              <a:t>Ligero párrafo para contar tendencia (Fuente puede ser </a:t>
            </a:r>
            <a:r>
              <a:rPr lang="es-MX" err="1"/>
              <a:t>Euromonitor</a:t>
            </a:r>
            <a:r>
              <a:rPr lang="es-MX"/>
              <a:t>)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7CE5A5C6-C50F-20F1-247C-1273ABD5F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4308395" cy="1088701"/>
          </a:xfrm>
        </p:spPr>
        <p:txBody>
          <a:bodyPr/>
          <a:lstStyle/>
          <a:p>
            <a:r>
              <a:rPr lang="es-MX" sz="2400" b="1"/>
              <a:t>Contexto de mercado</a:t>
            </a:r>
            <a:br>
              <a:rPr lang="es-MX" b="1"/>
            </a:br>
            <a:r>
              <a:rPr lang="es-MX" sz="1600"/>
              <a:t>¿Qué puede impactar a la categoría ?</a:t>
            </a:r>
            <a:endParaRPr lang="es-MX" b="1"/>
          </a:p>
        </p:txBody>
      </p:sp>
      <p:sp>
        <p:nvSpPr>
          <p:cNvPr id="4" name="Rectangle 29">
            <a:extLst>
              <a:ext uri="{FF2B5EF4-FFF2-40B4-BE49-F238E27FC236}">
                <a16:creationId xmlns:a16="http://schemas.microsoft.com/office/drawing/2014/main" id="{4A5323EB-9522-EEE1-A390-F48CD11379D1}"/>
              </a:ext>
            </a:extLst>
          </p:cNvPr>
          <p:cNvSpPr/>
          <p:nvPr/>
        </p:nvSpPr>
        <p:spPr>
          <a:xfrm>
            <a:off x="5788583" y="702449"/>
            <a:ext cx="2656718" cy="2565887"/>
          </a:xfrm>
          <a:prstGeom prst="roundRect">
            <a:avLst/>
          </a:prstGeom>
          <a:noFill/>
          <a:ln w="19050" cap="flat" cmpd="sng" algn="ctr">
            <a:gradFill>
              <a:gsLst>
                <a:gs pos="0">
                  <a:srgbClr val="00BCFF"/>
                </a:gs>
                <a:gs pos="100000">
                  <a:srgbClr val="89D328"/>
                </a:gs>
              </a:gsLst>
              <a:lin ang="5400000" scaled="1"/>
            </a:gradFill>
            <a:prstDash val="solid"/>
            <a:miter lim="800000"/>
            <a:tailEnd type="none"/>
          </a:ln>
          <a:effectLst/>
        </p:spPr>
        <p:txBody>
          <a:bodyPr lIns="72000" rIns="72000" rtlCol="0" anchor="t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200" b="1" kern="0">
                <a:solidFill>
                  <a:srgbClr val="0A0F0D"/>
                </a:solidFill>
              </a:rPr>
              <a:t>MERCADO &amp; ECONOMÍA</a:t>
            </a:r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200" kern="0">
                <a:solidFill>
                  <a:srgbClr val="0A0F0D"/>
                </a:solidFill>
              </a:rPr>
              <a:t>Lorem Ipsum</a:t>
            </a:r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GB" sz="1200" b="1" kern="0">
              <a:solidFill>
                <a:srgbClr val="0A0F0D"/>
              </a:solidFill>
            </a:endParaRPr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GB" sz="1200" b="1" kern="0">
              <a:solidFill>
                <a:srgbClr val="0A0F0D"/>
              </a:solidFill>
            </a:endParaRPr>
          </a:p>
        </p:txBody>
      </p:sp>
      <p:sp>
        <p:nvSpPr>
          <p:cNvPr id="5" name="Rectangle 29">
            <a:extLst>
              <a:ext uri="{FF2B5EF4-FFF2-40B4-BE49-F238E27FC236}">
                <a16:creationId xmlns:a16="http://schemas.microsoft.com/office/drawing/2014/main" id="{09CE0E1E-71DA-5767-68A6-3D032A9075C7}"/>
              </a:ext>
            </a:extLst>
          </p:cNvPr>
          <p:cNvSpPr/>
          <p:nvPr/>
        </p:nvSpPr>
        <p:spPr>
          <a:xfrm>
            <a:off x="8749469" y="702448"/>
            <a:ext cx="2656718" cy="2565887"/>
          </a:xfrm>
          <a:prstGeom prst="roundRect">
            <a:avLst/>
          </a:prstGeom>
          <a:noFill/>
          <a:ln w="19050" cap="flat" cmpd="sng" algn="ctr">
            <a:gradFill>
              <a:gsLst>
                <a:gs pos="0">
                  <a:srgbClr val="00BCFF"/>
                </a:gs>
                <a:gs pos="100000">
                  <a:srgbClr val="89D328"/>
                </a:gs>
              </a:gsLst>
              <a:lin ang="5400000" scaled="1"/>
            </a:gradFill>
            <a:prstDash val="solid"/>
            <a:miter lim="800000"/>
            <a:tailEnd type="none"/>
          </a:ln>
          <a:effectLst/>
        </p:spPr>
        <p:txBody>
          <a:bodyPr lIns="72000" rIns="72000" rtlCol="0" anchor="t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200" b="1" kern="0">
                <a:solidFill>
                  <a:srgbClr val="0A0F0D"/>
                </a:solidFill>
              </a:rPr>
              <a:t>COMPETIDORES PRINCIPALES</a:t>
            </a:r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200" kern="0">
                <a:solidFill>
                  <a:srgbClr val="0A0F0D"/>
                </a:solidFill>
              </a:rPr>
              <a:t>Lorem ipsum…</a:t>
            </a:r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GB" sz="1200" b="1" kern="0">
              <a:solidFill>
                <a:srgbClr val="0A0F0D"/>
              </a:solidFill>
            </a:endParaRPr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GB" sz="1200" b="1" kern="0">
              <a:solidFill>
                <a:srgbClr val="0A0F0D"/>
              </a:solidFill>
            </a:endParaRPr>
          </a:p>
        </p:txBody>
      </p:sp>
      <p:sp>
        <p:nvSpPr>
          <p:cNvPr id="6" name="Rectangle 29">
            <a:extLst>
              <a:ext uri="{FF2B5EF4-FFF2-40B4-BE49-F238E27FC236}">
                <a16:creationId xmlns:a16="http://schemas.microsoft.com/office/drawing/2014/main" id="{A14C7D22-8E83-7B40-B478-4C8965AD1526}"/>
              </a:ext>
            </a:extLst>
          </p:cNvPr>
          <p:cNvSpPr/>
          <p:nvPr/>
        </p:nvSpPr>
        <p:spPr>
          <a:xfrm>
            <a:off x="5788583" y="3581572"/>
            <a:ext cx="2656718" cy="2565887"/>
          </a:xfrm>
          <a:prstGeom prst="roundRect">
            <a:avLst/>
          </a:prstGeom>
          <a:noFill/>
          <a:ln w="19050" cap="flat" cmpd="sng" algn="ctr">
            <a:gradFill>
              <a:gsLst>
                <a:gs pos="0">
                  <a:srgbClr val="00BCFF"/>
                </a:gs>
                <a:gs pos="100000">
                  <a:srgbClr val="89D328"/>
                </a:gs>
              </a:gsLst>
              <a:lin ang="5400000" scaled="1"/>
            </a:gradFill>
            <a:prstDash val="solid"/>
            <a:miter lim="800000"/>
            <a:tailEnd type="none"/>
          </a:ln>
          <a:effectLst/>
        </p:spPr>
        <p:txBody>
          <a:bodyPr lIns="72000" rIns="72000" rtlCol="0" anchor="t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200" b="1" kern="0">
                <a:solidFill>
                  <a:srgbClr val="0A0F0D"/>
                </a:solidFill>
              </a:rPr>
              <a:t>INDUSTRIA &amp; CATEGORIA</a:t>
            </a:r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200" kern="0">
                <a:solidFill>
                  <a:srgbClr val="0A0F0D"/>
                </a:solidFill>
              </a:rPr>
              <a:t>Lorem ipsum…</a:t>
            </a:r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GB" sz="1200" b="1" kern="0">
              <a:solidFill>
                <a:srgbClr val="0A0F0D"/>
              </a:solidFill>
            </a:endParaRPr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GB" sz="1200" b="1" kern="0">
              <a:solidFill>
                <a:srgbClr val="0A0F0D"/>
              </a:solidFill>
            </a:endParaRPr>
          </a:p>
        </p:txBody>
      </p:sp>
      <p:sp>
        <p:nvSpPr>
          <p:cNvPr id="7" name="Rectangle 29">
            <a:extLst>
              <a:ext uri="{FF2B5EF4-FFF2-40B4-BE49-F238E27FC236}">
                <a16:creationId xmlns:a16="http://schemas.microsoft.com/office/drawing/2014/main" id="{661C8FD1-B2D7-7011-ADC4-B6509B13504F}"/>
              </a:ext>
            </a:extLst>
          </p:cNvPr>
          <p:cNvSpPr/>
          <p:nvPr/>
        </p:nvSpPr>
        <p:spPr>
          <a:xfrm>
            <a:off x="8749469" y="3581571"/>
            <a:ext cx="2656718" cy="2565887"/>
          </a:xfrm>
          <a:prstGeom prst="roundRect">
            <a:avLst/>
          </a:prstGeom>
          <a:noFill/>
          <a:ln w="19050" cap="flat" cmpd="sng" algn="ctr">
            <a:gradFill>
              <a:gsLst>
                <a:gs pos="0">
                  <a:srgbClr val="00BCFF"/>
                </a:gs>
                <a:gs pos="100000">
                  <a:srgbClr val="89D328"/>
                </a:gs>
              </a:gsLst>
              <a:lin ang="5400000" scaled="1"/>
            </a:gradFill>
            <a:prstDash val="solid"/>
            <a:miter lim="800000"/>
            <a:tailEnd type="none"/>
          </a:ln>
          <a:effectLst/>
        </p:spPr>
        <p:txBody>
          <a:bodyPr lIns="72000" rIns="72000" rtlCol="0" anchor="t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200" b="1" kern="0">
                <a:solidFill>
                  <a:srgbClr val="0A0F0D"/>
                </a:solidFill>
              </a:rPr>
              <a:t>MEDIOS UTILIZADOS POR LOS COMPETIDORES</a:t>
            </a:r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n-GB" sz="1200" kern="0">
                <a:solidFill>
                  <a:srgbClr val="0A0F0D"/>
                </a:solidFill>
              </a:rPr>
              <a:t>Lorem ipsum…</a:t>
            </a:r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GB" sz="1200" b="1" kern="0">
              <a:solidFill>
                <a:srgbClr val="0A0F0D"/>
              </a:solidFill>
            </a:endParaRPr>
          </a:p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GB" sz="1200" b="1" kern="0">
              <a:solidFill>
                <a:srgbClr val="0A0F0D"/>
              </a:solidFill>
            </a:endParaRPr>
          </a:p>
        </p:txBody>
      </p:sp>
      <p:sp>
        <p:nvSpPr>
          <p:cNvPr id="18" name="Round Same-side Corner of Rectangle 7">
            <a:extLst>
              <a:ext uri="{FF2B5EF4-FFF2-40B4-BE49-F238E27FC236}">
                <a16:creationId xmlns:a16="http://schemas.microsoft.com/office/drawing/2014/main" id="{0B4DEA1B-083D-33B9-193C-EB336C0CBE53}"/>
              </a:ext>
            </a:extLst>
          </p:cNvPr>
          <p:cNvSpPr/>
          <p:nvPr/>
        </p:nvSpPr>
        <p:spPr>
          <a:xfrm rot="10800000">
            <a:off x="10154862" y="-67235"/>
            <a:ext cx="1681453" cy="574871"/>
          </a:xfrm>
          <a:prstGeom prst="round2SameRect">
            <a:avLst>
              <a:gd name="adj1" fmla="val 24269"/>
              <a:gd name="adj2" fmla="val 0"/>
            </a:avLst>
          </a:prstGeom>
          <a:solidFill>
            <a:schemeClr val="bg2"/>
          </a:solidFill>
          <a:ln w="1270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19" name="Group 20">
            <a:extLst>
              <a:ext uri="{FF2B5EF4-FFF2-40B4-BE49-F238E27FC236}">
                <a16:creationId xmlns:a16="http://schemas.microsoft.com/office/drawing/2014/main" id="{CBB05900-5B30-951A-FFF9-A43B8CE457C5}"/>
              </a:ext>
            </a:extLst>
          </p:cNvPr>
          <p:cNvGrpSpPr/>
          <p:nvPr/>
        </p:nvGrpSpPr>
        <p:grpSpPr>
          <a:xfrm>
            <a:off x="10299629" y="124456"/>
            <a:ext cx="1446176" cy="307777"/>
            <a:chOff x="1940295" y="2086507"/>
            <a:chExt cx="3049919" cy="649088"/>
          </a:xfrm>
        </p:grpSpPr>
        <p:grpSp>
          <p:nvGrpSpPr>
            <p:cNvPr id="20" name="Group 21">
              <a:extLst>
                <a:ext uri="{FF2B5EF4-FFF2-40B4-BE49-F238E27FC236}">
                  <a16:creationId xmlns:a16="http://schemas.microsoft.com/office/drawing/2014/main" id="{C86ADF1D-4E48-532B-C635-A087A679D4E7}"/>
                </a:ext>
              </a:extLst>
            </p:cNvPr>
            <p:cNvGrpSpPr/>
            <p:nvPr/>
          </p:nvGrpSpPr>
          <p:grpSpPr>
            <a:xfrm>
              <a:off x="1940295" y="2112018"/>
              <a:ext cx="598067" cy="598067"/>
              <a:chOff x="8582452" y="2686901"/>
              <a:chExt cx="621171" cy="621171"/>
            </a:xfrm>
          </p:grpSpPr>
          <p:sp>
            <p:nvSpPr>
              <p:cNvPr id="22" name="Oval 33">
                <a:extLst>
                  <a:ext uri="{FF2B5EF4-FFF2-40B4-BE49-F238E27FC236}">
                    <a16:creationId xmlns:a16="http://schemas.microsoft.com/office/drawing/2014/main" id="{E45CABC9-F89D-32E3-7F0A-02F870017127}"/>
                  </a:ext>
                </a:extLst>
              </p:cNvPr>
              <p:cNvSpPr/>
              <p:nvPr/>
            </p:nvSpPr>
            <p:spPr>
              <a:xfrm>
                <a:off x="8582452" y="2686901"/>
                <a:ext cx="621171" cy="621171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pic>
            <p:nvPicPr>
              <p:cNvPr id="23" name="Graphic 37" descr="Triangle Ruler outline">
                <a:extLst>
                  <a:ext uri="{FF2B5EF4-FFF2-40B4-BE49-F238E27FC236}">
                    <a16:creationId xmlns:a16="http://schemas.microsoft.com/office/drawing/2014/main" id="{15292C77-0974-4DF3-7E74-A2C209039E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732494" y="2780237"/>
                <a:ext cx="390382" cy="390382"/>
              </a:xfrm>
              <a:prstGeom prst="rect">
                <a:avLst/>
              </a:prstGeom>
            </p:spPr>
          </p:pic>
        </p:grpSp>
        <p:sp>
          <p:nvSpPr>
            <p:cNvPr id="21" name="TextBox 22">
              <a:extLst>
                <a:ext uri="{FF2B5EF4-FFF2-40B4-BE49-F238E27FC236}">
                  <a16:creationId xmlns:a16="http://schemas.microsoft.com/office/drawing/2014/main" id="{6582BEFA-FDB2-746A-5158-03C3BE732571}"/>
                </a:ext>
              </a:extLst>
            </p:cNvPr>
            <p:cNvSpPr txBox="1"/>
            <p:nvPr/>
          </p:nvSpPr>
          <p:spPr>
            <a:xfrm>
              <a:off x="2518275" y="2086507"/>
              <a:ext cx="2471939" cy="64908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FC3D8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Alineación</a:t>
              </a:r>
              <a:endPara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FC3D8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endParaRPr>
            </a:p>
          </p:txBody>
        </p:sp>
      </p:grpSp>
      <p:sp>
        <p:nvSpPr>
          <p:cNvPr id="8" name="CuadroTexto 7">
            <a:extLst>
              <a:ext uri="{FF2B5EF4-FFF2-40B4-BE49-F238E27FC236}">
                <a16:creationId xmlns:a16="http://schemas.microsoft.com/office/drawing/2014/main" id="{210368D8-6A1E-C728-E744-F01EF9A3E414}"/>
              </a:ext>
            </a:extLst>
          </p:cNvPr>
          <p:cNvSpPr txBox="1"/>
          <p:nvPr/>
        </p:nvSpPr>
        <p:spPr>
          <a:xfrm>
            <a:off x="3085731" y="3318613"/>
            <a:ext cx="54057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AGENCIA LOCAL / BRIEF MARCA</a:t>
            </a:r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28382283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Ilustración de Círculo Bandera De Panamá y más Vectores Libres de Derechos  de Bandera - Bandera, Botón de campaña política, Frontera - iStock">
            <a:extLst>
              <a:ext uri="{FF2B5EF4-FFF2-40B4-BE49-F238E27FC236}">
                <a16:creationId xmlns:a16="http://schemas.microsoft.com/office/drawing/2014/main" id="{B028B96A-D6AF-DFE9-D78E-C5A50B045F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145" y="3974272"/>
            <a:ext cx="1285112" cy="937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Tomándole fotos a la comida... - Anayanci Nangullasmú">
            <a:extLst>
              <a:ext uri="{FF2B5EF4-FFF2-40B4-BE49-F238E27FC236}">
                <a16:creationId xmlns:a16="http://schemas.microsoft.com/office/drawing/2014/main" id="{F542B83B-4D02-5B88-8315-3BB359EC83F7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3" r="16123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955D7F7-FCF9-A93A-3DC7-DD6304753E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en-GB" sz="4400" dirty="0"/>
              <a:t>PANAMÁ</a:t>
            </a:r>
          </a:p>
          <a:p>
            <a:pPr lvl="0"/>
            <a:r>
              <a:rPr lang="en-GB" sz="4400" dirty="0"/>
              <a:t>Blueprint 2025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282E3B8-42B8-09BF-771A-71CE3A56B1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6480" y="5250510"/>
            <a:ext cx="8774265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28781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ndera Republica Dominicana Circulo PNG para descargar gratis">
            <a:extLst>
              <a:ext uri="{FF2B5EF4-FFF2-40B4-BE49-F238E27FC236}">
                <a16:creationId xmlns:a16="http://schemas.microsoft.com/office/drawing/2014/main" id="{A6FC6F15-448C-8CE1-646E-4F8DA75E3F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772" y="3992700"/>
            <a:ext cx="933838" cy="933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Tomándole fotos a la comida... - Anayanci Nangullasmú">
            <a:extLst>
              <a:ext uri="{FF2B5EF4-FFF2-40B4-BE49-F238E27FC236}">
                <a16:creationId xmlns:a16="http://schemas.microsoft.com/office/drawing/2014/main" id="{F542B83B-4D02-5B88-8315-3BB359EC83F7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3" r="16123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955D7F7-FCF9-A93A-3DC7-DD6304753E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0869" y="2546238"/>
            <a:ext cx="6509282" cy="1428034"/>
          </a:xfrm>
        </p:spPr>
        <p:txBody>
          <a:bodyPr/>
          <a:lstStyle/>
          <a:p>
            <a:pPr lvl="0"/>
            <a:r>
              <a:rPr lang="en-GB" sz="4400" dirty="0"/>
              <a:t>REPÚBLICA DOMINICANA</a:t>
            </a:r>
          </a:p>
          <a:p>
            <a:pPr lvl="0"/>
            <a:r>
              <a:rPr lang="en-GB" sz="4400" dirty="0"/>
              <a:t>Blueprint 2025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282E3B8-42B8-09BF-771A-71CE3A56B1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6480" y="5250510"/>
            <a:ext cx="8774265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35558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1">
            <a:extLst>
              <a:ext uri="{FF2B5EF4-FFF2-40B4-BE49-F238E27FC236}">
                <a16:creationId xmlns:a16="http://schemas.microsoft.com/office/drawing/2014/main" id="{129A87A1-094C-1FE7-D1D1-3CD416CE780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27" r="27"/>
          <a:stretch>
            <a:fillRect/>
          </a:stretch>
        </p:blipFill>
        <p:spPr/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0C1BD4EB-3868-4293-F6AB-14D40953A1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  <p:grpSp>
        <p:nvGrpSpPr>
          <p:cNvPr id="73" name="Group 72">
            <a:extLst>
              <a:ext uri="{FF2B5EF4-FFF2-40B4-BE49-F238E27FC236}">
                <a16:creationId xmlns:a16="http://schemas.microsoft.com/office/drawing/2014/main" id="{66D97D18-2DB0-6FBE-B247-5B32934FE7C4}"/>
              </a:ext>
            </a:extLst>
          </p:cNvPr>
          <p:cNvGrpSpPr/>
          <p:nvPr/>
        </p:nvGrpSpPr>
        <p:grpSpPr>
          <a:xfrm>
            <a:off x="5135467" y="0"/>
            <a:ext cx="7056533" cy="6858000"/>
            <a:chOff x="5135467" y="0"/>
            <a:chExt cx="7056533" cy="6858000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7B569BC-CDBB-27D6-16B1-09AA7992020C}"/>
                </a:ext>
              </a:extLst>
            </p:cNvPr>
            <p:cNvGrpSpPr/>
            <p:nvPr/>
          </p:nvGrpSpPr>
          <p:grpSpPr>
            <a:xfrm>
              <a:off x="5345289" y="389314"/>
              <a:ext cx="6062787" cy="6079372"/>
              <a:chOff x="5345289" y="389314"/>
              <a:chExt cx="6062787" cy="6079372"/>
            </a:xfrm>
          </p:grpSpPr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79DD9EB9-9A11-2052-2A63-F05E4DC9C5E8}"/>
                  </a:ext>
                </a:extLst>
              </p:cNvPr>
              <p:cNvSpPr/>
              <p:nvPr/>
            </p:nvSpPr>
            <p:spPr>
              <a:xfrm>
                <a:off x="5345289" y="389314"/>
                <a:ext cx="2979005" cy="2977535"/>
              </a:xfrm>
              <a:custGeom>
                <a:avLst/>
                <a:gdLst>
                  <a:gd name="connsiteX0" fmla="*/ 2572233 w 2573506"/>
                  <a:gd name="connsiteY0" fmla="*/ 0 h 2572236"/>
                  <a:gd name="connsiteX1" fmla="*/ 2572233 w 2573506"/>
                  <a:gd name="connsiteY1" fmla="*/ 142684 h 2572236"/>
                  <a:gd name="connsiteX2" fmla="*/ 2573506 w 2573506"/>
                  <a:gd name="connsiteY2" fmla="*/ 142684 h 2572236"/>
                  <a:gd name="connsiteX3" fmla="*/ 2573506 w 2573506"/>
                  <a:gd name="connsiteY3" fmla="*/ 1062736 h 2572236"/>
                  <a:gd name="connsiteX4" fmla="*/ 2572233 w 2573506"/>
                  <a:gd name="connsiteY4" fmla="*/ 1062736 h 2572236"/>
                  <a:gd name="connsiteX5" fmla="*/ 2572233 w 2573506"/>
                  <a:gd name="connsiteY5" fmla="*/ 1211105 h 2572236"/>
                  <a:gd name="connsiteX6" fmla="*/ 2572234 w 2573506"/>
                  <a:gd name="connsiteY6" fmla="*/ 1211105 h 2572236"/>
                  <a:gd name="connsiteX7" fmla="*/ 2572234 w 2573506"/>
                  <a:gd name="connsiteY7" fmla="*/ 1511286 h 2572236"/>
                  <a:gd name="connsiteX8" fmla="*/ 2504193 w 2573506"/>
                  <a:gd name="connsiteY8" fmla="*/ 1514721 h 2572236"/>
                  <a:gd name="connsiteX9" fmla="*/ 1502254 w 2573506"/>
                  <a:gd name="connsiteY9" fmla="*/ 2516661 h 2572236"/>
                  <a:gd name="connsiteX10" fmla="*/ 1499448 w 2573506"/>
                  <a:gd name="connsiteY10" fmla="*/ 2572236 h 2572236"/>
                  <a:gd name="connsiteX11" fmla="*/ 1224473 w 2573506"/>
                  <a:gd name="connsiteY11" fmla="*/ 2572236 h 2572236"/>
                  <a:gd name="connsiteX12" fmla="*/ 1224473 w 2573506"/>
                  <a:gd name="connsiteY12" fmla="*/ 2572235 h 2572236"/>
                  <a:gd name="connsiteX13" fmla="*/ 1116361 w 2573506"/>
                  <a:gd name="connsiteY13" fmla="*/ 2572235 h 2572236"/>
                  <a:gd name="connsiteX14" fmla="*/ 825525 w 2573506"/>
                  <a:gd name="connsiteY14" fmla="*/ 2572235 h 2572236"/>
                  <a:gd name="connsiteX15" fmla="*/ 383107 w 2573506"/>
                  <a:gd name="connsiteY15" fmla="*/ 2572235 h 2572236"/>
                  <a:gd name="connsiteX16" fmla="*/ 154670 w 2573506"/>
                  <a:gd name="connsiteY16" fmla="*/ 2572235 h 2572236"/>
                  <a:gd name="connsiteX17" fmla="*/ 0 w 2573506"/>
                  <a:gd name="connsiteY17" fmla="*/ 2572235 h 2572236"/>
                  <a:gd name="connsiteX18" fmla="*/ 2572233 w 2573506"/>
                  <a:gd name="connsiteY18" fmla="*/ 0 h 2572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73506" h="2572236">
                    <a:moveTo>
                      <a:pt x="2572233" y="0"/>
                    </a:moveTo>
                    <a:lnTo>
                      <a:pt x="2572233" y="142684"/>
                    </a:lnTo>
                    <a:lnTo>
                      <a:pt x="2573506" y="142684"/>
                    </a:lnTo>
                    <a:lnTo>
                      <a:pt x="2573506" y="1062736"/>
                    </a:lnTo>
                    <a:lnTo>
                      <a:pt x="2572233" y="1062736"/>
                    </a:lnTo>
                    <a:lnTo>
                      <a:pt x="2572233" y="1211105"/>
                    </a:lnTo>
                    <a:lnTo>
                      <a:pt x="2572234" y="1211105"/>
                    </a:lnTo>
                    <a:lnTo>
                      <a:pt x="2572234" y="1511286"/>
                    </a:lnTo>
                    <a:lnTo>
                      <a:pt x="2504193" y="1514721"/>
                    </a:lnTo>
                    <a:cubicBezTo>
                      <a:pt x="1975899" y="1568373"/>
                      <a:pt x="1555905" y="1988366"/>
                      <a:pt x="1502254" y="2516661"/>
                    </a:cubicBezTo>
                    <a:lnTo>
                      <a:pt x="1499448" y="2572236"/>
                    </a:lnTo>
                    <a:lnTo>
                      <a:pt x="1224473" y="2572236"/>
                    </a:lnTo>
                    <a:lnTo>
                      <a:pt x="1224473" y="2572235"/>
                    </a:lnTo>
                    <a:lnTo>
                      <a:pt x="1116361" y="2572235"/>
                    </a:lnTo>
                    <a:lnTo>
                      <a:pt x="825525" y="2572235"/>
                    </a:lnTo>
                    <a:lnTo>
                      <a:pt x="383107" y="2572235"/>
                    </a:lnTo>
                    <a:lnTo>
                      <a:pt x="154670" y="2572235"/>
                    </a:lnTo>
                    <a:lnTo>
                      <a:pt x="0" y="2572235"/>
                    </a:lnTo>
                    <a:cubicBezTo>
                      <a:pt x="0" y="1151629"/>
                      <a:pt x="1151628" y="0"/>
                      <a:pt x="257223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277DB8B2-1FF9-AD82-2034-76C722C70DC8}"/>
                  </a:ext>
                </a:extLst>
              </p:cNvPr>
              <p:cNvSpPr/>
              <p:nvPr/>
            </p:nvSpPr>
            <p:spPr>
              <a:xfrm>
                <a:off x="8424327" y="389315"/>
                <a:ext cx="2983749" cy="2977535"/>
              </a:xfrm>
              <a:custGeom>
                <a:avLst/>
                <a:gdLst>
                  <a:gd name="connsiteX0" fmla="*/ 0 w 2577604"/>
                  <a:gd name="connsiteY0" fmla="*/ 0 h 2572236"/>
                  <a:gd name="connsiteX1" fmla="*/ 2577604 w 2577604"/>
                  <a:gd name="connsiteY1" fmla="*/ 2572235 h 2572236"/>
                  <a:gd name="connsiteX2" fmla="*/ 2186404 w 2577604"/>
                  <a:gd name="connsiteY2" fmla="*/ 2572235 h 2572236"/>
                  <a:gd name="connsiteX3" fmla="*/ 2186404 w 2577604"/>
                  <a:gd name="connsiteY3" fmla="*/ 2572234 h 2572236"/>
                  <a:gd name="connsiteX4" fmla="*/ 1743066 w 2577604"/>
                  <a:gd name="connsiteY4" fmla="*/ 2572234 h 2572236"/>
                  <a:gd name="connsiteX5" fmla="*/ 1743066 w 2577604"/>
                  <a:gd name="connsiteY5" fmla="*/ 2572235 h 2572236"/>
                  <a:gd name="connsiteX6" fmla="*/ 1345851 w 2577604"/>
                  <a:gd name="connsiteY6" fmla="*/ 2572235 h 2572236"/>
                  <a:gd name="connsiteX7" fmla="*/ 1345851 w 2577604"/>
                  <a:gd name="connsiteY7" fmla="*/ 2572236 h 2572236"/>
                  <a:gd name="connsiteX8" fmla="*/ 1078555 w 2577604"/>
                  <a:gd name="connsiteY8" fmla="*/ 2572236 h 2572236"/>
                  <a:gd name="connsiteX9" fmla="*/ 1075749 w 2577604"/>
                  <a:gd name="connsiteY9" fmla="*/ 2516659 h 2572236"/>
                  <a:gd name="connsiteX10" fmla="*/ 73810 w 2577604"/>
                  <a:gd name="connsiteY10" fmla="*/ 1514719 h 2572236"/>
                  <a:gd name="connsiteX11" fmla="*/ 0 w 2577604"/>
                  <a:gd name="connsiteY11" fmla="*/ 1510992 h 2572236"/>
                  <a:gd name="connsiteX12" fmla="*/ 0 w 2577604"/>
                  <a:gd name="connsiteY12" fmla="*/ 1235270 h 2572236"/>
                  <a:gd name="connsiteX13" fmla="*/ 0 w 2577604"/>
                  <a:gd name="connsiteY13" fmla="*/ 1211104 h 2572236"/>
                  <a:gd name="connsiteX14" fmla="*/ 0 w 2577604"/>
                  <a:gd name="connsiteY14" fmla="*/ 998130 h 2572236"/>
                  <a:gd name="connsiteX15" fmla="*/ 0 w 2577604"/>
                  <a:gd name="connsiteY15" fmla="*/ 828762 h 2572236"/>
                  <a:gd name="connsiteX16" fmla="*/ 0 w 2577604"/>
                  <a:gd name="connsiteY16" fmla="*/ 376267 h 2572236"/>
                  <a:gd name="connsiteX17" fmla="*/ 0 w 2577604"/>
                  <a:gd name="connsiteY17" fmla="*/ 142682 h 2572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577604" h="2572236">
                    <a:moveTo>
                      <a:pt x="0" y="0"/>
                    </a:moveTo>
                    <a:cubicBezTo>
                      <a:pt x="1423572" y="0"/>
                      <a:pt x="2577604" y="1151629"/>
                      <a:pt x="2577604" y="2572235"/>
                    </a:cubicBezTo>
                    <a:lnTo>
                      <a:pt x="2186404" y="2572235"/>
                    </a:lnTo>
                    <a:lnTo>
                      <a:pt x="2186404" y="2572234"/>
                    </a:lnTo>
                    <a:lnTo>
                      <a:pt x="1743066" y="2572234"/>
                    </a:lnTo>
                    <a:lnTo>
                      <a:pt x="1743066" y="2572235"/>
                    </a:lnTo>
                    <a:lnTo>
                      <a:pt x="1345851" y="2572235"/>
                    </a:lnTo>
                    <a:lnTo>
                      <a:pt x="1345851" y="2572236"/>
                    </a:lnTo>
                    <a:lnTo>
                      <a:pt x="1078555" y="2572236"/>
                    </a:lnTo>
                    <a:lnTo>
                      <a:pt x="1075749" y="2516659"/>
                    </a:lnTo>
                    <a:cubicBezTo>
                      <a:pt x="1022097" y="1988364"/>
                      <a:pt x="602104" y="1568371"/>
                      <a:pt x="73810" y="1514719"/>
                    </a:cubicBezTo>
                    <a:lnTo>
                      <a:pt x="0" y="1510992"/>
                    </a:lnTo>
                    <a:lnTo>
                      <a:pt x="0" y="1235270"/>
                    </a:lnTo>
                    <a:lnTo>
                      <a:pt x="0" y="1211104"/>
                    </a:lnTo>
                    <a:lnTo>
                      <a:pt x="0" y="998130"/>
                    </a:lnTo>
                    <a:lnTo>
                      <a:pt x="0" y="828762"/>
                    </a:lnTo>
                    <a:lnTo>
                      <a:pt x="0" y="376267"/>
                    </a:lnTo>
                    <a:lnTo>
                      <a:pt x="0" y="14268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4A8A410F-6328-4587-5699-EEB3B46E2480}"/>
                  </a:ext>
                </a:extLst>
              </p:cNvPr>
              <p:cNvSpPr/>
              <p:nvPr/>
            </p:nvSpPr>
            <p:spPr>
              <a:xfrm>
                <a:off x="8424327" y="3489415"/>
                <a:ext cx="2981618" cy="2977539"/>
              </a:xfrm>
              <a:custGeom>
                <a:avLst/>
                <a:gdLst>
                  <a:gd name="connsiteX0" fmla="*/ 1574207 w 2575763"/>
                  <a:gd name="connsiteY0" fmla="*/ 0 h 2572239"/>
                  <a:gd name="connsiteX1" fmla="*/ 2336003 w 2575763"/>
                  <a:gd name="connsiteY1" fmla="*/ 0 h 2572239"/>
                  <a:gd name="connsiteX2" fmla="*/ 2336003 w 2575763"/>
                  <a:gd name="connsiteY2" fmla="*/ 4 h 2572239"/>
                  <a:gd name="connsiteX3" fmla="*/ 2575763 w 2575763"/>
                  <a:gd name="connsiteY3" fmla="*/ 4 h 2572239"/>
                  <a:gd name="connsiteX4" fmla="*/ 1 w 2575763"/>
                  <a:gd name="connsiteY4" fmla="*/ 2572239 h 2572239"/>
                  <a:gd name="connsiteX5" fmla="*/ 1 w 2575763"/>
                  <a:gd name="connsiteY5" fmla="*/ 2219561 h 2572239"/>
                  <a:gd name="connsiteX6" fmla="*/ 0 w 2575763"/>
                  <a:gd name="connsiteY6" fmla="*/ 2219561 h 2572239"/>
                  <a:gd name="connsiteX7" fmla="*/ 0 w 2575763"/>
                  <a:gd name="connsiteY7" fmla="*/ 1256889 h 2572239"/>
                  <a:gd name="connsiteX8" fmla="*/ 1 w 2575763"/>
                  <a:gd name="connsiteY8" fmla="*/ 1256889 h 2572239"/>
                  <a:gd name="connsiteX9" fmla="*/ 1 w 2575763"/>
                  <a:gd name="connsiteY9" fmla="*/ 1073748 h 2572239"/>
                  <a:gd name="connsiteX10" fmla="*/ 73811 w 2575763"/>
                  <a:gd name="connsiteY10" fmla="*/ 1070021 h 2572239"/>
                  <a:gd name="connsiteX11" fmla="*/ 1075749 w 2575763"/>
                  <a:gd name="connsiteY11" fmla="*/ 68082 h 2572239"/>
                  <a:gd name="connsiteX12" fmla="*/ 1079187 w 2575763"/>
                  <a:gd name="connsiteY12" fmla="*/ 3 h 2572239"/>
                  <a:gd name="connsiteX13" fmla="*/ 1345853 w 2575763"/>
                  <a:gd name="connsiteY13" fmla="*/ 3 h 2572239"/>
                  <a:gd name="connsiteX14" fmla="*/ 1345853 w 2575763"/>
                  <a:gd name="connsiteY14" fmla="*/ 4 h 2572239"/>
                  <a:gd name="connsiteX15" fmla="*/ 1574207 w 2575763"/>
                  <a:gd name="connsiteY15" fmla="*/ 4 h 2572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75763" h="2572239">
                    <a:moveTo>
                      <a:pt x="1574207" y="0"/>
                    </a:moveTo>
                    <a:lnTo>
                      <a:pt x="2336003" y="0"/>
                    </a:lnTo>
                    <a:lnTo>
                      <a:pt x="2336003" y="4"/>
                    </a:lnTo>
                    <a:lnTo>
                      <a:pt x="2575763" y="4"/>
                    </a:lnTo>
                    <a:cubicBezTo>
                      <a:pt x="2575763" y="1420611"/>
                      <a:pt x="1422555" y="2572239"/>
                      <a:pt x="1" y="2572239"/>
                    </a:cubicBezTo>
                    <a:lnTo>
                      <a:pt x="1" y="2219561"/>
                    </a:lnTo>
                    <a:lnTo>
                      <a:pt x="0" y="2219561"/>
                    </a:lnTo>
                    <a:lnTo>
                      <a:pt x="0" y="1256889"/>
                    </a:lnTo>
                    <a:lnTo>
                      <a:pt x="1" y="1256889"/>
                    </a:lnTo>
                    <a:lnTo>
                      <a:pt x="1" y="1073748"/>
                    </a:lnTo>
                    <a:lnTo>
                      <a:pt x="73811" y="1070021"/>
                    </a:lnTo>
                    <a:cubicBezTo>
                      <a:pt x="602105" y="1016370"/>
                      <a:pt x="1022097" y="596376"/>
                      <a:pt x="1075749" y="68082"/>
                    </a:cubicBezTo>
                    <a:lnTo>
                      <a:pt x="1079187" y="3"/>
                    </a:lnTo>
                    <a:lnTo>
                      <a:pt x="1345853" y="3"/>
                    </a:lnTo>
                    <a:lnTo>
                      <a:pt x="1345853" y="4"/>
                    </a:lnTo>
                    <a:lnTo>
                      <a:pt x="1574207" y="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3442245C-5127-5FED-1A58-C898F22B1057}"/>
                  </a:ext>
                </a:extLst>
              </p:cNvPr>
              <p:cNvSpPr/>
              <p:nvPr/>
            </p:nvSpPr>
            <p:spPr>
              <a:xfrm>
                <a:off x="5345292" y="3489416"/>
                <a:ext cx="2971652" cy="2979270"/>
              </a:xfrm>
              <a:custGeom>
                <a:avLst/>
                <a:gdLst>
                  <a:gd name="connsiteX0" fmla="*/ 239097 w 2567154"/>
                  <a:gd name="connsiteY0" fmla="*/ 0 h 2573735"/>
                  <a:gd name="connsiteX1" fmla="*/ 1046842 w 2567154"/>
                  <a:gd name="connsiteY1" fmla="*/ 0 h 2573735"/>
                  <a:gd name="connsiteX2" fmla="*/ 1046842 w 2567154"/>
                  <a:gd name="connsiteY2" fmla="*/ 1 h 2573735"/>
                  <a:gd name="connsiteX3" fmla="*/ 1234354 w 2567154"/>
                  <a:gd name="connsiteY3" fmla="*/ 1 h 2573735"/>
                  <a:gd name="connsiteX4" fmla="*/ 1234354 w 2567154"/>
                  <a:gd name="connsiteY4" fmla="*/ 4 h 2573735"/>
                  <a:gd name="connsiteX5" fmla="*/ 1498815 w 2567154"/>
                  <a:gd name="connsiteY5" fmla="*/ 4 h 2573735"/>
                  <a:gd name="connsiteX6" fmla="*/ 1502253 w 2567154"/>
                  <a:gd name="connsiteY6" fmla="*/ 68081 h 2573735"/>
                  <a:gd name="connsiteX7" fmla="*/ 2504192 w 2567154"/>
                  <a:gd name="connsiteY7" fmla="*/ 1070020 h 2573735"/>
                  <a:gd name="connsiteX8" fmla="*/ 2565992 w 2567154"/>
                  <a:gd name="connsiteY8" fmla="*/ 1073141 h 2573735"/>
                  <a:gd name="connsiteX9" fmla="*/ 2565992 w 2567154"/>
                  <a:gd name="connsiteY9" fmla="*/ 1089677 h 2573735"/>
                  <a:gd name="connsiteX10" fmla="*/ 2567154 w 2567154"/>
                  <a:gd name="connsiteY10" fmla="*/ 1089677 h 2573735"/>
                  <a:gd name="connsiteX11" fmla="*/ 2567154 w 2567154"/>
                  <a:gd name="connsiteY11" fmla="*/ 2573735 h 2573735"/>
                  <a:gd name="connsiteX12" fmla="*/ 2307528 w 2567154"/>
                  <a:gd name="connsiteY12" fmla="*/ 2560606 h 2573735"/>
                  <a:gd name="connsiteX13" fmla="*/ 0 w 2567154"/>
                  <a:gd name="connsiteY13" fmla="*/ 1 h 2573735"/>
                  <a:gd name="connsiteX14" fmla="*/ 239097 w 2567154"/>
                  <a:gd name="connsiteY14" fmla="*/ 1 h 2573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567154" h="2573735">
                    <a:moveTo>
                      <a:pt x="239097" y="0"/>
                    </a:moveTo>
                    <a:lnTo>
                      <a:pt x="1046842" y="0"/>
                    </a:lnTo>
                    <a:lnTo>
                      <a:pt x="1046842" y="1"/>
                    </a:lnTo>
                    <a:lnTo>
                      <a:pt x="1234354" y="1"/>
                    </a:lnTo>
                    <a:lnTo>
                      <a:pt x="1234354" y="4"/>
                    </a:lnTo>
                    <a:lnTo>
                      <a:pt x="1498815" y="4"/>
                    </a:lnTo>
                    <a:lnTo>
                      <a:pt x="1502253" y="68081"/>
                    </a:lnTo>
                    <a:cubicBezTo>
                      <a:pt x="1555904" y="596375"/>
                      <a:pt x="1975897" y="1016369"/>
                      <a:pt x="2504192" y="1070020"/>
                    </a:cubicBezTo>
                    <a:lnTo>
                      <a:pt x="2565992" y="1073141"/>
                    </a:lnTo>
                    <a:lnTo>
                      <a:pt x="2565992" y="1089677"/>
                    </a:lnTo>
                    <a:lnTo>
                      <a:pt x="2567154" y="1089677"/>
                    </a:lnTo>
                    <a:lnTo>
                      <a:pt x="2567154" y="2573735"/>
                    </a:lnTo>
                    <a:lnTo>
                      <a:pt x="2307528" y="2560606"/>
                    </a:lnTo>
                    <a:cubicBezTo>
                      <a:pt x="1011424" y="2428796"/>
                      <a:pt x="0" y="1332678"/>
                      <a:pt x="0" y="1"/>
                    </a:cubicBezTo>
                    <a:lnTo>
                      <a:pt x="239097" y="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24459DA0-85C7-D5F8-A749-238285BECF6B}"/>
                  </a:ext>
                </a:extLst>
              </p:cNvPr>
              <p:cNvGrpSpPr/>
              <p:nvPr/>
            </p:nvGrpSpPr>
            <p:grpSpPr>
              <a:xfrm>
                <a:off x="10038811" y="3114412"/>
                <a:ext cx="618056" cy="618056"/>
                <a:chOff x="12264617" y="3634638"/>
                <a:chExt cx="533927" cy="533927"/>
              </a:xfrm>
            </p:grpSpPr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C05FB97B-CC93-EA0B-8108-0D8C0AFBF5B8}"/>
                    </a:ext>
                  </a:extLst>
                </p:cNvPr>
                <p:cNvSpPr/>
                <p:nvPr/>
              </p:nvSpPr>
              <p:spPr>
                <a:xfrm>
                  <a:off x="12264617" y="3634638"/>
                  <a:ext cx="533927" cy="533927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-Regular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L-Shape 24">
                  <a:extLst>
                    <a:ext uri="{FF2B5EF4-FFF2-40B4-BE49-F238E27FC236}">
                      <a16:creationId xmlns:a16="http://schemas.microsoft.com/office/drawing/2014/main" id="{B15286AC-F190-1EE3-26AD-3AC2D2BEEA93}"/>
                    </a:ext>
                  </a:extLst>
                </p:cNvPr>
                <p:cNvSpPr/>
                <p:nvPr/>
              </p:nvSpPr>
              <p:spPr>
                <a:xfrm rot="2700000" flipH="1">
                  <a:off x="12439126" y="3774247"/>
                  <a:ext cx="184909" cy="184909"/>
                </a:xfrm>
                <a:prstGeom prst="corner">
                  <a:avLst>
                    <a:gd name="adj1" fmla="val 17364"/>
                    <a:gd name="adj2" fmla="val 17364"/>
                  </a:avLst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endParaRPr>
                </a:p>
              </p:txBody>
            </p:sp>
          </p:grp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5D041CBC-188F-498C-20A3-7F68B749A59D}"/>
                  </a:ext>
                </a:extLst>
              </p:cNvPr>
              <p:cNvSpPr txBox="1"/>
              <p:nvPr/>
            </p:nvSpPr>
            <p:spPr>
              <a:xfrm rot="18864559">
                <a:off x="6165332" y="1930033"/>
                <a:ext cx="2108973" cy="583264"/>
              </a:xfrm>
              <a:prstGeom prst="rect">
                <a:avLst/>
              </a:prstGeom>
              <a:noFill/>
            </p:spPr>
            <p:txBody>
              <a:bodyPr wrap="none" rtlCol="0" anchor="ctr">
                <a:prstTxWarp prst="textArchUp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udience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9545C98-CC64-D7A6-C253-754574318E12}"/>
                  </a:ext>
                </a:extLst>
              </p:cNvPr>
              <p:cNvSpPr/>
              <p:nvPr/>
            </p:nvSpPr>
            <p:spPr>
              <a:xfrm rot="2870013">
                <a:off x="8365533" y="1850059"/>
                <a:ext cx="2182239" cy="583264"/>
              </a:xfrm>
              <a:prstGeom prst="rect">
                <a:avLst/>
              </a:prstGeom>
            </p:spPr>
            <p:txBody>
              <a:bodyPr wrap="none" anchor="ctr">
                <a:prstTxWarp prst="textArchUp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llocation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1A52DE34-6680-7802-F815-A0134B6FD1B2}"/>
                  </a:ext>
                </a:extLst>
              </p:cNvPr>
              <p:cNvSpPr/>
              <p:nvPr/>
            </p:nvSpPr>
            <p:spPr>
              <a:xfrm rot="18914344">
                <a:off x="8391559" y="4040115"/>
                <a:ext cx="2173304" cy="1018669"/>
              </a:xfrm>
              <a:prstGeom prst="rect">
                <a:avLst/>
              </a:prstGeom>
            </p:spPr>
            <p:txBody>
              <a:bodyPr wrap="none" anchor="ctr">
                <a:prstTxWarp prst="textArchDown">
                  <a:avLst>
                    <a:gd name="adj" fmla="val 976732"/>
                  </a:avLst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ctivation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5B2724D8-6C06-9B7A-98D1-F49BAC6678EB}"/>
                  </a:ext>
                </a:extLst>
              </p:cNvPr>
              <p:cNvSpPr/>
              <p:nvPr/>
            </p:nvSpPr>
            <p:spPr>
              <a:xfrm rot="2812719">
                <a:off x="6020890" y="4390819"/>
                <a:ext cx="2182239" cy="583264"/>
              </a:xfrm>
              <a:prstGeom prst="rect">
                <a:avLst/>
              </a:prstGeom>
            </p:spPr>
            <p:txBody>
              <a:bodyPr wrap="none" anchor="ctr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ttribution</a:t>
                </a:r>
              </a:p>
            </p:txBody>
          </p: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75D5D25B-99CE-332E-A810-D64A7EA8F5C6}"/>
                  </a:ext>
                </a:extLst>
              </p:cNvPr>
              <p:cNvGrpSpPr/>
              <p:nvPr/>
            </p:nvGrpSpPr>
            <p:grpSpPr>
              <a:xfrm>
                <a:off x="8076720" y="1081427"/>
                <a:ext cx="618056" cy="618056"/>
                <a:chOff x="12264617" y="1548657"/>
                <a:chExt cx="533927" cy="533927"/>
              </a:xfrm>
            </p:grpSpPr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82F1450E-AB51-630D-5524-E477A90EAFDC}"/>
                    </a:ext>
                  </a:extLst>
                </p:cNvPr>
                <p:cNvSpPr/>
                <p:nvPr/>
              </p:nvSpPr>
              <p:spPr>
                <a:xfrm>
                  <a:off x="12264617" y="1548657"/>
                  <a:ext cx="533927" cy="533927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-Regular"/>
                    <a:ea typeface="+mn-ea"/>
                    <a:cs typeface="+mn-cs"/>
                  </a:endParaRPr>
                </a:p>
              </p:txBody>
            </p:sp>
            <p:grpSp>
              <p:nvGrpSpPr>
                <p:cNvPr id="48" name="Group 47">
                  <a:extLst>
                    <a:ext uri="{FF2B5EF4-FFF2-40B4-BE49-F238E27FC236}">
                      <a16:creationId xmlns:a16="http://schemas.microsoft.com/office/drawing/2014/main" id="{AD0D39D2-6112-690C-8F75-512E57812543}"/>
                    </a:ext>
                  </a:extLst>
                </p:cNvPr>
                <p:cNvGrpSpPr/>
                <p:nvPr/>
              </p:nvGrpSpPr>
              <p:grpSpPr>
                <a:xfrm>
                  <a:off x="12398632" y="1657567"/>
                  <a:ext cx="265896" cy="316107"/>
                  <a:chOff x="5953896" y="907548"/>
                  <a:chExt cx="397410" cy="472458"/>
                </a:xfrm>
                <a:solidFill>
                  <a:schemeClr val="tx1"/>
                </a:solidFill>
              </p:grpSpPr>
              <p:sp>
                <p:nvSpPr>
                  <p:cNvPr id="49" name="L-Shape 3">
                    <a:extLst>
                      <a:ext uri="{FF2B5EF4-FFF2-40B4-BE49-F238E27FC236}">
                        <a16:creationId xmlns:a16="http://schemas.microsoft.com/office/drawing/2014/main" id="{40D77181-04CA-A30B-8768-7DD74912D0CC}"/>
                      </a:ext>
                    </a:extLst>
                  </p:cNvPr>
                  <p:cNvSpPr/>
                  <p:nvPr/>
                </p:nvSpPr>
                <p:spPr>
                  <a:xfrm rot="18763950" flipH="1">
                    <a:off x="5953896" y="907548"/>
                    <a:ext cx="232873" cy="232873"/>
                  </a:xfrm>
                  <a:prstGeom prst="corner">
                    <a:avLst>
                      <a:gd name="adj1" fmla="val 17364"/>
                      <a:gd name="adj2" fmla="val 17364"/>
                    </a:avLst>
                  </a:prstGeom>
                  <a:solidFill>
                    <a:schemeClr val="bg2">
                      <a:lumMod val="75000"/>
                    </a:scheme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itchFamily="2" charset="77"/>
                      <a:ea typeface="+mn-ea"/>
                      <a:cs typeface="Poppins" pitchFamily="2" charset="77"/>
                    </a:endParaRPr>
                  </a:p>
                </p:txBody>
              </p:sp>
              <p:sp>
                <p:nvSpPr>
                  <p:cNvPr id="50" name="L-Shape 39">
                    <a:extLst>
                      <a:ext uri="{FF2B5EF4-FFF2-40B4-BE49-F238E27FC236}">
                        <a16:creationId xmlns:a16="http://schemas.microsoft.com/office/drawing/2014/main" id="{54F615E1-3B4D-EE0F-20CC-1015B19B283B}"/>
                      </a:ext>
                    </a:extLst>
                  </p:cNvPr>
                  <p:cNvSpPr/>
                  <p:nvPr/>
                </p:nvSpPr>
                <p:spPr>
                  <a:xfrm rot="2836050">
                    <a:off x="6118432" y="1147132"/>
                    <a:ext cx="232875" cy="232873"/>
                  </a:xfrm>
                  <a:prstGeom prst="corner">
                    <a:avLst>
                      <a:gd name="adj1" fmla="val 17364"/>
                      <a:gd name="adj2" fmla="val 17364"/>
                    </a:avLst>
                  </a:prstGeom>
                  <a:solidFill>
                    <a:schemeClr val="bg2">
                      <a:lumMod val="75000"/>
                    </a:scheme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itchFamily="2" charset="77"/>
                      <a:ea typeface="+mn-ea"/>
                      <a:cs typeface="Poppins" pitchFamily="2" charset="77"/>
                    </a:endParaRPr>
                  </a:p>
                </p:txBody>
              </p:sp>
            </p:grpSp>
          </p:grp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7B2F954F-5791-477E-9658-876A0A074D28}"/>
                  </a:ext>
                </a:extLst>
              </p:cNvPr>
              <p:cNvSpPr/>
              <p:nvPr/>
            </p:nvSpPr>
            <p:spPr>
              <a:xfrm>
                <a:off x="5345289" y="389315"/>
                <a:ext cx="2979005" cy="2977534"/>
              </a:xfrm>
              <a:custGeom>
                <a:avLst/>
                <a:gdLst>
                  <a:gd name="connsiteX0" fmla="*/ 2572233 w 2573506"/>
                  <a:gd name="connsiteY0" fmla="*/ 0 h 2572235"/>
                  <a:gd name="connsiteX1" fmla="*/ 2572233 w 2573506"/>
                  <a:gd name="connsiteY1" fmla="*/ 142684 h 2572235"/>
                  <a:gd name="connsiteX2" fmla="*/ 2573506 w 2573506"/>
                  <a:gd name="connsiteY2" fmla="*/ 142684 h 2572235"/>
                  <a:gd name="connsiteX3" fmla="*/ 2573506 w 2573506"/>
                  <a:gd name="connsiteY3" fmla="*/ 238705 h 2572235"/>
                  <a:gd name="connsiteX4" fmla="*/ 2367556 w 2573506"/>
                  <a:gd name="connsiteY4" fmla="*/ 249105 h 2572235"/>
                  <a:gd name="connsiteX5" fmla="*/ 237850 w 2573506"/>
                  <a:gd name="connsiteY5" fmla="*/ 2378811 h 2572235"/>
                  <a:gd name="connsiteX6" fmla="*/ 228083 w 2573506"/>
                  <a:gd name="connsiteY6" fmla="*/ 2572235 h 2572235"/>
                  <a:gd name="connsiteX7" fmla="*/ 154670 w 2573506"/>
                  <a:gd name="connsiteY7" fmla="*/ 2572235 h 2572235"/>
                  <a:gd name="connsiteX8" fmla="*/ 0 w 2573506"/>
                  <a:gd name="connsiteY8" fmla="*/ 2572235 h 2572235"/>
                  <a:gd name="connsiteX9" fmla="*/ 2572233 w 2573506"/>
                  <a:gd name="connsiteY9" fmla="*/ 0 h 2572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73506" h="2572235">
                    <a:moveTo>
                      <a:pt x="2572233" y="0"/>
                    </a:moveTo>
                    <a:lnTo>
                      <a:pt x="2572233" y="142684"/>
                    </a:lnTo>
                    <a:lnTo>
                      <a:pt x="2573506" y="142684"/>
                    </a:lnTo>
                    <a:lnTo>
                      <a:pt x="2573506" y="238705"/>
                    </a:lnTo>
                    <a:lnTo>
                      <a:pt x="2367556" y="249105"/>
                    </a:lnTo>
                    <a:cubicBezTo>
                      <a:pt x="1244622" y="363145"/>
                      <a:pt x="351890" y="1255877"/>
                      <a:pt x="237850" y="2378811"/>
                    </a:cubicBezTo>
                    <a:lnTo>
                      <a:pt x="228083" y="2572235"/>
                    </a:lnTo>
                    <a:lnTo>
                      <a:pt x="154670" y="2572235"/>
                    </a:lnTo>
                    <a:lnTo>
                      <a:pt x="0" y="2572235"/>
                    </a:lnTo>
                    <a:cubicBezTo>
                      <a:pt x="0" y="1151629"/>
                      <a:pt x="1151628" y="0"/>
                      <a:pt x="2572233" y="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6A6534C9-7AEF-FB00-ED33-BE8E9A15A6BA}"/>
                  </a:ext>
                </a:extLst>
              </p:cNvPr>
              <p:cNvSpPr/>
              <p:nvPr/>
            </p:nvSpPr>
            <p:spPr>
              <a:xfrm>
                <a:off x="8424327" y="389316"/>
                <a:ext cx="2983749" cy="2977534"/>
              </a:xfrm>
              <a:custGeom>
                <a:avLst/>
                <a:gdLst>
                  <a:gd name="connsiteX0" fmla="*/ 0 w 2577604"/>
                  <a:gd name="connsiteY0" fmla="*/ 0 h 2572235"/>
                  <a:gd name="connsiteX1" fmla="*/ 2577604 w 2577604"/>
                  <a:gd name="connsiteY1" fmla="*/ 2572235 h 2572235"/>
                  <a:gd name="connsiteX2" fmla="*/ 2335011 w 2577604"/>
                  <a:gd name="connsiteY2" fmla="*/ 2572235 h 2572235"/>
                  <a:gd name="connsiteX3" fmla="*/ 2325244 w 2577604"/>
                  <a:gd name="connsiteY3" fmla="*/ 2378810 h 2572235"/>
                  <a:gd name="connsiteX4" fmla="*/ 195538 w 2577604"/>
                  <a:gd name="connsiteY4" fmla="*/ 249104 h 2572235"/>
                  <a:gd name="connsiteX5" fmla="*/ 0 w 2577604"/>
                  <a:gd name="connsiteY5" fmla="*/ 239230 h 2572235"/>
                  <a:gd name="connsiteX6" fmla="*/ 0 w 2577604"/>
                  <a:gd name="connsiteY6" fmla="*/ 142682 h 2572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77604" h="2572235">
                    <a:moveTo>
                      <a:pt x="0" y="0"/>
                    </a:moveTo>
                    <a:cubicBezTo>
                      <a:pt x="1423572" y="0"/>
                      <a:pt x="2577604" y="1151629"/>
                      <a:pt x="2577604" y="2572235"/>
                    </a:cubicBezTo>
                    <a:lnTo>
                      <a:pt x="2335011" y="2572235"/>
                    </a:lnTo>
                    <a:lnTo>
                      <a:pt x="2325244" y="2378810"/>
                    </a:lnTo>
                    <a:cubicBezTo>
                      <a:pt x="2211204" y="1255876"/>
                      <a:pt x="1318471" y="363144"/>
                      <a:pt x="195538" y="249104"/>
                    </a:cubicBezTo>
                    <a:lnTo>
                      <a:pt x="0" y="239230"/>
                    </a:lnTo>
                    <a:lnTo>
                      <a:pt x="0" y="142682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96EF2B60-7873-2198-35E7-08B3CFAE4208}"/>
                  </a:ext>
                </a:extLst>
              </p:cNvPr>
              <p:cNvSpPr/>
              <p:nvPr/>
            </p:nvSpPr>
            <p:spPr>
              <a:xfrm>
                <a:off x="8424329" y="3489415"/>
                <a:ext cx="2981616" cy="2977539"/>
              </a:xfrm>
              <a:custGeom>
                <a:avLst/>
                <a:gdLst>
                  <a:gd name="connsiteX0" fmla="*/ 2334766 w 2575762"/>
                  <a:gd name="connsiteY0" fmla="*/ 0 h 2572239"/>
                  <a:gd name="connsiteX1" fmla="*/ 2336002 w 2575762"/>
                  <a:gd name="connsiteY1" fmla="*/ 0 h 2572239"/>
                  <a:gd name="connsiteX2" fmla="*/ 2336002 w 2575762"/>
                  <a:gd name="connsiteY2" fmla="*/ 4 h 2572239"/>
                  <a:gd name="connsiteX3" fmla="*/ 2575762 w 2575762"/>
                  <a:gd name="connsiteY3" fmla="*/ 4 h 2572239"/>
                  <a:gd name="connsiteX4" fmla="*/ 0 w 2575762"/>
                  <a:gd name="connsiteY4" fmla="*/ 2572239 h 2572239"/>
                  <a:gd name="connsiteX5" fmla="*/ 0 w 2575762"/>
                  <a:gd name="connsiteY5" fmla="*/ 2328177 h 2572239"/>
                  <a:gd name="connsiteX6" fmla="*/ 195537 w 2575762"/>
                  <a:gd name="connsiteY6" fmla="*/ 2318304 h 2572239"/>
                  <a:gd name="connsiteX7" fmla="*/ 2325243 w 2575762"/>
                  <a:gd name="connsiteY7" fmla="*/ 188598 h 2572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75762" h="2572239">
                    <a:moveTo>
                      <a:pt x="2334766" y="0"/>
                    </a:moveTo>
                    <a:lnTo>
                      <a:pt x="2336002" y="0"/>
                    </a:lnTo>
                    <a:lnTo>
                      <a:pt x="2336002" y="4"/>
                    </a:lnTo>
                    <a:lnTo>
                      <a:pt x="2575762" y="4"/>
                    </a:lnTo>
                    <a:cubicBezTo>
                      <a:pt x="2575762" y="1420611"/>
                      <a:pt x="1422554" y="2572239"/>
                      <a:pt x="0" y="2572239"/>
                    </a:cubicBezTo>
                    <a:lnTo>
                      <a:pt x="0" y="2328177"/>
                    </a:lnTo>
                    <a:lnTo>
                      <a:pt x="195537" y="2318304"/>
                    </a:lnTo>
                    <a:cubicBezTo>
                      <a:pt x="1318470" y="2204264"/>
                      <a:pt x="2211203" y="1311532"/>
                      <a:pt x="2325243" y="188598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7E3844FF-0F92-D8F7-374A-3E4F50CC8BFA}"/>
                  </a:ext>
                </a:extLst>
              </p:cNvPr>
              <p:cNvSpPr/>
              <p:nvPr/>
            </p:nvSpPr>
            <p:spPr>
              <a:xfrm>
                <a:off x="5345292" y="3489417"/>
                <a:ext cx="2971652" cy="2979269"/>
              </a:xfrm>
              <a:custGeom>
                <a:avLst/>
                <a:gdLst>
                  <a:gd name="connsiteX0" fmla="*/ 0 w 2567154"/>
                  <a:gd name="connsiteY0" fmla="*/ 0 h 2573734"/>
                  <a:gd name="connsiteX1" fmla="*/ 228323 w 2567154"/>
                  <a:gd name="connsiteY1" fmla="*/ 0 h 2573734"/>
                  <a:gd name="connsiteX2" fmla="*/ 237847 w 2567154"/>
                  <a:gd name="connsiteY2" fmla="*/ 188596 h 2573734"/>
                  <a:gd name="connsiteX3" fmla="*/ 2367553 w 2567154"/>
                  <a:gd name="connsiteY3" fmla="*/ 2318302 h 2573734"/>
                  <a:gd name="connsiteX4" fmla="*/ 2567154 w 2567154"/>
                  <a:gd name="connsiteY4" fmla="*/ 2328381 h 2573734"/>
                  <a:gd name="connsiteX5" fmla="*/ 2567154 w 2567154"/>
                  <a:gd name="connsiteY5" fmla="*/ 2573734 h 2573734"/>
                  <a:gd name="connsiteX6" fmla="*/ 2307528 w 2567154"/>
                  <a:gd name="connsiteY6" fmla="*/ 2560605 h 2573734"/>
                  <a:gd name="connsiteX7" fmla="*/ 0 w 2567154"/>
                  <a:gd name="connsiteY7" fmla="*/ 0 h 2573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67154" h="2573734">
                    <a:moveTo>
                      <a:pt x="0" y="0"/>
                    </a:moveTo>
                    <a:lnTo>
                      <a:pt x="228323" y="0"/>
                    </a:lnTo>
                    <a:lnTo>
                      <a:pt x="237847" y="188596"/>
                    </a:lnTo>
                    <a:cubicBezTo>
                      <a:pt x="351887" y="1311530"/>
                      <a:pt x="1244619" y="2204262"/>
                      <a:pt x="2367553" y="2318302"/>
                    </a:cubicBezTo>
                    <a:lnTo>
                      <a:pt x="2567154" y="2328381"/>
                    </a:lnTo>
                    <a:lnTo>
                      <a:pt x="2567154" y="2573734"/>
                    </a:lnTo>
                    <a:lnTo>
                      <a:pt x="2307528" y="2560605"/>
                    </a:lnTo>
                    <a:cubicBezTo>
                      <a:pt x="1011424" y="2428795"/>
                      <a:pt x="0" y="1332677"/>
                      <a:pt x="0" y="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B22F6817-7D79-C9AB-2FD8-B4C2333BCCA4}"/>
                  </a:ext>
                </a:extLst>
              </p:cNvPr>
              <p:cNvSpPr/>
              <p:nvPr/>
            </p:nvSpPr>
            <p:spPr>
              <a:xfrm>
                <a:off x="5987644" y="985824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7" name="Google Shape;1138;p39">
                <a:extLst>
                  <a:ext uri="{FF2B5EF4-FFF2-40B4-BE49-F238E27FC236}">
                    <a16:creationId xmlns:a16="http://schemas.microsoft.com/office/drawing/2014/main" id="{AF988C19-359F-7A5A-0023-DDFEEC1272F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94820" y="1174417"/>
                <a:ext cx="504693" cy="34186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55" h="21600" extrusionOk="0">
                    <a:moveTo>
                      <a:pt x="10775" y="0"/>
                    </a:moveTo>
                    <a:cubicBezTo>
                      <a:pt x="8891" y="0"/>
                      <a:pt x="7365" y="2267"/>
                      <a:pt x="7365" y="5054"/>
                    </a:cubicBezTo>
                    <a:cubicBezTo>
                      <a:pt x="7365" y="7841"/>
                      <a:pt x="8891" y="10098"/>
                      <a:pt x="10775" y="10098"/>
                    </a:cubicBezTo>
                    <a:cubicBezTo>
                      <a:pt x="12659" y="10098"/>
                      <a:pt x="14185" y="7841"/>
                      <a:pt x="14185" y="5054"/>
                    </a:cubicBezTo>
                    <a:cubicBezTo>
                      <a:pt x="14185" y="2267"/>
                      <a:pt x="12659" y="0"/>
                      <a:pt x="10775" y="0"/>
                    </a:cubicBezTo>
                    <a:close/>
                    <a:moveTo>
                      <a:pt x="10775" y="920"/>
                    </a:moveTo>
                    <a:cubicBezTo>
                      <a:pt x="12316" y="920"/>
                      <a:pt x="13569" y="2774"/>
                      <a:pt x="13569" y="5054"/>
                    </a:cubicBezTo>
                    <a:cubicBezTo>
                      <a:pt x="13569" y="7334"/>
                      <a:pt x="12316" y="9179"/>
                      <a:pt x="10775" y="9179"/>
                    </a:cubicBezTo>
                    <a:cubicBezTo>
                      <a:pt x="9233" y="9179"/>
                      <a:pt x="7987" y="7334"/>
                      <a:pt x="7987" y="5054"/>
                    </a:cubicBezTo>
                    <a:cubicBezTo>
                      <a:pt x="7987" y="2774"/>
                      <a:pt x="9233" y="920"/>
                      <a:pt x="10775" y="920"/>
                    </a:cubicBezTo>
                    <a:close/>
                    <a:moveTo>
                      <a:pt x="4083" y="3907"/>
                    </a:moveTo>
                    <a:cubicBezTo>
                      <a:pt x="2817" y="3905"/>
                      <a:pt x="1790" y="5418"/>
                      <a:pt x="1789" y="7292"/>
                    </a:cubicBezTo>
                    <a:cubicBezTo>
                      <a:pt x="1788" y="9165"/>
                      <a:pt x="2810" y="10685"/>
                      <a:pt x="4077" y="10686"/>
                    </a:cubicBezTo>
                    <a:cubicBezTo>
                      <a:pt x="5344" y="10687"/>
                      <a:pt x="6371" y="9175"/>
                      <a:pt x="6372" y="7301"/>
                    </a:cubicBezTo>
                    <a:cubicBezTo>
                      <a:pt x="6372" y="7300"/>
                      <a:pt x="6372" y="7293"/>
                      <a:pt x="6372" y="7292"/>
                    </a:cubicBezTo>
                    <a:cubicBezTo>
                      <a:pt x="6370" y="5420"/>
                      <a:pt x="5348" y="3909"/>
                      <a:pt x="4083" y="3907"/>
                    </a:cubicBezTo>
                    <a:close/>
                    <a:moveTo>
                      <a:pt x="17479" y="3907"/>
                    </a:moveTo>
                    <a:cubicBezTo>
                      <a:pt x="16212" y="3907"/>
                      <a:pt x="15184" y="5418"/>
                      <a:pt x="15184" y="7292"/>
                    </a:cubicBezTo>
                    <a:cubicBezTo>
                      <a:pt x="15184" y="9165"/>
                      <a:pt x="16212" y="10686"/>
                      <a:pt x="17479" y="10686"/>
                    </a:cubicBezTo>
                    <a:cubicBezTo>
                      <a:pt x="18746" y="10686"/>
                      <a:pt x="19774" y="9165"/>
                      <a:pt x="19774" y="7292"/>
                    </a:cubicBezTo>
                    <a:cubicBezTo>
                      <a:pt x="19772" y="5417"/>
                      <a:pt x="18745" y="3908"/>
                      <a:pt x="17479" y="3907"/>
                    </a:cubicBezTo>
                    <a:close/>
                    <a:moveTo>
                      <a:pt x="4077" y="4817"/>
                    </a:moveTo>
                    <a:cubicBezTo>
                      <a:pt x="5001" y="4816"/>
                      <a:pt x="5749" y="5925"/>
                      <a:pt x="5750" y="7292"/>
                    </a:cubicBezTo>
                    <a:cubicBezTo>
                      <a:pt x="5749" y="8659"/>
                      <a:pt x="5006" y="9764"/>
                      <a:pt x="4083" y="9766"/>
                    </a:cubicBezTo>
                    <a:cubicBezTo>
                      <a:pt x="3159" y="9768"/>
                      <a:pt x="2405" y="8659"/>
                      <a:pt x="2404" y="7292"/>
                    </a:cubicBezTo>
                    <a:cubicBezTo>
                      <a:pt x="2403" y="5925"/>
                      <a:pt x="3153" y="4818"/>
                      <a:pt x="4077" y="4817"/>
                    </a:cubicBezTo>
                    <a:close/>
                    <a:moveTo>
                      <a:pt x="17479" y="4817"/>
                    </a:moveTo>
                    <a:cubicBezTo>
                      <a:pt x="18403" y="4817"/>
                      <a:pt x="19152" y="5925"/>
                      <a:pt x="19152" y="7292"/>
                    </a:cubicBezTo>
                    <a:cubicBezTo>
                      <a:pt x="19151" y="8658"/>
                      <a:pt x="18403" y="9765"/>
                      <a:pt x="17479" y="9766"/>
                    </a:cubicBezTo>
                    <a:cubicBezTo>
                      <a:pt x="16555" y="9766"/>
                      <a:pt x="15806" y="8659"/>
                      <a:pt x="15806" y="7292"/>
                    </a:cubicBezTo>
                    <a:cubicBezTo>
                      <a:pt x="15806" y="5925"/>
                      <a:pt x="16555" y="4817"/>
                      <a:pt x="17479" y="4817"/>
                    </a:cubicBezTo>
                    <a:close/>
                    <a:moveTo>
                      <a:pt x="10775" y="11246"/>
                    </a:moveTo>
                    <a:cubicBezTo>
                      <a:pt x="9400" y="11246"/>
                      <a:pt x="8026" y="11950"/>
                      <a:pt x="6916" y="13360"/>
                    </a:cubicBezTo>
                    <a:cubicBezTo>
                      <a:pt x="6174" y="12202"/>
                      <a:pt x="5143" y="11536"/>
                      <a:pt x="4064" y="11521"/>
                    </a:cubicBezTo>
                    <a:cubicBezTo>
                      <a:pt x="2059" y="11521"/>
                      <a:pt x="280" y="13959"/>
                      <a:pt x="7" y="17068"/>
                    </a:cubicBezTo>
                    <a:cubicBezTo>
                      <a:pt x="-22" y="17394"/>
                      <a:pt x="47" y="17720"/>
                      <a:pt x="193" y="17968"/>
                    </a:cubicBezTo>
                    <a:cubicBezTo>
                      <a:pt x="336" y="18207"/>
                      <a:pt x="541" y="18346"/>
                      <a:pt x="757" y="18348"/>
                    </a:cubicBezTo>
                    <a:lnTo>
                      <a:pt x="4692" y="18348"/>
                    </a:lnTo>
                    <a:cubicBezTo>
                      <a:pt x="4593" y="18844"/>
                      <a:pt x="4519" y="19352"/>
                      <a:pt x="4474" y="19865"/>
                    </a:cubicBezTo>
                    <a:cubicBezTo>
                      <a:pt x="4435" y="20307"/>
                      <a:pt x="4527" y="20751"/>
                      <a:pt x="4724" y="21088"/>
                    </a:cubicBezTo>
                    <a:cubicBezTo>
                      <a:pt x="4917" y="21413"/>
                      <a:pt x="5195" y="21600"/>
                      <a:pt x="5487" y="21600"/>
                    </a:cubicBezTo>
                    <a:lnTo>
                      <a:pt x="16063" y="21600"/>
                    </a:lnTo>
                    <a:cubicBezTo>
                      <a:pt x="16355" y="21600"/>
                      <a:pt x="16633" y="21413"/>
                      <a:pt x="16825" y="21088"/>
                    </a:cubicBezTo>
                    <a:cubicBezTo>
                      <a:pt x="17023" y="20751"/>
                      <a:pt x="17114" y="20307"/>
                      <a:pt x="17075" y="19865"/>
                    </a:cubicBezTo>
                    <a:cubicBezTo>
                      <a:pt x="17030" y="19352"/>
                      <a:pt x="16957" y="18844"/>
                      <a:pt x="16857" y="18348"/>
                    </a:cubicBezTo>
                    <a:lnTo>
                      <a:pt x="20799" y="18348"/>
                    </a:lnTo>
                    <a:cubicBezTo>
                      <a:pt x="21015" y="18346"/>
                      <a:pt x="21220" y="18208"/>
                      <a:pt x="21363" y="17968"/>
                    </a:cubicBezTo>
                    <a:cubicBezTo>
                      <a:pt x="21509" y="17720"/>
                      <a:pt x="21578" y="17394"/>
                      <a:pt x="21549" y="17068"/>
                    </a:cubicBezTo>
                    <a:cubicBezTo>
                      <a:pt x="21276" y="13959"/>
                      <a:pt x="19490" y="11521"/>
                      <a:pt x="17485" y="11521"/>
                    </a:cubicBezTo>
                    <a:cubicBezTo>
                      <a:pt x="16407" y="11536"/>
                      <a:pt x="15376" y="12202"/>
                      <a:pt x="14633" y="13360"/>
                    </a:cubicBezTo>
                    <a:cubicBezTo>
                      <a:pt x="13523" y="11950"/>
                      <a:pt x="12149" y="11246"/>
                      <a:pt x="10775" y="11246"/>
                    </a:cubicBezTo>
                    <a:close/>
                    <a:moveTo>
                      <a:pt x="10775" y="12165"/>
                    </a:moveTo>
                    <a:cubicBezTo>
                      <a:pt x="13578" y="12165"/>
                      <a:pt x="16075" y="15602"/>
                      <a:pt x="16460" y="19979"/>
                    </a:cubicBezTo>
                    <a:cubicBezTo>
                      <a:pt x="16475" y="20160"/>
                      <a:pt x="16439" y="20343"/>
                      <a:pt x="16357" y="20481"/>
                    </a:cubicBezTo>
                    <a:cubicBezTo>
                      <a:pt x="16283" y="20608"/>
                      <a:pt x="16176" y="20690"/>
                      <a:pt x="16063" y="20690"/>
                    </a:cubicBezTo>
                    <a:lnTo>
                      <a:pt x="5487" y="20690"/>
                    </a:lnTo>
                    <a:cubicBezTo>
                      <a:pt x="5373" y="20690"/>
                      <a:pt x="5267" y="20608"/>
                      <a:pt x="5192" y="20481"/>
                    </a:cubicBezTo>
                    <a:cubicBezTo>
                      <a:pt x="5111" y="20343"/>
                      <a:pt x="5074" y="20160"/>
                      <a:pt x="5090" y="19979"/>
                    </a:cubicBezTo>
                    <a:cubicBezTo>
                      <a:pt x="5474" y="15595"/>
                      <a:pt x="7971" y="12165"/>
                      <a:pt x="10775" y="12165"/>
                    </a:cubicBezTo>
                    <a:close/>
                    <a:moveTo>
                      <a:pt x="4064" y="12440"/>
                    </a:moveTo>
                    <a:cubicBezTo>
                      <a:pt x="4968" y="12456"/>
                      <a:pt x="5831" y="13009"/>
                      <a:pt x="6455" y="13976"/>
                    </a:cubicBezTo>
                    <a:cubicBezTo>
                      <a:pt x="5784" y="14959"/>
                      <a:pt x="5255" y="16131"/>
                      <a:pt x="4904" y="17428"/>
                    </a:cubicBezTo>
                    <a:cubicBezTo>
                      <a:pt x="4904" y="17428"/>
                      <a:pt x="757" y="17428"/>
                      <a:pt x="757" y="17428"/>
                    </a:cubicBezTo>
                    <a:cubicBezTo>
                      <a:pt x="719" y="17428"/>
                      <a:pt x="678" y="17405"/>
                      <a:pt x="654" y="17362"/>
                    </a:cubicBezTo>
                    <a:cubicBezTo>
                      <a:pt x="625" y="17314"/>
                      <a:pt x="616" y="17255"/>
                      <a:pt x="622" y="17191"/>
                    </a:cubicBezTo>
                    <a:cubicBezTo>
                      <a:pt x="855" y="14528"/>
                      <a:pt x="2365" y="12440"/>
                      <a:pt x="4064" y="12440"/>
                    </a:cubicBezTo>
                    <a:close/>
                    <a:moveTo>
                      <a:pt x="17485" y="12440"/>
                    </a:moveTo>
                    <a:cubicBezTo>
                      <a:pt x="19191" y="12440"/>
                      <a:pt x="20695" y="14518"/>
                      <a:pt x="20927" y="17181"/>
                    </a:cubicBezTo>
                    <a:cubicBezTo>
                      <a:pt x="20935" y="17244"/>
                      <a:pt x="20923" y="17313"/>
                      <a:pt x="20895" y="17362"/>
                    </a:cubicBezTo>
                    <a:cubicBezTo>
                      <a:pt x="20871" y="17405"/>
                      <a:pt x="20837" y="17428"/>
                      <a:pt x="20799" y="17428"/>
                    </a:cubicBezTo>
                    <a:lnTo>
                      <a:pt x="16646" y="17428"/>
                    </a:lnTo>
                    <a:cubicBezTo>
                      <a:pt x="16294" y="16131"/>
                      <a:pt x="15766" y="14959"/>
                      <a:pt x="15095" y="13976"/>
                    </a:cubicBezTo>
                    <a:cubicBezTo>
                      <a:pt x="15718" y="13009"/>
                      <a:pt x="16582" y="12456"/>
                      <a:pt x="17485" y="1244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36EB5D9D-5DF4-36C5-618F-411123FE9846}"/>
                  </a:ext>
                </a:extLst>
              </p:cNvPr>
              <p:cNvSpPr/>
              <p:nvPr/>
            </p:nvSpPr>
            <p:spPr>
              <a:xfrm>
                <a:off x="10010932" y="985824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9" name="Google Shape;1124;p39">
                <a:extLst>
                  <a:ext uri="{FF2B5EF4-FFF2-40B4-BE49-F238E27FC236}">
                    <a16:creationId xmlns:a16="http://schemas.microsoft.com/office/drawing/2014/main" id="{18D728D0-8914-4608-F2FC-2AF53C6BBDC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156603" y="1105849"/>
                <a:ext cx="425735" cy="4789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035" h="21600" extrusionOk="0">
                    <a:moveTo>
                      <a:pt x="10517" y="0"/>
                    </a:moveTo>
                    <a:cubicBezTo>
                      <a:pt x="9403" y="6"/>
                      <a:pt x="8505" y="835"/>
                      <a:pt x="8508" y="1851"/>
                    </a:cubicBezTo>
                    <a:cubicBezTo>
                      <a:pt x="8512" y="2757"/>
                      <a:pt x="9235" y="3523"/>
                      <a:pt x="10215" y="3661"/>
                    </a:cubicBezTo>
                    <a:cubicBezTo>
                      <a:pt x="10215" y="3661"/>
                      <a:pt x="10195" y="3661"/>
                      <a:pt x="10195" y="3661"/>
                    </a:cubicBezTo>
                    <a:lnTo>
                      <a:pt x="10195" y="4122"/>
                    </a:lnTo>
                    <a:cubicBezTo>
                      <a:pt x="10195" y="4282"/>
                      <a:pt x="10342" y="4410"/>
                      <a:pt x="10517" y="4410"/>
                    </a:cubicBezTo>
                    <a:cubicBezTo>
                      <a:pt x="10692" y="4410"/>
                      <a:pt x="10832" y="4282"/>
                      <a:pt x="10832" y="4122"/>
                    </a:cubicBezTo>
                    <a:lnTo>
                      <a:pt x="10832" y="3661"/>
                    </a:lnTo>
                    <a:cubicBezTo>
                      <a:pt x="11932" y="3500"/>
                      <a:pt x="12683" y="2556"/>
                      <a:pt x="12506" y="1552"/>
                    </a:cubicBezTo>
                    <a:cubicBezTo>
                      <a:pt x="12350" y="660"/>
                      <a:pt x="11507" y="1"/>
                      <a:pt x="10517" y="0"/>
                    </a:cubicBezTo>
                    <a:close/>
                    <a:moveTo>
                      <a:pt x="10510" y="581"/>
                    </a:moveTo>
                    <a:cubicBezTo>
                      <a:pt x="11274" y="582"/>
                      <a:pt x="11890" y="1148"/>
                      <a:pt x="11889" y="1845"/>
                    </a:cubicBezTo>
                    <a:cubicBezTo>
                      <a:pt x="11888" y="2541"/>
                      <a:pt x="11273" y="3109"/>
                      <a:pt x="10510" y="3110"/>
                    </a:cubicBezTo>
                    <a:cubicBezTo>
                      <a:pt x="9746" y="3109"/>
                      <a:pt x="9124" y="2543"/>
                      <a:pt x="9125" y="1845"/>
                    </a:cubicBezTo>
                    <a:cubicBezTo>
                      <a:pt x="9126" y="1150"/>
                      <a:pt x="9748" y="582"/>
                      <a:pt x="10510" y="581"/>
                    </a:cubicBezTo>
                    <a:close/>
                    <a:moveTo>
                      <a:pt x="2028" y="4482"/>
                    </a:moveTo>
                    <a:cubicBezTo>
                      <a:pt x="1321" y="4478"/>
                      <a:pt x="641" y="4818"/>
                      <a:pt x="269" y="5404"/>
                    </a:cubicBezTo>
                    <a:cubicBezTo>
                      <a:pt x="-283" y="6288"/>
                      <a:pt x="51" y="7415"/>
                      <a:pt x="1017" y="7921"/>
                    </a:cubicBezTo>
                    <a:cubicBezTo>
                      <a:pt x="1878" y="8371"/>
                      <a:pt x="2969" y="8177"/>
                      <a:pt x="3591" y="7472"/>
                    </a:cubicBezTo>
                    <a:cubicBezTo>
                      <a:pt x="3591" y="7472"/>
                      <a:pt x="3584" y="7484"/>
                      <a:pt x="3584" y="7484"/>
                    </a:cubicBezTo>
                    <a:lnTo>
                      <a:pt x="4017" y="7717"/>
                    </a:lnTo>
                    <a:cubicBezTo>
                      <a:pt x="4169" y="7797"/>
                      <a:pt x="4363" y="7748"/>
                      <a:pt x="4451" y="7609"/>
                    </a:cubicBezTo>
                    <a:cubicBezTo>
                      <a:pt x="4538" y="7471"/>
                      <a:pt x="4491" y="7294"/>
                      <a:pt x="4339" y="7214"/>
                    </a:cubicBezTo>
                    <a:lnTo>
                      <a:pt x="3899" y="6980"/>
                    </a:lnTo>
                    <a:cubicBezTo>
                      <a:pt x="4297" y="6030"/>
                      <a:pt x="3778" y="4970"/>
                      <a:pt x="2737" y="4608"/>
                    </a:cubicBezTo>
                    <a:cubicBezTo>
                      <a:pt x="2506" y="4527"/>
                      <a:pt x="2264" y="4483"/>
                      <a:pt x="2028" y="4482"/>
                    </a:cubicBezTo>
                    <a:close/>
                    <a:moveTo>
                      <a:pt x="18763" y="4500"/>
                    </a:moveTo>
                    <a:cubicBezTo>
                      <a:pt x="18503" y="4530"/>
                      <a:pt x="18249" y="4606"/>
                      <a:pt x="18008" y="4733"/>
                    </a:cubicBezTo>
                    <a:cubicBezTo>
                      <a:pt x="17151" y="5189"/>
                      <a:pt x="16782" y="6148"/>
                      <a:pt x="17141" y="6992"/>
                    </a:cubicBezTo>
                    <a:cubicBezTo>
                      <a:pt x="17141" y="6992"/>
                      <a:pt x="17135" y="6980"/>
                      <a:pt x="17135" y="6980"/>
                    </a:cubicBezTo>
                    <a:lnTo>
                      <a:pt x="16695" y="7208"/>
                    </a:lnTo>
                    <a:cubicBezTo>
                      <a:pt x="16543" y="7288"/>
                      <a:pt x="16496" y="7465"/>
                      <a:pt x="16583" y="7603"/>
                    </a:cubicBezTo>
                    <a:cubicBezTo>
                      <a:pt x="16671" y="7742"/>
                      <a:pt x="16865" y="7791"/>
                      <a:pt x="17017" y="7711"/>
                    </a:cubicBezTo>
                    <a:lnTo>
                      <a:pt x="17450" y="7478"/>
                    </a:lnTo>
                    <a:cubicBezTo>
                      <a:pt x="18152" y="8267"/>
                      <a:pt x="19428" y="8388"/>
                      <a:pt x="20293" y="7747"/>
                    </a:cubicBezTo>
                    <a:cubicBezTo>
                      <a:pt x="21061" y="7177"/>
                      <a:pt x="21260" y="6181"/>
                      <a:pt x="20765" y="5399"/>
                    </a:cubicBezTo>
                    <a:cubicBezTo>
                      <a:pt x="20343" y="4740"/>
                      <a:pt x="19543" y="4409"/>
                      <a:pt x="18763" y="4500"/>
                    </a:cubicBezTo>
                    <a:close/>
                    <a:moveTo>
                      <a:pt x="18842" y="5063"/>
                    </a:moveTo>
                    <a:cubicBezTo>
                      <a:pt x="19376" y="5003"/>
                      <a:pt x="19927" y="5234"/>
                      <a:pt x="20214" y="5686"/>
                    </a:cubicBezTo>
                    <a:cubicBezTo>
                      <a:pt x="20595" y="6290"/>
                      <a:pt x="20364" y="7058"/>
                      <a:pt x="19702" y="7406"/>
                    </a:cubicBezTo>
                    <a:cubicBezTo>
                      <a:pt x="19041" y="7753"/>
                      <a:pt x="18200" y="7547"/>
                      <a:pt x="17817" y="6944"/>
                    </a:cubicBezTo>
                    <a:cubicBezTo>
                      <a:pt x="17436" y="6340"/>
                      <a:pt x="17661" y="5573"/>
                      <a:pt x="18323" y="5225"/>
                    </a:cubicBezTo>
                    <a:cubicBezTo>
                      <a:pt x="18488" y="5138"/>
                      <a:pt x="18664" y="5083"/>
                      <a:pt x="18842" y="5063"/>
                    </a:cubicBezTo>
                    <a:close/>
                    <a:moveTo>
                      <a:pt x="2186" y="5081"/>
                    </a:moveTo>
                    <a:cubicBezTo>
                      <a:pt x="2364" y="5101"/>
                      <a:pt x="2539" y="5155"/>
                      <a:pt x="2704" y="5243"/>
                    </a:cubicBezTo>
                    <a:cubicBezTo>
                      <a:pt x="3364" y="5592"/>
                      <a:pt x="3590" y="6359"/>
                      <a:pt x="3210" y="6962"/>
                    </a:cubicBezTo>
                    <a:cubicBezTo>
                      <a:pt x="2827" y="7566"/>
                      <a:pt x="1980" y="7773"/>
                      <a:pt x="1319" y="7424"/>
                    </a:cubicBezTo>
                    <a:cubicBezTo>
                      <a:pt x="659" y="7075"/>
                      <a:pt x="433" y="6301"/>
                      <a:pt x="814" y="5698"/>
                    </a:cubicBezTo>
                    <a:cubicBezTo>
                      <a:pt x="1101" y="5246"/>
                      <a:pt x="1651" y="5020"/>
                      <a:pt x="2186" y="5081"/>
                    </a:cubicBezTo>
                    <a:close/>
                    <a:moveTo>
                      <a:pt x="10517" y="5081"/>
                    </a:moveTo>
                    <a:cubicBezTo>
                      <a:pt x="10342" y="5081"/>
                      <a:pt x="10202" y="5215"/>
                      <a:pt x="10202" y="5375"/>
                    </a:cubicBezTo>
                    <a:lnTo>
                      <a:pt x="10202" y="6417"/>
                    </a:lnTo>
                    <a:cubicBezTo>
                      <a:pt x="10202" y="6577"/>
                      <a:pt x="10342" y="6705"/>
                      <a:pt x="10517" y="6705"/>
                    </a:cubicBezTo>
                    <a:cubicBezTo>
                      <a:pt x="10692" y="6705"/>
                      <a:pt x="10839" y="6577"/>
                      <a:pt x="10839" y="6417"/>
                    </a:cubicBezTo>
                    <a:lnTo>
                      <a:pt x="10839" y="5375"/>
                    </a:lnTo>
                    <a:cubicBezTo>
                      <a:pt x="10839" y="5215"/>
                      <a:pt x="10692" y="5081"/>
                      <a:pt x="10517" y="5081"/>
                    </a:cubicBezTo>
                    <a:close/>
                    <a:moveTo>
                      <a:pt x="10530" y="7388"/>
                    </a:moveTo>
                    <a:cubicBezTo>
                      <a:pt x="10355" y="7388"/>
                      <a:pt x="10215" y="7515"/>
                      <a:pt x="10215" y="7675"/>
                    </a:cubicBezTo>
                    <a:lnTo>
                      <a:pt x="10215" y="8113"/>
                    </a:lnTo>
                    <a:lnTo>
                      <a:pt x="9322" y="8113"/>
                    </a:lnTo>
                    <a:cubicBezTo>
                      <a:pt x="8639" y="8113"/>
                      <a:pt x="8046" y="8470"/>
                      <a:pt x="7760" y="8994"/>
                    </a:cubicBezTo>
                    <a:lnTo>
                      <a:pt x="7399" y="8802"/>
                    </a:lnTo>
                    <a:cubicBezTo>
                      <a:pt x="7247" y="8721"/>
                      <a:pt x="7054" y="8772"/>
                      <a:pt x="6965" y="8910"/>
                    </a:cubicBezTo>
                    <a:cubicBezTo>
                      <a:pt x="6877" y="9048"/>
                      <a:pt x="6925" y="9224"/>
                      <a:pt x="7077" y="9305"/>
                    </a:cubicBezTo>
                    <a:lnTo>
                      <a:pt x="7576" y="9575"/>
                    </a:lnTo>
                    <a:cubicBezTo>
                      <a:pt x="7572" y="9618"/>
                      <a:pt x="7576" y="9662"/>
                      <a:pt x="7576" y="9707"/>
                    </a:cubicBezTo>
                    <a:lnTo>
                      <a:pt x="7576" y="11893"/>
                    </a:lnTo>
                    <a:cubicBezTo>
                      <a:pt x="7576" y="11938"/>
                      <a:pt x="7572" y="11982"/>
                      <a:pt x="7576" y="12025"/>
                    </a:cubicBezTo>
                    <a:lnTo>
                      <a:pt x="7077" y="12295"/>
                    </a:lnTo>
                    <a:cubicBezTo>
                      <a:pt x="6925" y="12376"/>
                      <a:pt x="6877" y="12552"/>
                      <a:pt x="6965" y="12690"/>
                    </a:cubicBezTo>
                    <a:cubicBezTo>
                      <a:pt x="7024" y="12783"/>
                      <a:pt x="7132" y="12834"/>
                      <a:pt x="7241" y="12834"/>
                    </a:cubicBezTo>
                    <a:cubicBezTo>
                      <a:pt x="7295" y="12834"/>
                      <a:pt x="7348" y="12819"/>
                      <a:pt x="7399" y="12792"/>
                    </a:cubicBezTo>
                    <a:lnTo>
                      <a:pt x="7760" y="12606"/>
                    </a:lnTo>
                    <a:cubicBezTo>
                      <a:pt x="8046" y="13130"/>
                      <a:pt x="8639" y="13487"/>
                      <a:pt x="9322" y="13487"/>
                    </a:cubicBezTo>
                    <a:lnTo>
                      <a:pt x="10215" y="13487"/>
                    </a:lnTo>
                    <a:lnTo>
                      <a:pt x="10215" y="13925"/>
                    </a:lnTo>
                    <a:cubicBezTo>
                      <a:pt x="10215" y="14085"/>
                      <a:pt x="10355" y="14212"/>
                      <a:pt x="10530" y="14212"/>
                    </a:cubicBezTo>
                    <a:cubicBezTo>
                      <a:pt x="10705" y="14212"/>
                      <a:pt x="10845" y="14085"/>
                      <a:pt x="10845" y="13925"/>
                    </a:cubicBezTo>
                    <a:lnTo>
                      <a:pt x="10845" y="13487"/>
                    </a:lnTo>
                    <a:lnTo>
                      <a:pt x="11718" y="13487"/>
                    </a:lnTo>
                    <a:cubicBezTo>
                      <a:pt x="12402" y="13487"/>
                      <a:pt x="12995" y="13130"/>
                      <a:pt x="13281" y="12606"/>
                    </a:cubicBezTo>
                    <a:lnTo>
                      <a:pt x="13635" y="12792"/>
                    </a:lnTo>
                    <a:cubicBezTo>
                      <a:pt x="13686" y="12819"/>
                      <a:pt x="13745" y="12834"/>
                      <a:pt x="13800" y="12834"/>
                    </a:cubicBezTo>
                    <a:cubicBezTo>
                      <a:pt x="13909" y="12834"/>
                      <a:pt x="14016" y="12783"/>
                      <a:pt x="14075" y="12690"/>
                    </a:cubicBezTo>
                    <a:cubicBezTo>
                      <a:pt x="14164" y="12552"/>
                      <a:pt x="14115" y="12376"/>
                      <a:pt x="13964" y="12295"/>
                    </a:cubicBezTo>
                    <a:lnTo>
                      <a:pt x="13458" y="12025"/>
                    </a:lnTo>
                    <a:cubicBezTo>
                      <a:pt x="13462" y="11982"/>
                      <a:pt x="13465" y="11938"/>
                      <a:pt x="13465" y="11893"/>
                    </a:cubicBezTo>
                    <a:lnTo>
                      <a:pt x="13465" y="9707"/>
                    </a:lnTo>
                    <a:cubicBezTo>
                      <a:pt x="13465" y="9662"/>
                      <a:pt x="13462" y="9618"/>
                      <a:pt x="13458" y="9575"/>
                    </a:cubicBezTo>
                    <a:lnTo>
                      <a:pt x="13964" y="9305"/>
                    </a:lnTo>
                    <a:cubicBezTo>
                      <a:pt x="14115" y="9224"/>
                      <a:pt x="14164" y="9048"/>
                      <a:pt x="14075" y="8910"/>
                    </a:cubicBezTo>
                    <a:cubicBezTo>
                      <a:pt x="13987" y="8772"/>
                      <a:pt x="13787" y="8721"/>
                      <a:pt x="13635" y="8802"/>
                    </a:cubicBezTo>
                    <a:lnTo>
                      <a:pt x="13281" y="8994"/>
                    </a:lnTo>
                    <a:cubicBezTo>
                      <a:pt x="12995" y="8470"/>
                      <a:pt x="12402" y="8113"/>
                      <a:pt x="11718" y="8113"/>
                    </a:cubicBezTo>
                    <a:lnTo>
                      <a:pt x="10845" y="8113"/>
                    </a:lnTo>
                    <a:lnTo>
                      <a:pt x="10845" y="7675"/>
                    </a:lnTo>
                    <a:cubicBezTo>
                      <a:pt x="10845" y="7515"/>
                      <a:pt x="10705" y="7388"/>
                      <a:pt x="10530" y="7388"/>
                    </a:cubicBezTo>
                    <a:close/>
                    <a:moveTo>
                      <a:pt x="5160" y="7687"/>
                    </a:moveTo>
                    <a:cubicBezTo>
                      <a:pt x="5081" y="7706"/>
                      <a:pt x="5007" y="7756"/>
                      <a:pt x="4963" y="7825"/>
                    </a:cubicBezTo>
                    <a:cubicBezTo>
                      <a:pt x="4874" y="7963"/>
                      <a:pt x="4923" y="8145"/>
                      <a:pt x="5074" y="8227"/>
                    </a:cubicBezTo>
                    <a:lnTo>
                      <a:pt x="6059" y="8754"/>
                    </a:lnTo>
                    <a:cubicBezTo>
                      <a:pt x="6210" y="8835"/>
                      <a:pt x="6410" y="8790"/>
                      <a:pt x="6499" y="8652"/>
                    </a:cubicBezTo>
                    <a:cubicBezTo>
                      <a:pt x="6588" y="8514"/>
                      <a:pt x="6532" y="8332"/>
                      <a:pt x="6381" y="8251"/>
                    </a:cubicBezTo>
                    <a:lnTo>
                      <a:pt x="5396" y="7723"/>
                    </a:lnTo>
                    <a:cubicBezTo>
                      <a:pt x="5321" y="7683"/>
                      <a:pt x="5238" y="7669"/>
                      <a:pt x="5160" y="7687"/>
                    </a:cubicBezTo>
                    <a:close/>
                    <a:moveTo>
                      <a:pt x="15881" y="7687"/>
                    </a:moveTo>
                    <a:cubicBezTo>
                      <a:pt x="15802" y="7669"/>
                      <a:pt x="15720" y="7683"/>
                      <a:pt x="15644" y="7723"/>
                    </a:cubicBezTo>
                    <a:lnTo>
                      <a:pt x="14653" y="8251"/>
                    </a:lnTo>
                    <a:cubicBezTo>
                      <a:pt x="14502" y="8332"/>
                      <a:pt x="14453" y="8514"/>
                      <a:pt x="14541" y="8652"/>
                    </a:cubicBezTo>
                    <a:cubicBezTo>
                      <a:pt x="14630" y="8790"/>
                      <a:pt x="14824" y="8835"/>
                      <a:pt x="14975" y="8754"/>
                    </a:cubicBezTo>
                    <a:lnTo>
                      <a:pt x="15966" y="8227"/>
                    </a:lnTo>
                    <a:cubicBezTo>
                      <a:pt x="16117" y="8145"/>
                      <a:pt x="16160" y="7963"/>
                      <a:pt x="16071" y="7825"/>
                    </a:cubicBezTo>
                    <a:cubicBezTo>
                      <a:pt x="16027" y="7756"/>
                      <a:pt x="15959" y="7706"/>
                      <a:pt x="15881" y="7687"/>
                    </a:cubicBezTo>
                    <a:close/>
                    <a:moveTo>
                      <a:pt x="9322" y="8688"/>
                    </a:moveTo>
                    <a:lnTo>
                      <a:pt x="11718" y="8688"/>
                    </a:lnTo>
                    <a:cubicBezTo>
                      <a:pt x="12331" y="8688"/>
                      <a:pt x="12828" y="9147"/>
                      <a:pt x="12828" y="9707"/>
                    </a:cubicBezTo>
                    <a:lnTo>
                      <a:pt x="12828" y="11893"/>
                    </a:lnTo>
                    <a:cubicBezTo>
                      <a:pt x="12828" y="12452"/>
                      <a:pt x="12331" y="12906"/>
                      <a:pt x="11718" y="12906"/>
                    </a:cubicBezTo>
                    <a:lnTo>
                      <a:pt x="9322" y="12906"/>
                    </a:lnTo>
                    <a:cubicBezTo>
                      <a:pt x="8710" y="12906"/>
                      <a:pt x="8206" y="12452"/>
                      <a:pt x="8206" y="11893"/>
                    </a:cubicBezTo>
                    <a:lnTo>
                      <a:pt x="8206" y="9707"/>
                    </a:lnTo>
                    <a:cubicBezTo>
                      <a:pt x="8206" y="9147"/>
                      <a:pt x="8710" y="8688"/>
                      <a:pt x="9322" y="8688"/>
                    </a:cubicBezTo>
                    <a:close/>
                    <a:moveTo>
                      <a:pt x="6302" y="12816"/>
                    </a:moveTo>
                    <a:cubicBezTo>
                      <a:pt x="6224" y="12798"/>
                      <a:pt x="6135" y="12806"/>
                      <a:pt x="6059" y="12846"/>
                    </a:cubicBezTo>
                    <a:lnTo>
                      <a:pt x="5074" y="13373"/>
                    </a:lnTo>
                    <a:cubicBezTo>
                      <a:pt x="4923" y="13455"/>
                      <a:pt x="4874" y="13637"/>
                      <a:pt x="4963" y="13775"/>
                    </a:cubicBezTo>
                    <a:cubicBezTo>
                      <a:pt x="5052" y="13913"/>
                      <a:pt x="5245" y="13958"/>
                      <a:pt x="5396" y="13877"/>
                    </a:cubicBezTo>
                    <a:lnTo>
                      <a:pt x="6381" y="13349"/>
                    </a:lnTo>
                    <a:cubicBezTo>
                      <a:pt x="6532" y="13268"/>
                      <a:pt x="6588" y="13086"/>
                      <a:pt x="6499" y="12948"/>
                    </a:cubicBezTo>
                    <a:cubicBezTo>
                      <a:pt x="6455" y="12879"/>
                      <a:pt x="6381" y="12835"/>
                      <a:pt x="6302" y="12816"/>
                    </a:cubicBezTo>
                    <a:close/>
                    <a:moveTo>
                      <a:pt x="14732" y="12816"/>
                    </a:moveTo>
                    <a:cubicBezTo>
                      <a:pt x="14653" y="12835"/>
                      <a:pt x="14586" y="12879"/>
                      <a:pt x="14541" y="12948"/>
                    </a:cubicBezTo>
                    <a:cubicBezTo>
                      <a:pt x="14452" y="13086"/>
                      <a:pt x="14502" y="13268"/>
                      <a:pt x="14653" y="13349"/>
                    </a:cubicBezTo>
                    <a:lnTo>
                      <a:pt x="15644" y="13877"/>
                    </a:lnTo>
                    <a:cubicBezTo>
                      <a:pt x="15795" y="13958"/>
                      <a:pt x="15982" y="13913"/>
                      <a:pt x="16071" y="13775"/>
                    </a:cubicBezTo>
                    <a:cubicBezTo>
                      <a:pt x="16160" y="13637"/>
                      <a:pt x="16117" y="13455"/>
                      <a:pt x="15966" y="13373"/>
                    </a:cubicBezTo>
                    <a:lnTo>
                      <a:pt x="14975" y="12846"/>
                    </a:lnTo>
                    <a:cubicBezTo>
                      <a:pt x="14899" y="12806"/>
                      <a:pt x="14810" y="12798"/>
                      <a:pt x="14732" y="12816"/>
                    </a:cubicBezTo>
                    <a:close/>
                    <a:moveTo>
                      <a:pt x="2225" y="13451"/>
                    </a:moveTo>
                    <a:cubicBezTo>
                      <a:pt x="1712" y="13403"/>
                      <a:pt x="1180" y="13538"/>
                      <a:pt x="748" y="13859"/>
                    </a:cubicBezTo>
                    <a:cubicBezTo>
                      <a:pt x="-20" y="14429"/>
                      <a:pt x="-226" y="15419"/>
                      <a:pt x="269" y="16201"/>
                    </a:cubicBezTo>
                    <a:cubicBezTo>
                      <a:pt x="831" y="17079"/>
                      <a:pt x="2069" y="17377"/>
                      <a:pt x="3033" y="16867"/>
                    </a:cubicBezTo>
                    <a:cubicBezTo>
                      <a:pt x="3890" y="16411"/>
                      <a:pt x="4258" y="15458"/>
                      <a:pt x="3899" y="14614"/>
                    </a:cubicBezTo>
                    <a:cubicBezTo>
                      <a:pt x="3899" y="14614"/>
                      <a:pt x="3906" y="14626"/>
                      <a:pt x="3906" y="14626"/>
                    </a:cubicBezTo>
                    <a:lnTo>
                      <a:pt x="4339" y="14398"/>
                    </a:lnTo>
                    <a:cubicBezTo>
                      <a:pt x="4491" y="14318"/>
                      <a:pt x="4545" y="14135"/>
                      <a:pt x="4457" y="13997"/>
                    </a:cubicBezTo>
                    <a:cubicBezTo>
                      <a:pt x="4370" y="13858"/>
                      <a:pt x="4176" y="13815"/>
                      <a:pt x="4024" y="13895"/>
                    </a:cubicBezTo>
                    <a:lnTo>
                      <a:pt x="3584" y="14122"/>
                    </a:lnTo>
                    <a:cubicBezTo>
                      <a:pt x="3233" y="13728"/>
                      <a:pt x="2739" y="13500"/>
                      <a:pt x="2225" y="13451"/>
                    </a:cubicBezTo>
                    <a:close/>
                    <a:moveTo>
                      <a:pt x="19341" y="13469"/>
                    </a:moveTo>
                    <a:cubicBezTo>
                      <a:pt x="18641" y="13366"/>
                      <a:pt x="17909" y="13599"/>
                      <a:pt x="17443" y="14128"/>
                    </a:cubicBezTo>
                    <a:cubicBezTo>
                      <a:pt x="17443" y="14128"/>
                      <a:pt x="17450" y="14116"/>
                      <a:pt x="17450" y="14116"/>
                    </a:cubicBezTo>
                    <a:lnTo>
                      <a:pt x="17017" y="13889"/>
                    </a:lnTo>
                    <a:cubicBezTo>
                      <a:pt x="16865" y="13809"/>
                      <a:pt x="16671" y="13858"/>
                      <a:pt x="16583" y="13997"/>
                    </a:cubicBezTo>
                    <a:cubicBezTo>
                      <a:pt x="16496" y="14135"/>
                      <a:pt x="16549" y="14312"/>
                      <a:pt x="16701" y="14392"/>
                    </a:cubicBezTo>
                    <a:lnTo>
                      <a:pt x="17135" y="14620"/>
                    </a:lnTo>
                    <a:cubicBezTo>
                      <a:pt x="16737" y="15570"/>
                      <a:pt x="17263" y="16636"/>
                      <a:pt x="18303" y="16998"/>
                    </a:cubicBezTo>
                    <a:cubicBezTo>
                      <a:pt x="19228" y="17321"/>
                      <a:pt x="20269" y="16984"/>
                      <a:pt x="20765" y="16201"/>
                    </a:cubicBezTo>
                    <a:cubicBezTo>
                      <a:pt x="21317" y="15318"/>
                      <a:pt x="20983" y="14191"/>
                      <a:pt x="20017" y="13685"/>
                    </a:cubicBezTo>
                    <a:cubicBezTo>
                      <a:pt x="19802" y="13573"/>
                      <a:pt x="19574" y="13504"/>
                      <a:pt x="19341" y="13469"/>
                    </a:cubicBezTo>
                    <a:close/>
                    <a:moveTo>
                      <a:pt x="19196" y="14021"/>
                    </a:moveTo>
                    <a:cubicBezTo>
                      <a:pt x="19374" y="14041"/>
                      <a:pt x="19550" y="14095"/>
                      <a:pt x="19715" y="14182"/>
                    </a:cubicBezTo>
                    <a:cubicBezTo>
                      <a:pt x="20375" y="14531"/>
                      <a:pt x="20601" y="15299"/>
                      <a:pt x="20220" y="15902"/>
                    </a:cubicBezTo>
                    <a:cubicBezTo>
                      <a:pt x="19837" y="16505"/>
                      <a:pt x="18991" y="16713"/>
                      <a:pt x="18330" y="16363"/>
                    </a:cubicBezTo>
                    <a:cubicBezTo>
                      <a:pt x="17670" y="16014"/>
                      <a:pt x="17444" y="15247"/>
                      <a:pt x="17824" y="14644"/>
                    </a:cubicBezTo>
                    <a:cubicBezTo>
                      <a:pt x="18111" y="14191"/>
                      <a:pt x="18661" y="13959"/>
                      <a:pt x="19196" y="14021"/>
                    </a:cubicBezTo>
                    <a:close/>
                    <a:moveTo>
                      <a:pt x="1858" y="14039"/>
                    </a:moveTo>
                    <a:cubicBezTo>
                      <a:pt x="2392" y="13978"/>
                      <a:pt x="2936" y="14204"/>
                      <a:pt x="3223" y="14656"/>
                    </a:cubicBezTo>
                    <a:cubicBezTo>
                      <a:pt x="3604" y="15260"/>
                      <a:pt x="3373" y="16033"/>
                      <a:pt x="2711" y="16381"/>
                    </a:cubicBezTo>
                    <a:cubicBezTo>
                      <a:pt x="2050" y="16728"/>
                      <a:pt x="1209" y="16522"/>
                      <a:pt x="827" y="15920"/>
                    </a:cubicBezTo>
                    <a:cubicBezTo>
                      <a:pt x="446" y="15316"/>
                      <a:pt x="670" y="14542"/>
                      <a:pt x="1332" y="14194"/>
                    </a:cubicBezTo>
                    <a:cubicBezTo>
                      <a:pt x="1498" y="14108"/>
                      <a:pt x="1680" y="14059"/>
                      <a:pt x="1858" y="14039"/>
                    </a:cubicBezTo>
                    <a:close/>
                    <a:moveTo>
                      <a:pt x="10517" y="14889"/>
                    </a:moveTo>
                    <a:cubicBezTo>
                      <a:pt x="10342" y="14889"/>
                      <a:pt x="10202" y="15017"/>
                      <a:pt x="10202" y="15177"/>
                    </a:cubicBezTo>
                    <a:lnTo>
                      <a:pt x="10202" y="16225"/>
                    </a:lnTo>
                    <a:cubicBezTo>
                      <a:pt x="10202" y="16385"/>
                      <a:pt x="10342" y="16513"/>
                      <a:pt x="10517" y="16513"/>
                    </a:cubicBezTo>
                    <a:cubicBezTo>
                      <a:pt x="10692" y="16513"/>
                      <a:pt x="10839" y="16385"/>
                      <a:pt x="10839" y="16225"/>
                    </a:cubicBezTo>
                    <a:lnTo>
                      <a:pt x="10839" y="15177"/>
                    </a:lnTo>
                    <a:cubicBezTo>
                      <a:pt x="10839" y="15017"/>
                      <a:pt x="10692" y="14889"/>
                      <a:pt x="10517" y="14889"/>
                    </a:cubicBezTo>
                    <a:close/>
                    <a:moveTo>
                      <a:pt x="10524" y="17190"/>
                    </a:moveTo>
                    <a:cubicBezTo>
                      <a:pt x="10348" y="17190"/>
                      <a:pt x="10202" y="17324"/>
                      <a:pt x="10202" y="17484"/>
                    </a:cubicBezTo>
                    <a:lnTo>
                      <a:pt x="10202" y="17945"/>
                    </a:lnTo>
                    <a:cubicBezTo>
                      <a:pt x="9102" y="18106"/>
                      <a:pt x="8358" y="19050"/>
                      <a:pt x="8534" y="20054"/>
                    </a:cubicBezTo>
                    <a:cubicBezTo>
                      <a:pt x="8691" y="20946"/>
                      <a:pt x="9533" y="21599"/>
                      <a:pt x="10524" y="21600"/>
                    </a:cubicBezTo>
                    <a:cubicBezTo>
                      <a:pt x="11638" y="21594"/>
                      <a:pt x="12535" y="20771"/>
                      <a:pt x="12533" y="19755"/>
                    </a:cubicBezTo>
                    <a:cubicBezTo>
                      <a:pt x="12529" y="18849"/>
                      <a:pt x="11806" y="18077"/>
                      <a:pt x="10826" y="17939"/>
                    </a:cubicBezTo>
                    <a:cubicBezTo>
                      <a:pt x="10826" y="17939"/>
                      <a:pt x="10839" y="17939"/>
                      <a:pt x="10839" y="17939"/>
                    </a:cubicBezTo>
                    <a:lnTo>
                      <a:pt x="10839" y="17484"/>
                    </a:lnTo>
                    <a:cubicBezTo>
                      <a:pt x="10839" y="17324"/>
                      <a:pt x="10699" y="17190"/>
                      <a:pt x="10524" y="17190"/>
                    </a:cubicBezTo>
                    <a:close/>
                    <a:moveTo>
                      <a:pt x="10530" y="18496"/>
                    </a:moveTo>
                    <a:cubicBezTo>
                      <a:pt x="11294" y="18497"/>
                      <a:pt x="11910" y="19063"/>
                      <a:pt x="11909" y="19761"/>
                    </a:cubicBezTo>
                    <a:cubicBezTo>
                      <a:pt x="11908" y="20456"/>
                      <a:pt x="11293" y="21024"/>
                      <a:pt x="10530" y="21025"/>
                    </a:cubicBezTo>
                    <a:cubicBezTo>
                      <a:pt x="9766" y="21024"/>
                      <a:pt x="9144" y="20458"/>
                      <a:pt x="9145" y="19761"/>
                    </a:cubicBezTo>
                    <a:cubicBezTo>
                      <a:pt x="9146" y="19065"/>
                      <a:pt x="9768" y="18497"/>
                      <a:pt x="10530" y="18496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rgbClr val="FFFFFF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F7DD05F9-5111-47F7-BFD3-71B58D84FB84}"/>
                  </a:ext>
                </a:extLst>
              </p:cNvPr>
              <p:cNvSpPr/>
              <p:nvPr/>
            </p:nvSpPr>
            <p:spPr>
              <a:xfrm>
                <a:off x="5987644" y="5179342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A2951D5B-41AB-74A6-DA7A-0DA29F0F4AB7}"/>
                  </a:ext>
                </a:extLst>
              </p:cNvPr>
              <p:cNvSpPr/>
              <p:nvPr/>
            </p:nvSpPr>
            <p:spPr>
              <a:xfrm>
                <a:off x="10067322" y="5111810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Google Shape;1289;p42">
                <a:extLst>
                  <a:ext uri="{FF2B5EF4-FFF2-40B4-BE49-F238E27FC236}">
                    <a16:creationId xmlns:a16="http://schemas.microsoft.com/office/drawing/2014/main" id="{E808E6E3-CF68-BE3F-3306-502E86A421F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137428" y="5325129"/>
                <a:ext cx="395506" cy="3953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29" h="21561" extrusionOk="0">
                    <a:moveTo>
                      <a:pt x="2333" y="17662"/>
                    </a:moveTo>
                    <a:cubicBezTo>
                      <a:pt x="2051" y="17674"/>
                      <a:pt x="1776" y="17573"/>
                      <a:pt x="1568" y="17383"/>
                    </a:cubicBezTo>
                    <a:cubicBezTo>
                      <a:pt x="895" y="16708"/>
                      <a:pt x="698" y="15663"/>
                      <a:pt x="639" y="15099"/>
                    </a:cubicBezTo>
                    <a:cubicBezTo>
                      <a:pt x="631" y="15013"/>
                      <a:pt x="693" y="14937"/>
                      <a:pt x="778" y="14929"/>
                    </a:cubicBezTo>
                    <a:cubicBezTo>
                      <a:pt x="783" y="14928"/>
                      <a:pt x="789" y="14928"/>
                      <a:pt x="794" y="14928"/>
                    </a:cubicBezTo>
                    <a:lnTo>
                      <a:pt x="811" y="14928"/>
                    </a:lnTo>
                    <a:cubicBezTo>
                      <a:pt x="1367" y="14985"/>
                      <a:pt x="2393" y="15178"/>
                      <a:pt x="3066" y="15832"/>
                    </a:cubicBezTo>
                    <a:lnTo>
                      <a:pt x="3080" y="15849"/>
                    </a:lnTo>
                    <a:cubicBezTo>
                      <a:pt x="3397" y="16195"/>
                      <a:pt x="3456" y="16704"/>
                      <a:pt x="3227" y="17113"/>
                    </a:cubicBezTo>
                    <a:cubicBezTo>
                      <a:pt x="3017" y="16822"/>
                      <a:pt x="2768" y="16561"/>
                      <a:pt x="2488" y="16338"/>
                    </a:cubicBezTo>
                    <a:cubicBezTo>
                      <a:pt x="2356" y="16228"/>
                      <a:pt x="2161" y="16246"/>
                      <a:pt x="2051" y="16377"/>
                    </a:cubicBezTo>
                    <a:cubicBezTo>
                      <a:pt x="1942" y="16509"/>
                      <a:pt x="1960" y="16705"/>
                      <a:pt x="2091" y="16814"/>
                    </a:cubicBezTo>
                    <a:cubicBezTo>
                      <a:pt x="2101" y="16822"/>
                      <a:pt x="2111" y="16830"/>
                      <a:pt x="2122" y="16837"/>
                    </a:cubicBezTo>
                    <a:cubicBezTo>
                      <a:pt x="2370" y="17043"/>
                      <a:pt x="2590" y="17281"/>
                      <a:pt x="2775" y="17544"/>
                    </a:cubicBezTo>
                    <a:cubicBezTo>
                      <a:pt x="2638" y="17615"/>
                      <a:pt x="2487" y="17656"/>
                      <a:pt x="2333" y="17662"/>
                    </a:cubicBezTo>
                    <a:cubicBezTo>
                      <a:pt x="2333" y="17662"/>
                      <a:pt x="2333" y="17662"/>
                      <a:pt x="2333" y="17662"/>
                    </a:cubicBezTo>
                    <a:close/>
                    <a:moveTo>
                      <a:pt x="5294" y="15849"/>
                    </a:moveTo>
                    <a:lnTo>
                      <a:pt x="5308" y="15832"/>
                    </a:lnTo>
                    <a:cubicBezTo>
                      <a:pt x="5981" y="15178"/>
                      <a:pt x="7011" y="14985"/>
                      <a:pt x="7563" y="14928"/>
                    </a:cubicBezTo>
                    <a:cubicBezTo>
                      <a:pt x="7648" y="14919"/>
                      <a:pt x="7724" y="14981"/>
                      <a:pt x="7733" y="15066"/>
                    </a:cubicBezTo>
                    <a:cubicBezTo>
                      <a:pt x="7735" y="15077"/>
                      <a:pt x="7735" y="15088"/>
                      <a:pt x="7733" y="15099"/>
                    </a:cubicBezTo>
                    <a:cubicBezTo>
                      <a:pt x="7676" y="15663"/>
                      <a:pt x="7480" y="16708"/>
                      <a:pt x="6816" y="17375"/>
                    </a:cubicBezTo>
                    <a:cubicBezTo>
                      <a:pt x="6485" y="17683"/>
                      <a:pt x="5997" y="17751"/>
                      <a:pt x="5596" y="17544"/>
                    </a:cubicBezTo>
                    <a:cubicBezTo>
                      <a:pt x="5781" y="17279"/>
                      <a:pt x="6002" y="17042"/>
                      <a:pt x="6254" y="16839"/>
                    </a:cubicBezTo>
                    <a:cubicBezTo>
                      <a:pt x="6388" y="16733"/>
                      <a:pt x="6412" y="16538"/>
                      <a:pt x="6306" y="16403"/>
                    </a:cubicBezTo>
                    <a:cubicBezTo>
                      <a:pt x="6205" y="16274"/>
                      <a:pt x="6021" y="16246"/>
                      <a:pt x="5887" y="16339"/>
                    </a:cubicBezTo>
                    <a:cubicBezTo>
                      <a:pt x="5606" y="16563"/>
                      <a:pt x="5357" y="16824"/>
                      <a:pt x="5147" y="17115"/>
                    </a:cubicBezTo>
                    <a:cubicBezTo>
                      <a:pt x="4918" y="16705"/>
                      <a:pt x="4977" y="16195"/>
                      <a:pt x="5294" y="15849"/>
                    </a:cubicBezTo>
                    <a:cubicBezTo>
                      <a:pt x="5294" y="15849"/>
                      <a:pt x="5294" y="15849"/>
                      <a:pt x="5294" y="15849"/>
                    </a:cubicBezTo>
                    <a:close/>
                    <a:moveTo>
                      <a:pt x="8153" y="10232"/>
                    </a:moveTo>
                    <a:cubicBezTo>
                      <a:pt x="7480" y="9557"/>
                      <a:pt x="7283" y="8512"/>
                      <a:pt x="7224" y="7948"/>
                    </a:cubicBezTo>
                    <a:cubicBezTo>
                      <a:pt x="7216" y="7862"/>
                      <a:pt x="7278" y="7786"/>
                      <a:pt x="7363" y="7778"/>
                    </a:cubicBezTo>
                    <a:cubicBezTo>
                      <a:pt x="7368" y="7777"/>
                      <a:pt x="7374" y="7777"/>
                      <a:pt x="7379" y="7777"/>
                    </a:cubicBezTo>
                    <a:lnTo>
                      <a:pt x="7396" y="7777"/>
                    </a:lnTo>
                    <a:cubicBezTo>
                      <a:pt x="7952" y="7834"/>
                      <a:pt x="8978" y="8027"/>
                      <a:pt x="9651" y="8681"/>
                    </a:cubicBezTo>
                    <a:cubicBezTo>
                      <a:pt x="9656" y="8688"/>
                      <a:pt x="9661" y="8693"/>
                      <a:pt x="9667" y="8698"/>
                    </a:cubicBezTo>
                    <a:cubicBezTo>
                      <a:pt x="9982" y="9044"/>
                      <a:pt x="10041" y="9554"/>
                      <a:pt x="9812" y="9962"/>
                    </a:cubicBezTo>
                    <a:cubicBezTo>
                      <a:pt x="9602" y="9672"/>
                      <a:pt x="9354" y="9411"/>
                      <a:pt x="9074" y="9187"/>
                    </a:cubicBezTo>
                    <a:cubicBezTo>
                      <a:pt x="8936" y="9085"/>
                      <a:pt x="8742" y="9114"/>
                      <a:pt x="8641" y="9252"/>
                    </a:cubicBezTo>
                    <a:cubicBezTo>
                      <a:pt x="8539" y="9390"/>
                      <a:pt x="8568" y="9584"/>
                      <a:pt x="8706" y="9686"/>
                    </a:cubicBezTo>
                    <a:cubicBezTo>
                      <a:pt x="8957" y="9890"/>
                      <a:pt x="9179" y="10127"/>
                      <a:pt x="9365" y="10392"/>
                    </a:cubicBezTo>
                    <a:cubicBezTo>
                      <a:pt x="8967" y="10597"/>
                      <a:pt x="8484" y="10533"/>
                      <a:pt x="8153" y="10232"/>
                    </a:cubicBezTo>
                    <a:cubicBezTo>
                      <a:pt x="8153" y="10232"/>
                      <a:pt x="8153" y="10232"/>
                      <a:pt x="8153" y="10232"/>
                    </a:cubicBezTo>
                    <a:close/>
                    <a:moveTo>
                      <a:pt x="11879" y="8698"/>
                    </a:moveTo>
                    <a:lnTo>
                      <a:pt x="11893" y="8683"/>
                    </a:lnTo>
                    <a:cubicBezTo>
                      <a:pt x="12566" y="8027"/>
                      <a:pt x="13595" y="7834"/>
                      <a:pt x="14148" y="7777"/>
                    </a:cubicBezTo>
                    <a:cubicBezTo>
                      <a:pt x="14233" y="7768"/>
                      <a:pt x="14309" y="7830"/>
                      <a:pt x="14318" y="7915"/>
                    </a:cubicBezTo>
                    <a:cubicBezTo>
                      <a:pt x="14319" y="7926"/>
                      <a:pt x="14319" y="7937"/>
                      <a:pt x="14318" y="7948"/>
                    </a:cubicBezTo>
                    <a:cubicBezTo>
                      <a:pt x="14261" y="8512"/>
                      <a:pt x="14064" y="9557"/>
                      <a:pt x="13400" y="10224"/>
                    </a:cubicBezTo>
                    <a:cubicBezTo>
                      <a:pt x="13071" y="10530"/>
                      <a:pt x="12586" y="10598"/>
                      <a:pt x="12185" y="10395"/>
                    </a:cubicBezTo>
                    <a:cubicBezTo>
                      <a:pt x="12370" y="10131"/>
                      <a:pt x="12590" y="9893"/>
                      <a:pt x="12838" y="9688"/>
                    </a:cubicBezTo>
                    <a:cubicBezTo>
                      <a:pt x="12973" y="9582"/>
                      <a:pt x="12997" y="9387"/>
                      <a:pt x="12891" y="9252"/>
                    </a:cubicBezTo>
                    <a:cubicBezTo>
                      <a:pt x="12790" y="9123"/>
                      <a:pt x="12606" y="9095"/>
                      <a:pt x="12472" y="9188"/>
                    </a:cubicBezTo>
                    <a:cubicBezTo>
                      <a:pt x="12192" y="9413"/>
                      <a:pt x="11943" y="9673"/>
                      <a:pt x="11732" y="9964"/>
                    </a:cubicBezTo>
                    <a:cubicBezTo>
                      <a:pt x="11503" y="9554"/>
                      <a:pt x="11562" y="9044"/>
                      <a:pt x="11879" y="8698"/>
                    </a:cubicBezTo>
                    <a:cubicBezTo>
                      <a:pt x="11879" y="8698"/>
                      <a:pt x="11879" y="8698"/>
                      <a:pt x="11879" y="8698"/>
                    </a:cubicBezTo>
                    <a:close/>
                    <a:moveTo>
                      <a:pt x="12291" y="14685"/>
                    </a:moveTo>
                    <a:lnTo>
                      <a:pt x="12301" y="14677"/>
                    </a:lnTo>
                    <a:cubicBezTo>
                      <a:pt x="12632" y="14517"/>
                      <a:pt x="13000" y="14454"/>
                      <a:pt x="13365" y="14495"/>
                    </a:cubicBezTo>
                    <a:cubicBezTo>
                      <a:pt x="13415" y="14498"/>
                      <a:pt x="13461" y="14527"/>
                      <a:pt x="13486" y="14571"/>
                    </a:cubicBezTo>
                    <a:cubicBezTo>
                      <a:pt x="13509" y="14616"/>
                      <a:pt x="13509" y="14670"/>
                      <a:pt x="13486" y="14716"/>
                    </a:cubicBezTo>
                    <a:cubicBezTo>
                      <a:pt x="13337" y="15056"/>
                      <a:pt x="13094" y="15348"/>
                      <a:pt x="12786" y="15555"/>
                    </a:cubicBezTo>
                    <a:cubicBezTo>
                      <a:pt x="12543" y="15688"/>
                      <a:pt x="12238" y="15599"/>
                      <a:pt x="12105" y="15356"/>
                    </a:cubicBezTo>
                    <a:cubicBezTo>
                      <a:pt x="11976" y="15120"/>
                      <a:pt x="12055" y="14824"/>
                      <a:pt x="12284" y="14685"/>
                    </a:cubicBezTo>
                    <a:cubicBezTo>
                      <a:pt x="12284" y="14685"/>
                      <a:pt x="12291" y="14685"/>
                      <a:pt x="12291" y="14685"/>
                    </a:cubicBezTo>
                    <a:close/>
                    <a:moveTo>
                      <a:pt x="15715" y="18484"/>
                    </a:moveTo>
                    <a:cubicBezTo>
                      <a:pt x="15592" y="18523"/>
                      <a:pt x="15458" y="18512"/>
                      <a:pt x="15343" y="18455"/>
                    </a:cubicBezTo>
                    <a:cubicBezTo>
                      <a:pt x="15031" y="18246"/>
                      <a:pt x="14785" y="17952"/>
                      <a:pt x="14636" y="17608"/>
                    </a:cubicBezTo>
                    <a:cubicBezTo>
                      <a:pt x="14612" y="17563"/>
                      <a:pt x="14612" y="17509"/>
                      <a:pt x="14636" y="17464"/>
                    </a:cubicBezTo>
                    <a:cubicBezTo>
                      <a:pt x="14661" y="17420"/>
                      <a:pt x="14706" y="17392"/>
                      <a:pt x="14756" y="17388"/>
                    </a:cubicBezTo>
                    <a:cubicBezTo>
                      <a:pt x="14821" y="17388"/>
                      <a:pt x="14893" y="17380"/>
                      <a:pt x="14967" y="17380"/>
                    </a:cubicBezTo>
                    <a:cubicBezTo>
                      <a:pt x="15263" y="17371"/>
                      <a:pt x="15556" y="17436"/>
                      <a:pt x="15821" y="17569"/>
                    </a:cubicBezTo>
                    <a:lnTo>
                      <a:pt x="15832" y="17569"/>
                    </a:lnTo>
                    <a:cubicBezTo>
                      <a:pt x="16067" y="17717"/>
                      <a:pt x="16137" y="18027"/>
                      <a:pt x="15990" y="18262"/>
                    </a:cubicBezTo>
                    <a:cubicBezTo>
                      <a:pt x="15926" y="18364"/>
                      <a:pt x="15828" y="18439"/>
                      <a:pt x="15713" y="18475"/>
                    </a:cubicBezTo>
                    <a:cubicBezTo>
                      <a:pt x="15713" y="18475"/>
                      <a:pt x="15715" y="18484"/>
                      <a:pt x="15715" y="18484"/>
                    </a:cubicBezTo>
                    <a:close/>
                    <a:moveTo>
                      <a:pt x="15502" y="3360"/>
                    </a:moveTo>
                    <a:cubicBezTo>
                      <a:pt x="15221" y="3373"/>
                      <a:pt x="14945" y="3273"/>
                      <a:pt x="14738" y="3081"/>
                    </a:cubicBezTo>
                    <a:cubicBezTo>
                      <a:pt x="14066" y="2406"/>
                      <a:pt x="13869" y="1361"/>
                      <a:pt x="13809" y="798"/>
                    </a:cubicBezTo>
                    <a:cubicBezTo>
                      <a:pt x="13803" y="751"/>
                      <a:pt x="13819" y="705"/>
                      <a:pt x="13852" y="671"/>
                    </a:cubicBezTo>
                    <a:cubicBezTo>
                      <a:pt x="13882" y="642"/>
                      <a:pt x="13921" y="626"/>
                      <a:pt x="13962" y="626"/>
                    </a:cubicBezTo>
                    <a:lnTo>
                      <a:pt x="13979" y="626"/>
                    </a:lnTo>
                    <a:cubicBezTo>
                      <a:pt x="14535" y="684"/>
                      <a:pt x="15560" y="877"/>
                      <a:pt x="16233" y="1530"/>
                    </a:cubicBezTo>
                    <a:lnTo>
                      <a:pt x="16249" y="1549"/>
                    </a:lnTo>
                    <a:cubicBezTo>
                      <a:pt x="16564" y="1894"/>
                      <a:pt x="16623" y="2403"/>
                      <a:pt x="16396" y="2811"/>
                    </a:cubicBezTo>
                    <a:cubicBezTo>
                      <a:pt x="16184" y="2521"/>
                      <a:pt x="15935" y="2261"/>
                      <a:pt x="15656" y="2036"/>
                    </a:cubicBezTo>
                    <a:cubicBezTo>
                      <a:pt x="15518" y="1934"/>
                      <a:pt x="15324" y="1964"/>
                      <a:pt x="15222" y="2103"/>
                    </a:cubicBezTo>
                    <a:cubicBezTo>
                      <a:pt x="15121" y="2241"/>
                      <a:pt x="15151" y="2435"/>
                      <a:pt x="15289" y="2537"/>
                    </a:cubicBezTo>
                    <a:cubicBezTo>
                      <a:pt x="15538" y="2741"/>
                      <a:pt x="15758" y="2979"/>
                      <a:pt x="15942" y="3244"/>
                    </a:cubicBezTo>
                    <a:cubicBezTo>
                      <a:pt x="15805" y="3313"/>
                      <a:pt x="15656" y="3353"/>
                      <a:pt x="15502" y="3360"/>
                    </a:cubicBezTo>
                    <a:close/>
                    <a:moveTo>
                      <a:pt x="18464" y="1549"/>
                    </a:moveTo>
                    <a:lnTo>
                      <a:pt x="18478" y="1532"/>
                    </a:lnTo>
                    <a:cubicBezTo>
                      <a:pt x="19151" y="877"/>
                      <a:pt x="20180" y="684"/>
                      <a:pt x="20733" y="628"/>
                    </a:cubicBezTo>
                    <a:cubicBezTo>
                      <a:pt x="20818" y="619"/>
                      <a:pt x="20894" y="680"/>
                      <a:pt x="20903" y="766"/>
                    </a:cubicBezTo>
                    <a:cubicBezTo>
                      <a:pt x="20904" y="776"/>
                      <a:pt x="20904" y="787"/>
                      <a:pt x="20903" y="798"/>
                    </a:cubicBezTo>
                    <a:cubicBezTo>
                      <a:pt x="20846" y="1361"/>
                      <a:pt x="20649" y="2407"/>
                      <a:pt x="19985" y="3073"/>
                    </a:cubicBezTo>
                    <a:cubicBezTo>
                      <a:pt x="19776" y="3269"/>
                      <a:pt x="19497" y="3373"/>
                      <a:pt x="19211" y="3360"/>
                    </a:cubicBezTo>
                    <a:cubicBezTo>
                      <a:pt x="19057" y="3354"/>
                      <a:pt x="18906" y="3315"/>
                      <a:pt x="18769" y="3246"/>
                    </a:cubicBezTo>
                    <a:cubicBezTo>
                      <a:pt x="18954" y="2981"/>
                      <a:pt x="19174" y="2743"/>
                      <a:pt x="19422" y="2537"/>
                    </a:cubicBezTo>
                    <a:cubicBezTo>
                      <a:pt x="19563" y="2440"/>
                      <a:pt x="19598" y="2246"/>
                      <a:pt x="19501" y="2105"/>
                    </a:cubicBezTo>
                    <a:cubicBezTo>
                      <a:pt x="19404" y="1964"/>
                      <a:pt x="19211" y="1929"/>
                      <a:pt x="19070" y="2026"/>
                    </a:cubicBezTo>
                    <a:cubicBezTo>
                      <a:pt x="19065" y="2030"/>
                      <a:pt x="19060" y="2034"/>
                      <a:pt x="19055" y="2037"/>
                    </a:cubicBezTo>
                    <a:cubicBezTo>
                      <a:pt x="18775" y="2262"/>
                      <a:pt x="18527" y="2523"/>
                      <a:pt x="18315" y="2813"/>
                    </a:cubicBezTo>
                    <a:cubicBezTo>
                      <a:pt x="18087" y="2404"/>
                      <a:pt x="18147" y="1894"/>
                      <a:pt x="18464" y="1549"/>
                    </a:cubicBezTo>
                    <a:close/>
                    <a:moveTo>
                      <a:pt x="19101" y="8984"/>
                    </a:moveTo>
                    <a:lnTo>
                      <a:pt x="19115" y="8973"/>
                    </a:lnTo>
                    <a:cubicBezTo>
                      <a:pt x="19620" y="8633"/>
                      <a:pt x="20275" y="8584"/>
                      <a:pt x="20739" y="8601"/>
                    </a:cubicBezTo>
                    <a:cubicBezTo>
                      <a:pt x="20787" y="8602"/>
                      <a:pt x="20832" y="8626"/>
                      <a:pt x="20860" y="8666"/>
                    </a:cubicBezTo>
                    <a:cubicBezTo>
                      <a:pt x="20887" y="8706"/>
                      <a:pt x="20895" y="8756"/>
                      <a:pt x="20880" y="8802"/>
                    </a:cubicBezTo>
                    <a:cubicBezTo>
                      <a:pt x="20736" y="9252"/>
                      <a:pt x="20457" y="9863"/>
                      <a:pt x="19960" y="10213"/>
                    </a:cubicBezTo>
                    <a:cubicBezTo>
                      <a:pt x="19794" y="10321"/>
                      <a:pt x="19591" y="10358"/>
                      <a:pt x="19397" y="10316"/>
                    </a:cubicBezTo>
                    <a:cubicBezTo>
                      <a:pt x="19328" y="10300"/>
                      <a:pt x="19262" y="10274"/>
                      <a:pt x="19200" y="10240"/>
                    </a:cubicBezTo>
                    <a:cubicBezTo>
                      <a:pt x="19364" y="10103"/>
                      <a:pt x="19540" y="9983"/>
                      <a:pt x="19727" y="9880"/>
                    </a:cubicBezTo>
                    <a:cubicBezTo>
                      <a:pt x="19882" y="9808"/>
                      <a:pt x="19949" y="9623"/>
                      <a:pt x="19876" y="9468"/>
                    </a:cubicBezTo>
                    <a:cubicBezTo>
                      <a:pt x="19804" y="9313"/>
                      <a:pt x="19620" y="9245"/>
                      <a:pt x="19465" y="9318"/>
                    </a:cubicBezTo>
                    <a:cubicBezTo>
                      <a:pt x="19459" y="9321"/>
                      <a:pt x="19454" y="9323"/>
                      <a:pt x="19448" y="9326"/>
                    </a:cubicBezTo>
                    <a:cubicBezTo>
                      <a:pt x="19228" y="9446"/>
                      <a:pt x="19021" y="9586"/>
                      <a:pt x="18829" y="9747"/>
                    </a:cubicBezTo>
                    <a:cubicBezTo>
                      <a:pt x="18765" y="9461"/>
                      <a:pt x="18871" y="9164"/>
                      <a:pt x="19101" y="8984"/>
                    </a:cubicBezTo>
                    <a:close/>
                    <a:moveTo>
                      <a:pt x="21214" y="20942"/>
                    </a:moveTo>
                    <a:lnTo>
                      <a:pt x="17666" y="20942"/>
                    </a:lnTo>
                    <a:lnTo>
                      <a:pt x="17666" y="13551"/>
                    </a:lnTo>
                    <a:cubicBezTo>
                      <a:pt x="17647" y="12493"/>
                      <a:pt x="18030" y="11466"/>
                      <a:pt x="18738" y="10680"/>
                    </a:cubicBezTo>
                    <a:cubicBezTo>
                      <a:pt x="18894" y="10798"/>
                      <a:pt x="19074" y="10881"/>
                      <a:pt x="19265" y="10922"/>
                    </a:cubicBezTo>
                    <a:cubicBezTo>
                      <a:pt x="19361" y="10943"/>
                      <a:pt x="19459" y="10953"/>
                      <a:pt x="19556" y="10953"/>
                    </a:cubicBezTo>
                    <a:cubicBezTo>
                      <a:pt x="19823" y="10952"/>
                      <a:pt x="20083" y="10874"/>
                      <a:pt x="20306" y="10728"/>
                    </a:cubicBezTo>
                    <a:cubicBezTo>
                      <a:pt x="20954" y="10272"/>
                      <a:pt x="21296" y="9531"/>
                      <a:pt x="21470" y="8991"/>
                    </a:cubicBezTo>
                    <a:cubicBezTo>
                      <a:pt x="21600" y="8584"/>
                      <a:pt x="21376" y="8147"/>
                      <a:pt x="20969" y="8017"/>
                    </a:cubicBezTo>
                    <a:cubicBezTo>
                      <a:pt x="20902" y="7995"/>
                      <a:pt x="20833" y="7983"/>
                      <a:pt x="20764" y="7980"/>
                    </a:cubicBezTo>
                    <a:cubicBezTo>
                      <a:pt x="20197" y="7957"/>
                      <a:pt x="19385" y="8027"/>
                      <a:pt x="18736" y="8481"/>
                    </a:cubicBezTo>
                    <a:lnTo>
                      <a:pt x="18699" y="8512"/>
                    </a:lnTo>
                    <a:cubicBezTo>
                      <a:pt x="18196" y="8920"/>
                      <a:pt x="18045" y="9624"/>
                      <a:pt x="18335" y="10203"/>
                    </a:cubicBezTo>
                    <a:cubicBezTo>
                      <a:pt x="18078" y="10478"/>
                      <a:pt x="17853" y="10782"/>
                      <a:pt x="17666" y="11110"/>
                    </a:cubicBezTo>
                    <a:lnTo>
                      <a:pt x="17666" y="6951"/>
                    </a:lnTo>
                    <a:cubicBezTo>
                      <a:pt x="17648" y="5841"/>
                      <a:pt x="17914" y="4746"/>
                      <a:pt x="18440" y="3770"/>
                    </a:cubicBezTo>
                    <a:cubicBezTo>
                      <a:pt x="18672" y="3898"/>
                      <a:pt x="18931" y="3969"/>
                      <a:pt x="19196" y="3979"/>
                    </a:cubicBezTo>
                    <a:lnTo>
                      <a:pt x="19262" y="3979"/>
                    </a:lnTo>
                    <a:cubicBezTo>
                      <a:pt x="19694" y="3977"/>
                      <a:pt x="20108" y="3810"/>
                      <a:pt x="20422" y="3514"/>
                    </a:cubicBezTo>
                    <a:cubicBezTo>
                      <a:pt x="21230" y="2704"/>
                      <a:pt x="21460" y="1498"/>
                      <a:pt x="21525" y="854"/>
                    </a:cubicBezTo>
                    <a:cubicBezTo>
                      <a:pt x="21569" y="428"/>
                      <a:pt x="21259" y="48"/>
                      <a:pt x="20834" y="4"/>
                    </a:cubicBezTo>
                    <a:cubicBezTo>
                      <a:pt x="20782" y="-1"/>
                      <a:pt x="20729" y="-1"/>
                      <a:pt x="20677" y="4"/>
                    </a:cubicBezTo>
                    <a:cubicBezTo>
                      <a:pt x="20032" y="69"/>
                      <a:pt x="18831" y="301"/>
                      <a:pt x="18022" y="1110"/>
                    </a:cubicBezTo>
                    <a:cubicBezTo>
                      <a:pt x="18010" y="1123"/>
                      <a:pt x="17999" y="1136"/>
                      <a:pt x="17988" y="1150"/>
                    </a:cubicBezTo>
                    <a:cubicBezTo>
                      <a:pt x="17439" y="1779"/>
                      <a:pt x="17425" y="2714"/>
                      <a:pt x="17956" y="3359"/>
                    </a:cubicBezTo>
                    <a:cubicBezTo>
                      <a:pt x="17705" y="3790"/>
                      <a:pt x="17506" y="4250"/>
                      <a:pt x="17365" y="4728"/>
                    </a:cubicBezTo>
                    <a:cubicBezTo>
                      <a:pt x="17222" y="4250"/>
                      <a:pt x="17023" y="3790"/>
                      <a:pt x="16772" y="3359"/>
                    </a:cubicBezTo>
                    <a:cubicBezTo>
                      <a:pt x="17302" y="2714"/>
                      <a:pt x="17288" y="1779"/>
                      <a:pt x="16739" y="1150"/>
                    </a:cubicBezTo>
                    <a:cubicBezTo>
                      <a:pt x="16729" y="1136"/>
                      <a:pt x="16718" y="1122"/>
                      <a:pt x="16705" y="1110"/>
                    </a:cubicBezTo>
                    <a:cubicBezTo>
                      <a:pt x="15897" y="301"/>
                      <a:pt x="14693" y="69"/>
                      <a:pt x="14051" y="4"/>
                    </a:cubicBezTo>
                    <a:cubicBezTo>
                      <a:pt x="13625" y="-39"/>
                      <a:pt x="13245" y="271"/>
                      <a:pt x="13202" y="697"/>
                    </a:cubicBezTo>
                    <a:cubicBezTo>
                      <a:pt x="13197" y="749"/>
                      <a:pt x="13197" y="802"/>
                      <a:pt x="13202" y="854"/>
                    </a:cubicBezTo>
                    <a:cubicBezTo>
                      <a:pt x="13267" y="1499"/>
                      <a:pt x="13498" y="2704"/>
                      <a:pt x="14315" y="3523"/>
                    </a:cubicBezTo>
                    <a:cubicBezTo>
                      <a:pt x="14628" y="3814"/>
                      <a:pt x="15039" y="3976"/>
                      <a:pt x="15465" y="3974"/>
                    </a:cubicBezTo>
                    <a:lnTo>
                      <a:pt x="15533" y="3974"/>
                    </a:lnTo>
                    <a:cubicBezTo>
                      <a:pt x="15797" y="3965"/>
                      <a:pt x="16055" y="3893"/>
                      <a:pt x="16286" y="3765"/>
                    </a:cubicBezTo>
                    <a:cubicBezTo>
                      <a:pt x="16814" y="4741"/>
                      <a:pt x="17080" y="5836"/>
                      <a:pt x="17060" y="6946"/>
                    </a:cubicBezTo>
                    <a:lnTo>
                      <a:pt x="17060" y="18462"/>
                    </a:lnTo>
                    <a:lnTo>
                      <a:pt x="16673" y="18238"/>
                    </a:lnTo>
                    <a:cubicBezTo>
                      <a:pt x="16770" y="17789"/>
                      <a:pt x="16586" y="17326"/>
                      <a:pt x="16208" y="17067"/>
                    </a:cubicBezTo>
                    <a:lnTo>
                      <a:pt x="16171" y="17040"/>
                    </a:lnTo>
                    <a:cubicBezTo>
                      <a:pt x="15728" y="16809"/>
                      <a:pt x="15226" y="16714"/>
                      <a:pt x="14728" y="16766"/>
                    </a:cubicBezTo>
                    <a:cubicBezTo>
                      <a:pt x="14302" y="16799"/>
                      <a:pt x="13984" y="17173"/>
                      <a:pt x="14018" y="17600"/>
                    </a:cubicBezTo>
                    <a:cubicBezTo>
                      <a:pt x="14025" y="17694"/>
                      <a:pt x="14050" y="17787"/>
                      <a:pt x="14091" y="17873"/>
                    </a:cubicBezTo>
                    <a:cubicBezTo>
                      <a:pt x="14297" y="18334"/>
                      <a:pt x="14634" y="18723"/>
                      <a:pt x="15060" y="18993"/>
                    </a:cubicBezTo>
                    <a:cubicBezTo>
                      <a:pt x="15499" y="19224"/>
                      <a:pt x="16037" y="19139"/>
                      <a:pt x="16385" y="18785"/>
                    </a:cubicBezTo>
                    <a:lnTo>
                      <a:pt x="17064" y="19179"/>
                    </a:lnTo>
                    <a:lnTo>
                      <a:pt x="17064" y="20938"/>
                    </a:lnTo>
                    <a:lnTo>
                      <a:pt x="11075" y="20938"/>
                    </a:lnTo>
                    <a:lnTo>
                      <a:pt x="11075" y="16285"/>
                    </a:lnTo>
                    <a:lnTo>
                      <a:pt x="11750" y="15896"/>
                    </a:lnTo>
                    <a:cubicBezTo>
                      <a:pt x="11961" y="16112"/>
                      <a:pt x="12249" y="16233"/>
                      <a:pt x="12551" y="16232"/>
                    </a:cubicBezTo>
                    <a:cubicBezTo>
                      <a:pt x="12737" y="16232"/>
                      <a:pt x="12920" y="16185"/>
                      <a:pt x="13085" y="16097"/>
                    </a:cubicBezTo>
                    <a:cubicBezTo>
                      <a:pt x="13506" y="15828"/>
                      <a:pt x="13840" y="15441"/>
                      <a:pt x="14044" y="14984"/>
                    </a:cubicBezTo>
                    <a:cubicBezTo>
                      <a:pt x="14228" y="14597"/>
                      <a:pt x="14065" y="14135"/>
                      <a:pt x="13679" y="13950"/>
                    </a:cubicBezTo>
                    <a:cubicBezTo>
                      <a:pt x="13593" y="13909"/>
                      <a:pt x="13500" y="13884"/>
                      <a:pt x="13405" y="13877"/>
                    </a:cubicBezTo>
                    <a:cubicBezTo>
                      <a:pt x="12908" y="13822"/>
                      <a:pt x="12406" y="13918"/>
                      <a:pt x="11964" y="14151"/>
                    </a:cubicBezTo>
                    <a:cubicBezTo>
                      <a:pt x="11951" y="14159"/>
                      <a:pt x="11938" y="14168"/>
                      <a:pt x="11927" y="14177"/>
                    </a:cubicBezTo>
                    <a:cubicBezTo>
                      <a:pt x="11549" y="14437"/>
                      <a:pt x="11365" y="14900"/>
                      <a:pt x="11462" y="15348"/>
                    </a:cubicBezTo>
                    <a:lnTo>
                      <a:pt x="11080" y="15569"/>
                    </a:lnTo>
                    <a:lnTo>
                      <a:pt x="11080" y="14101"/>
                    </a:lnTo>
                    <a:cubicBezTo>
                      <a:pt x="11061" y="12992"/>
                      <a:pt x="11327" y="11897"/>
                      <a:pt x="11854" y="10921"/>
                    </a:cubicBezTo>
                    <a:cubicBezTo>
                      <a:pt x="12499" y="11275"/>
                      <a:pt x="13298" y="11174"/>
                      <a:pt x="13835" y="10671"/>
                    </a:cubicBezTo>
                    <a:cubicBezTo>
                      <a:pt x="14643" y="9860"/>
                      <a:pt x="14874" y="8655"/>
                      <a:pt x="14939" y="8011"/>
                    </a:cubicBezTo>
                    <a:cubicBezTo>
                      <a:pt x="14982" y="7585"/>
                      <a:pt x="14673" y="7205"/>
                      <a:pt x="14247" y="7161"/>
                    </a:cubicBezTo>
                    <a:cubicBezTo>
                      <a:pt x="14195" y="7156"/>
                      <a:pt x="14143" y="7156"/>
                      <a:pt x="14091" y="7161"/>
                    </a:cubicBezTo>
                    <a:cubicBezTo>
                      <a:pt x="13445" y="7227"/>
                      <a:pt x="12244" y="7458"/>
                      <a:pt x="11436" y="8267"/>
                    </a:cubicBezTo>
                    <a:cubicBezTo>
                      <a:pt x="11423" y="8279"/>
                      <a:pt x="11412" y="8293"/>
                      <a:pt x="11402" y="8307"/>
                    </a:cubicBezTo>
                    <a:cubicBezTo>
                      <a:pt x="10852" y="8936"/>
                      <a:pt x="10838" y="9871"/>
                      <a:pt x="11368" y="10516"/>
                    </a:cubicBezTo>
                    <a:cubicBezTo>
                      <a:pt x="11118" y="10947"/>
                      <a:pt x="10919" y="11407"/>
                      <a:pt x="10777" y="11885"/>
                    </a:cubicBezTo>
                    <a:cubicBezTo>
                      <a:pt x="10635" y="11406"/>
                      <a:pt x="10436" y="10946"/>
                      <a:pt x="10185" y="10514"/>
                    </a:cubicBezTo>
                    <a:cubicBezTo>
                      <a:pt x="10716" y="9868"/>
                      <a:pt x="10699" y="8931"/>
                      <a:pt x="10147" y="8303"/>
                    </a:cubicBezTo>
                    <a:cubicBezTo>
                      <a:pt x="10136" y="8289"/>
                      <a:pt x="10125" y="8275"/>
                      <a:pt x="10113" y="8263"/>
                    </a:cubicBezTo>
                    <a:cubicBezTo>
                      <a:pt x="9305" y="7453"/>
                      <a:pt x="8100" y="7222"/>
                      <a:pt x="7458" y="7157"/>
                    </a:cubicBezTo>
                    <a:cubicBezTo>
                      <a:pt x="7033" y="7113"/>
                      <a:pt x="6652" y="7422"/>
                      <a:pt x="6608" y="7848"/>
                    </a:cubicBezTo>
                    <a:cubicBezTo>
                      <a:pt x="6603" y="7901"/>
                      <a:pt x="6603" y="7954"/>
                      <a:pt x="6608" y="8007"/>
                    </a:cubicBezTo>
                    <a:cubicBezTo>
                      <a:pt x="6675" y="8652"/>
                      <a:pt x="6905" y="9855"/>
                      <a:pt x="7723" y="10676"/>
                    </a:cubicBezTo>
                    <a:cubicBezTo>
                      <a:pt x="8262" y="11173"/>
                      <a:pt x="9058" y="11268"/>
                      <a:pt x="9699" y="10913"/>
                    </a:cubicBezTo>
                    <a:cubicBezTo>
                      <a:pt x="10222" y="11891"/>
                      <a:pt x="10485" y="12988"/>
                      <a:pt x="10461" y="14097"/>
                    </a:cubicBezTo>
                    <a:lnTo>
                      <a:pt x="10461" y="16057"/>
                    </a:lnTo>
                    <a:cubicBezTo>
                      <a:pt x="10455" y="16095"/>
                      <a:pt x="10455" y="16133"/>
                      <a:pt x="10461" y="16170"/>
                    </a:cubicBezTo>
                    <a:lnTo>
                      <a:pt x="10461" y="20945"/>
                    </a:lnTo>
                    <a:lnTo>
                      <a:pt x="4501" y="20945"/>
                    </a:lnTo>
                    <a:cubicBezTo>
                      <a:pt x="4521" y="19941"/>
                      <a:pt x="4781" y="18955"/>
                      <a:pt x="5258" y="18072"/>
                    </a:cubicBezTo>
                    <a:cubicBezTo>
                      <a:pt x="5491" y="18202"/>
                      <a:pt x="5751" y="18275"/>
                      <a:pt x="6017" y="18284"/>
                    </a:cubicBezTo>
                    <a:lnTo>
                      <a:pt x="6083" y="18284"/>
                    </a:lnTo>
                    <a:cubicBezTo>
                      <a:pt x="6515" y="18283"/>
                      <a:pt x="6930" y="18117"/>
                      <a:pt x="7243" y="17819"/>
                    </a:cubicBezTo>
                    <a:cubicBezTo>
                      <a:pt x="8051" y="17008"/>
                      <a:pt x="8281" y="15803"/>
                      <a:pt x="8348" y="15159"/>
                    </a:cubicBezTo>
                    <a:cubicBezTo>
                      <a:pt x="8391" y="14733"/>
                      <a:pt x="8082" y="14353"/>
                      <a:pt x="7656" y="14309"/>
                    </a:cubicBezTo>
                    <a:cubicBezTo>
                      <a:pt x="7604" y="14304"/>
                      <a:pt x="7551" y="14304"/>
                      <a:pt x="7498" y="14309"/>
                    </a:cubicBezTo>
                    <a:cubicBezTo>
                      <a:pt x="6854" y="14374"/>
                      <a:pt x="5653" y="14605"/>
                      <a:pt x="4843" y="15415"/>
                    </a:cubicBezTo>
                    <a:cubicBezTo>
                      <a:pt x="4831" y="15427"/>
                      <a:pt x="4820" y="15441"/>
                      <a:pt x="4811" y="15455"/>
                    </a:cubicBezTo>
                    <a:cubicBezTo>
                      <a:pt x="4262" y="16084"/>
                      <a:pt x="4248" y="17017"/>
                      <a:pt x="4777" y="17662"/>
                    </a:cubicBezTo>
                    <a:cubicBezTo>
                      <a:pt x="4526" y="18094"/>
                      <a:pt x="4327" y="18554"/>
                      <a:pt x="4186" y="19033"/>
                    </a:cubicBezTo>
                    <a:cubicBezTo>
                      <a:pt x="4044" y="18554"/>
                      <a:pt x="3846" y="18094"/>
                      <a:pt x="3594" y="17662"/>
                    </a:cubicBezTo>
                    <a:cubicBezTo>
                      <a:pt x="4124" y="17018"/>
                      <a:pt x="4110" y="16084"/>
                      <a:pt x="3562" y="15455"/>
                    </a:cubicBezTo>
                    <a:cubicBezTo>
                      <a:pt x="3551" y="15441"/>
                      <a:pt x="3540" y="15428"/>
                      <a:pt x="3528" y="15415"/>
                    </a:cubicBezTo>
                    <a:cubicBezTo>
                      <a:pt x="2718" y="14605"/>
                      <a:pt x="1515" y="14374"/>
                      <a:pt x="873" y="14309"/>
                    </a:cubicBezTo>
                    <a:cubicBezTo>
                      <a:pt x="448" y="14265"/>
                      <a:pt x="67" y="14575"/>
                      <a:pt x="23" y="15001"/>
                    </a:cubicBezTo>
                    <a:cubicBezTo>
                      <a:pt x="18" y="15053"/>
                      <a:pt x="18" y="15106"/>
                      <a:pt x="23" y="15159"/>
                    </a:cubicBezTo>
                    <a:cubicBezTo>
                      <a:pt x="90" y="15804"/>
                      <a:pt x="320" y="17008"/>
                      <a:pt x="1136" y="17827"/>
                    </a:cubicBezTo>
                    <a:cubicBezTo>
                      <a:pt x="1448" y="18119"/>
                      <a:pt x="1860" y="18281"/>
                      <a:pt x="2288" y="18279"/>
                    </a:cubicBezTo>
                    <a:lnTo>
                      <a:pt x="2354" y="18279"/>
                    </a:lnTo>
                    <a:cubicBezTo>
                      <a:pt x="2619" y="18270"/>
                      <a:pt x="2877" y="18198"/>
                      <a:pt x="3108" y="18070"/>
                    </a:cubicBezTo>
                    <a:cubicBezTo>
                      <a:pt x="3586" y="18953"/>
                      <a:pt x="3847" y="19937"/>
                      <a:pt x="3870" y="20941"/>
                    </a:cubicBezTo>
                    <a:lnTo>
                      <a:pt x="310" y="20941"/>
                    </a:lnTo>
                    <a:cubicBezTo>
                      <a:pt x="139" y="20941"/>
                      <a:pt x="0" y="21080"/>
                      <a:pt x="0" y="21251"/>
                    </a:cubicBezTo>
                    <a:cubicBezTo>
                      <a:pt x="0" y="21422"/>
                      <a:pt x="139" y="21561"/>
                      <a:pt x="310" y="21561"/>
                    </a:cubicBezTo>
                    <a:lnTo>
                      <a:pt x="21207" y="21561"/>
                    </a:lnTo>
                    <a:cubicBezTo>
                      <a:pt x="21378" y="21561"/>
                      <a:pt x="21516" y="21422"/>
                      <a:pt x="21516" y="21251"/>
                    </a:cubicBezTo>
                    <a:cubicBezTo>
                      <a:pt x="21516" y="21080"/>
                      <a:pt x="21378" y="20941"/>
                      <a:pt x="21207" y="20941"/>
                    </a:cubicBezTo>
                    <a:cubicBezTo>
                      <a:pt x="21207" y="20941"/>
                      <a:pt x="21214" y="20942"/>
                      <a:pt x="21214" y="20942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rgbClr val="FFFFFF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sp>
            <p:nvSpPr>
              <p:cNvPr id="43" name="Google Shape;1194;p40">
                <a:extLst>
                  <a:ext uri="{FF2B5EF4-FFF2-40B4-BE49-F238E27FC236}">
                    <a16:creationId xmlns:a16="http://schemas.microsoft.com/office/drawing/2014/main" id="{AD8E7901-50E1-CF88-8CDD-23E32839DC5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144913" y="5248491"/>
                <a:ext cx="520702" cy="4315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481" h="21576" extrusionOk="0">
                    <a:moveTo>
                      <a:pt x="7840" y="37"/>
                    </a:moveTo>
                    <a:cubicBezTo>
                      <a:pt x="7725" y="-14"/>
                      <a:pt x="7599" y="-12"/>
                      <a:pt x="7477" y="44"/>
                    </a:cubicBezTo>
                    <a:lnTo>
                      <a:pt x="6944" y="297"/>
                    </a:lnTo>
                    <a:cubicBezTo>
                      <a:pt x="6700" y="413"/>
                      <a:pt x="6565" y="730"/>
                      <a:pt x="6630" y="1037"/>
                    </a:cubicBezTo>
                    <a:lnTo>
                      <a:pt x="6779" y="1737"/>
                    </a:lnTo>
                    <a:cubicBezTo>
                      <a:pt x="6654" y="1858"/>
                      <a:pt x="6537" y="1991"/>
                      <a:pt x="6432" y="2137"/>
                    </a:cubicBezTo>
                    <a:lnTo>
                      <a:pt x="5871" y="1923"/>
                    </a:lnTo>
                    <a:cubicBezTo>
                      <a:pt x="5620" y="1829"/>
                      <a:pt x="5349" y="1978"/>
                      <a:pt x="5244" y="2270"/>
                    </a:cubicBezTo>
                    <a:lnTo>
                      <a:pt x="5013" y="2916"/>
                    </a:lnTo>
                    <a:cubicBezTo>
                      <a:pt x="4909" y="3207"/>
                      <a:pt x="4998" y="3547"/>
                      <a:pt x="5222" y="3709"/>
                    </a:cubicBezTo>
                    <a:lnTo>
                      <a:pt x="5734" y="4076"/>
                    </a:lnTo>
                    <a:cubicBezTo>
                      <a:pt x="5716" y="4270"/>
                      <a:pt x="5712" y="4468"/>
                      <a:pt x="5723" y="4662"/>
                    </a:cubicBezTo>
                    <a:lnTo>
                      <a:pt x="5200" y="4996"/>
                    </a:lnTo>
                    <a:cubicBezTo>
                      <a:pt x="4973" y="5144"/>
                      <a:pt x="4866" y="5474"/>
                      <a:pt x="4953" y="5769"/>
                    </a:cubicBezTo>
                    <a:lnTo>
                      <a:pt x="5162" y="6422"/>
                    </a:lnTo>
                    <a:cubicBezTo>
                      <a:pt x="5256" y="6718"/>
                      <a:pt x="5519" y="6881"/>
                      <a:pt x="5772" y="6802"/>
                    </a:cubicBezTo>
                    <a:lnTo>
                      <a:pt x="6344" y="6622"/>
                    </a:lnTo>
                    <a:cubicBezTo>
                      <a:pt x="6444" y="6773"/>
                      <a:pt x="6554" y="6913"/>
                      <a:pt x="6674" y="7041"/>
                    </a:cubicBezTo>
                    <a:lnTo>
                      <a:pt x="6504" y="7735"/>
                    </a:lnTo>
                    <a:cubicBezTo>
                      <a:pt x="6427" y="8038"/>
                      <a:pt x="6545" y="8359"/>
                      <a:pt x="6784" y="8488"/>
                    </a:cubicBezTo>
                    <a:lnTo>
                      <a:pt x="7318" y="8774"/>
                    </a:lnTo>
                    <a:cubicBezTo>
                      <a:pt x="7558" y="8903"/>
                      <a:pt x="7839" y="8796"/>
                      <a:pt x="7972" y="8521"/>
                    </a:cubicBezTo>
                    <a:lnTo>
                      <a:pt x="8274" y="7894"/>
                    </a:lnTo>
                    <a:cubicBezTo>
                      <a:pt x="8432" y="7915"/>
                      <a:pt x="8589" y="7926"/>
                      <a:pt x="8747" y="7914"/>
                    </a:cubicBezTo>
                    <a:lnTo>
                      <a:pt x="9028" y="8554"/>
                    </a:lnTo>
                    <a:cubicBezTo>
                      <a:pt x="9117" y="8759"/>
                      <a:pt x="9293" y="8888"/>
                      <a:pt x="9484" y="8887"/>
                    </a:cubicBezTo>
                    <a:cubicBezTo>
                      <a:pt x="9547" y="8888"/>
                      <a:pt x="9607" y="8875"/>
                      <a:pt x="9666" y="8847"/>
                    </a:cubicBezTo>
                    <a:lnTo>
                      <a:pt x="10210" y="8594"/>
                    </a:lnTo>
                    <a:cubicBezTo>
                      <a:pt x="10453" y="8477"/>
                      <a:pt x="10587" y="8162"/>
                      <a:pt x="10523" y="7854"/>
                    </a:cubicBezTo>
                    <a:lnTo>
                      <a:pt x="10375" y="7155"/>
                    </a:lnTo>
                    <a:cubicBezTo>
                      <a:pt x="10500" y="7031"/>
                      <a:pt x="10614" y="6895"/>
                      <a:pt x="10721" y="6748"/>
                    </a:cubicBezTo>
                    <a:lnTo>
                      <a:pt x="11288" y="6961"/>
                    </a:lnTo>
                    <a:cubicBezTo>
                      <a:pt x="11539" y="7056"/>
                      <a:pt x="11804" y="6907"/>
                      <a:pt x="11909" y="6615"/>
                    </a:cubicBezTo>
                    <a:lnTo>
                      <a:pt x="12146" y="5969"/>
                    </a:lnTo>
                    <a:cubicBezTo>
                      <a:pt x="12250" y="5678"/>
                      <a:pt x="12156" y="5338"/>
                      <a:pt x="11931" y="5175"/>
                    </a:cubicBezTo>
                    <a:lnTo>
                      <a:pt x="11425" y="4809"/>
                    </a:lnTo>
                    <a:cubicBezTo>
                      <a:pt x="11442" y="4615"/>
                      <a:pt x="11446" y="4424"/>
                      <a:pt x="11436" y="4229"/>
                    </a:cubicBezTo>
                    <a:lnTo>
                      <a:pt x="11959" y="3889"/>
                    </a:lnTo>
                    <a:cubicBezTo>
                      <a:pt x="12187" y="3739"/>
                      <a:pt x="12287" y="3404"/>
                      <a:pt x="12195" y="3110"/>
                    </a:cubicBezTo>
                    <a:lnTo>
                      <a:pt x="11986" y="2457"/>
                    </a:lnTo>
                    <a:cubicBezTo>
                      <a:pt x="11892" y="2160"/>
                      <a:pt x="11630" y="1997"/>
                      <a:pt x="11376" y="2077"/>
                    </a:cubicBezTo>
                    <a:lnTo>
                      <a:pt x="10804" y="2257"/>
                    </a:lnTo>
                    <a:cubicBezTo>
                      <a:pt x="10704" y="2105"/>
                      <a:pt x="10594" y="1965"/>
                      <a:pt x="10474" y="1837"/>
                    </a:cubicBezTo>
                    <a:lnTo>
                      <a:pt x="10650" y="1144"/>
                    </a:lnTo>
                    <a:cubicBezTo>
                      <a:pt x="10726" y="840"/>
                      <a:pt x="10604" y="519"/>
                      <a:pt x="10364" y="391"/>
                    </a:cubicBezTo>
                    <a:lnTo>
                      <a:pt x="9831" y="104"/>
                    </a:lnTo>
                    <a:cubicBezTo>
                      <a:pt x="9590" y="-24"/>
                      <a:pt x="9309" y="83"/>
                      <a:pt x="9176" y="357"/>
                    </a:cubicBezTo>
                    <a:lnTo>
                      <a:pt x="8874" y="984"/>
                    </a:lnTo>
                    <a:cubicBezTo>
                      <a:pt x="8716" y="963"/>
                      <a:pt x="8560" y="952"/>
                      <a:pt x="8401" y="964"/>
                    </a:cubicBezTo>
                    <a:lnTo>
                      <a:pt x="8120" y="331"/>
                    </a:lnTo>
                    <a:cubicBezTo>
                      <a:pt x="8059" y="191"/>
                      <a:pt x="7954" y="89"/>
                      <a:pt x="7840" y="37"/>
                    </a:cubicBezTo>
                    <a:close/>
                    <a:moveTo>
                      <a:pt x="7647" y="644"/>
                    </a:moveTo>
                    <a:lnTo>
                      <a:pt x="7928" y="1270"/>
                    </a:lnTo>
                    <a:cubicBezTo>
                      <a:pt x="8022" y="1488"/>
                      <a:pt x="8215" y="1619"/>
                      <a:pt x="8417" y="1603"/>
                    </a:cubicBezTo>
                    <a:cubicBezTo>
                      <a:pt x="8554" y="1593"/>
                      <a:pt x="8688" y="1599"/>
                      <a:pt x="8824" y="1617"/>
                    </a:cubicBezTo>
                    <a:cubicBezTo>
                      <a:pt x="9025" y="1643"/>
                      <a:pt x="9223" y="1522"/>
                      <a:pt x="9325" y="1310"/>
                    </a:cubicBezTo>
                    <a:lnTo>
                      <a:pt x="9622" y="691"/>
                    </a:lnTo>
                    <a:lnTo>
                      <a:pt x="10122" y="964"/>
                    </a:lnTo>
                    <a:lnTo>
                      <a:pt x="9952" y="1643"/>
                    </a:lnTo>
                    <a:cubicBezTo>
                      <a:pt x="9891" y="1879"/>
                      <a:pt x="9948" y="2140"/>
                      <a:pt x="10100" y="2303"/>
                    </a:cubicBezTo>
                    <a:cubicBezTo>
                      <a:pt x="10203" y="2414"/>
                      <a:pt x="10300" y="2533"/>
                      <a:pt x="10386" y="2663"/>
                    </a:cubicBezTo>
                    <a:cubicBezTo>
                      <a:pt x="10513" y="2856"/>
                      <a:pt x="10723" y="2940"/>
                      <a:pt x="10919" y="2876"/>
                    </a:cubicBezTo>
                    <a:lnTo>
                      <a:pt x="11486" y="2696"/>
                    </a:lnTo>
                    <a:lnTo>
                      <a:pt x="11684" y="3323"/>
                    </a:lnTo>
                    <a:lnTo>
                      <a:pt x="11167" y="3656"/>
                    </a:lnTo>
                    <a:cubicBezTo>
                      <a:pt x="10988" y="3771"/>
                      <a:pt x="10880" y="3997"/>
                      <a:pt x="10892" y="4243"/>
                    </a:cubicBezTo>
                    <a:cubicBezTo>
                      <a:pt x="10901" y="4410"/>
                      <a:pt x="10897" y="4583"/>
                      <a:pt x="10881" y="4749"/>
                    </a:cubicBezTo>
                    <a:cubicBezTo>
                      <a:pt x="10860" y="4992"/>
                      <a:pt x="10960" y="5224"/>
                      <a:pt x="11134" y="5349"/>
                    </a:cubicBezTo>
                    <a:lnTo>
                      <a:pt x="11640" y="5715"/>
                    </a:lnTo>
                    <a:lnTo>
                      <a:pt x="11420" y="6328"/>
                    </a:lnTo>
                    <a:lnTo>
                      <a:pt x="10864" y="6122"/>
                    </a:lnTo>
                    <a:cubicBezTo>
                      <a:pt x="10669" y="6049"/>
                      <a:pt x="10454" y="6121"/>
                      <a:pt x="10320" y="6308"/>
                    </a:cubicBezTo>
                    <a:cubicBezTo>
                      <a:pt x="10230" y="6434"/>
                      <a:pt x="10131" y="6551"/>
                      <a:pt x="10023" y="6655"/>
                    </a:cubicBezTo>
                    <a:cubicBezTo>
                      <a:pt x="9865" y="6810"/>
                      <a:pt x="9796" y="7064"/>
                      <a:pt x="9847" y="7301"/>
                    </a:cubicBezTo>
                    <a:lnTo>
                      <a:pt x="9996" y="7994"/>
                    </a:lnTo>
                    <a:lnTo>
                      <a:pt x="9484" y="8234"/>
                    </a:lnTo>
                    <a:lnTo>
                      <a:pt x="9209" y="7601"/>
                    </a:lnTo>
                    <a:cubicBezTo>
                      <a:pt x="9120" y="7395"/>
                      <a:pt x="8945" y="7268"/>
                      <a:pt x="8753" y="7268"/>
                    </a:cubicBezTo>
                    <a:lnTo>
                      <a:pt x="8720" y="7268"/>
                    </a:lnTo>
                    <a:cubicBezTo>
                      <a:pt x="8583" y="7278"/>
                      <a:pt x="8449" y="7272"/>
                      <a:pt x="8313" y="7255"/>
                    </a:cubicBezTo>
                    <a:cubicBezTo>
                      <a:pt x="8112" y="7228"/>
                      <a:pt x="7914" y="7349"/>
                      <a:pt x="7812" y="7561"/>
                    </a:cubicBezTo>
                    <a:lnTo>
                      <a:pt x="7515" y="8181"/>
                    </a:lnTo>
                    <a:lnTo>
                      <a:pt x="7010" y="7908"/>
                    </a:lnTo>
                    <a:lnTo>
                      <a:pt x="7186" y="7221"/>
                    </a:lnTo>
                    <a:cubicBezTo>
                      <a:pt x="7245" y="6986"/>
                      <a:pt x="7189" y="6732"/>
                      <a:pt x="7037" y="6568"/>
                    </a:cubicBezTo>
                    <a:cubicBezTo>
                      <a:pt x="6934" y="6458"/>
                      <a:pt x="6836" y="6339"/>
                      <a:pt x="6751" y="6208"/>
                    </a:cubicBezTo>
                    <a:cubicBezTo>
                      <a:pt x="6624" y="6016"/>
                      <a:pt x="6414" y="5932"/>
                      <a:pt x="6218" y="5995"/>
                    </a:cubicBezTo>
                    <a:lnTo>
                      <a:pt x="5651" y="6175"/>
                    </a:lnTo>
                    <a:lnTo>
                      <a:pt x="5453" y="5549"/>
                    </a:lnTo>
                    <a:cubicBezTo>
                      <a:pt x="5453" y="5549"/>
                      <a:pt x="5976" y="5215"/>
                      <a:pt x="5976" y="5215"/>
                    </a:cubicBezTo>
                    <a:cubicBezTo>
                      <a:pt x="6155" y="5100"/>
                      <a:pt x="6262" y="4868"/>
                      <a:pt x="6251" y="4622"/>
                    </a:cubicBezTo>
                    <a:cubicBezTo>
                      <a:pt x="6241" y="4455"/>
                      <a:pt x="6242" y="4289"/>
                      <a:pt x="6256" y="4123"/>
                    </a:cubicBezTo>
                    <a:cubicBezTo>
                      <a:pt x="6277" y="3880"/>
                      <a:pt x="6182" y="3647"/>
                      <a:pt x="6009" y="3523"/>
                    </a:cubicBezTo>
                    <a:lnTo>
                      <a:pt x="5497" y="3156"/>
                    </a:lnTo>
                    <a:lnTo>
                      <a:pt x="5723" y="2543"/>
                    </a:lnTo>
                    <a:lnTo>
                      <a:pt x="6284" y="2750"/>
                    </a:lnTo>
                    <a:cubicBezTo>
                      <a:pt x="6475" y="2820"/>
                      <a:pt x="6679" y="2752"/>
                      <a:pt x="6812" y="2570"/>
                    </a:cubicBezTo>
                    <a:cubicBezTo>
                      <a:pt x="6902" y="2444"/>
                      <a:pt x="7006" y="2327"/>
                      <a:pt x="7114" y="2223"/>
                    </a:cubicBezTo>
                    <a:cubicBezTo>
                      <a:pt x="7271" y="2068"/>
                      <a:pt x="7336" y="1814"/>
                      <a:pt x="7285" y="1577"/>
                    </a:cubicBezTo>
                    <a:lnTo>
                      <a:pt x="7136" y="884"/>
                    </a:lnTo>
                    <a:lnTo>
                      <a:pt x="7647" y="644"/>
                    </a:lnTo>
                    <a:close/>
                    <a:moveTo>
                      <a:pt x="8571" y="2350"/>
                    </a:moveTo>
                    <a:cubicBezTo>
                      <a:pt x="7616" y="2354"/>
                      <a:pt x="6847" y="3292"/>
                      <a:pt x="6850" y="4449"/>
                    </a:cubicBezTo>
                    <a:cubicBezTo>
                      <a:pt x="6853" y="5459"/>
                      <a:pt x="7449" y="6328"/>
                      <a:pt x="8269" y="6508"/>
                    </a:cubicBezTo>
                    <a:cubicBezTo>
                      <a:pt x="8373" y="6531"/>
                      <a:pt x="8477" y="6542"/>
                      <a:pt x="8582" y="6542"/>
                    </a:cubicBezTo>
                    <a:cubicBezTo>
                      <a:pt x="9537" y="6538"/>
                      <a:pt x="10312" y="5593"/>
                      <a:pt x="10309" y="4436"/>
                    </a:cubicBezTo>
                    <a:cubicBezTo>
                      <a:pt x="10306" y="3278"/>
                      <a:pt x="9526" y="2346"/>
                      <a:pt x="8571" y="2350"/>
                    </a:cubicBezTo>
                    <a:close/>
                    <a:moveTo>
                      <a:pt x="8577" y="2996"/>
                    </a:moveTo>
                    <a:cubicBezTo>
                      <a:pt x="8650" y="2996"/>
                      <a:pt x="8725" y="3000"/>
                      <a:pt x="8797" y="3016"/>
                    </a:cubicBezTo>
                    <a:cubicBezTo>
                      <a:pt x="9447" y="3160"/>
                      <a:pt x="9878" y="3914"/>
                      <a:pt x="9759" y="4702"/>
                    </a:cubicBezTo>
                    <a:cubicBezTo>
                      <a:pt x="9640" y="5491"/>
                      <a:pt x="9013" y="6019"/>
                      <a:pt x="8362" y="5875"/>
                    </a:cubicBezTo>
                    <a:cubicBezTo>
                      <a:pt x="7712" y="5731"/>
                      <a:pt x="7281" y="4971"/>
                      <a:pt x="7400" y="4183"/>
                    </a:cubicBezTo>
                    <a:cubicBezTo>
                      <a:pt x="7504" y="3495"/>
                      <a:pt x="8000" y="2998"/>
                      <a:pt x="8577" y="2996"/>
                    </a:cubicBezTo>
                    <a:close/>
                    <a:moveTo>
                      <a:pt x="15984" y="6455"/>
                    </a:moveTo>
                    <a:cubicBezTo>
                      <a:pt x="15735" y="6496"/>
                      <a:pt x="15520" y="6701"/>
                      <a:pt x="15429" y="7001"/>
                    </a:cubicBezTo>
                    <a:lnTo>
                      <a:pt x="15071" y="8181"/>
                    </a:lnTo>
                    <a:cubicBezTo>
                      <a:pt x="15052" y="8252"/>
                      <a:pt x="15000" y="8301"/>
                      <a:pt x="14939" y="8308"/>
                    </a:cubicBezTo>
                    <a:cubicBezTo>
                      <a:pt x="14664" y="8333"/>
                      <a:pt x="14393" y="8385"/>
                      <a:pt x="14125" y="8468"/>
                    </a:cubicBezTo>
                    <a:cubicBezTo>
                      <a:pt x="14064" y="8486"/>
                      <a:pt x="13998" y="8455"/>
                      <a:pt x="13960" y="8394"/>
                    </a:cubicBezTo>
                    <a:lnTo>
                      <a:pt x="13317" y="7421"/>
                    </a:lnTo>
                    <a:cubicBezTo>
                      <a:pt x="13099" y="7088"/>
                      <a:pt x="12709" y="6999"/>
                      <a:pt x="12410" y="7221"/>
                    </a:cubicBezTo>
                    <a:lnTo>
                      <a:pt x="11568" y="7848"/>
                    </a:lnTo>
                    <a:cubicBezTo>
                      <a:pt x="11269" y="8073"/>
                      <a:pt x="11157" y="8539"/>
                      <a:pt x="11304" y="8927"/>
                    </a:cubicBezTo>
                    <a:lnTo>
                      <a:pt x="11733" y="10054"/>
                    </a:lnTo>
                    <a:cubicBezTo>
                      <a:pt x="11760" y="10122"/>
                      <a:pt x="11751" y="10202"/>
                      <a:pt x="11711" y="10260"/>
                    </a:cubicBezTo>
                    <a:cubicBezTo>
                      <a:pt x="11529" y="10514"/>
                      <a:pt x="11369" y="10791"/>
                      <a:pt x="11227" y="11080"/>
                    </a:cubicBezTo>
                    <a:cubicBezTo>
                      <a:pt x="11195" y="11144"/>
                      <a:pt x="11135" y="11176"/>
                      <a:pt x="11073" y="11167"/>
                    </a:cubicBezTo>
                    <a:lnTo>
                      <a:pt x="10051" y="11020"/>
                    </a:lnTo>
                    <a:cubicBezTo>
                      <a:pt x="9700" y="10970"/>
                      <a:pt x="9377" y="11249"/>
                      <a:pt x="9297" y="11666"/>
                    </a:cubicBezTo>
                    <a:lnTo>
                      <a:pt x="9066" y="12833"/>
                    </a:lnTo>
                    <a:cubicBezTo>
                      <a:pt x="8985" y="13248"/>
                      <a:pt x="9170" y="13670"/>
                      <a:pt x="9501" y="13819"/>
                    </a:cubicBezTo>
                    <a:lnTo>
                      <a:pt x="10468" y="14252"/>
                    </a:lnTo>
                    <a:cubicBezTo>
                      <a:pt x="10526" y="14278"/>
                      <a:pt x="10566" y="14339"/>
                      <a:pt x="10573" y="14412"/>
                    </a:cubicBezTo>
                    <a:cubicBezTo>
                      <a:pt x="10592" y="14747"/>
                      <a:pt x="10636" y="15079"/>
                      <a:pt x="10705" y="15405"/>
                    </a:cubicBezTo>
                    <a:cubicBezTo>
                      <a:pt x="10718" y="15483"/>
                      <a:pt x="10694" y="15567"/>
                      <a:pt x="10639" y="15612"/>
                    </a:cubicBezTo>
                    <a:lnTo>
                      <a:pt x="9842" y="16385"/>
                    </a:lnTo>
                    <a:cubicBezTo>
                      <a:pt x="9570" y="16652"/>
                      <a:pt x="9503" y="17120"/>
                      <a:pt x="9682" y="17484"/>
                    </a:cubicBezTo>
                    <a:lnTo>
                      <a:pt x="10194" y="18504"/>
                    </a:lnTo>
                    <a:cubicBezTo>
                      <a:pt x="10378" y="18869"/>
                      <a:pt x="10759" y="19011"/>
                      <a:pt x="11079" y="18830"/>
                    </a:cubicBezTo>
                    <a:lnTo>
                      <a:pt x="12014" y="18304"/>
                    </a:lnTo>
                    <a:cubicBezTo>
                      <a:pt x="12069" y="18272"/>
                      <a:pt x="12132" y="18283"/>
                      <a:pt x="12179" y="18331"/>
                    </a:cubicBezTo>
                    <a:cubicBezTo>
                      <a:pt x="12386" y="18551"/>
                      <a:pt x="12608" y="18745"/>
                      <a:pt x="12844" y="18917"/>
                    </a:cubicBezTo>
                    <a:cubicBezTo>
                      <a:pt x="12898" y="18957"/>
                      <a:pt x="12929" y="19034"/>
                      <a:pt x="12921" y="19110"/>
                    </a:cubicBezTo>
                    <a:lnTo>
                      <a:pt x="12800" y="20356"/>
                    </a:lnTo>
                    <a:cubicBezTo>
                      <a:pt x="12760" y="20782"/>
                      <a:pt x="12990" y="21178"/>
                      <a:pt x="13333" y="21276"/>
                    </a:cubicBezTo>
                    <a:lnTo>
                      <a:pt x="14290" y="21556"/>
                    </a:lnTo>
                    <a:cubicBezTo>
                      <a:pt x="14343" y="21571"/>
                      <a:pt x="14396" y="21576"/>
                      <a:pt x="14450" y="21576"/>
                    </a:cubicBezTo>
                    <a:cubicBezTo>
                      <a:pt x="14742" y="21575"/>
                      <a:pt x="15004" y="21355"/>
                      <a:pt x="15104" y="21023"/>
                    </a:cubicBezTo>
                    <a:lnTo>
                      <a:pt x="15456" y="19843"/>
                    </a:lnTo>
                    <a:cubicBezTo>
                      <a:pt x="15477" y="19773"/>
                      <a:pt x="15533" y="19725"/>
                      <a:pt x="15594" y="19717"/>
                    </a:cubicBezTo>
                    <a:cubicBezTo>
                      <a:pt x="15869" y="19693"/>
                      <a:pt x="16140" y="19640"/>
                      <a:pt x="16407" y="19557"/>
                    </a:cubicBezTo>
                    <a:cubicBezTo>
                      <a:pt x="16468" y="19539"/>
                      <a:pt x="16530" y="19563"/>
                      <a:pt x="16567" y="19623"/>
                    </a:cubicBezTo>
                    <a:lnTo>
                      <a:pt x="17205" y="20610"/>
                    </a:lnTo>
                    <a:cubicBezTo>
                      <a:pt x="17422" y="20943"/>
                      <a:pt x="17813" y="21024"/>
                      <a:pt x="18112" y="20803"/>
                    </a:cubicBezTo>
                    <a:lnTo>
                      <a:pt x="18959" y="20183"/>
                    </a:lnTo>
                    <a:cubicBezTo>
                      <a:pt x="19257" y="19958"/>
                      <a:pt x="19369" y="19498"/>
                      <a:pt x="19223" y="19110"/>
                    </a:cubicBezTo>
                    <a:lnTo>
                      <a:pt x="18794" y="17971"/>
                    </a:lnTo>
                    <a:cubicBezTo>
                      <a:pt x="18768" y="17902"/>
                      <a:pt x="18776" y="17822"/>
                      <a:pt x="18816" y="17764"/>
                    </a:cubicBezTo>
                    <a:cubicBezTo>
                      <a:pt x="18996" y="17513"/>
                      <a:pt x="19159" y="17243"/>
                      <a:pt x="19300" y="16958"/>
                    </a:cubicBezTo>
                    <a:cubicBezTo>
                      <a:pt x="19333" y="16891"/>
                      <a:pt x="19390" y="16853"/>
                      <a:pt x="19454" y="16858"/>
                    </a:cubicBezTo>
                    <a:lnTo>
                      <a:pt x="20477" y="17004"/>
                    </a:lnTo>
                    <a:cubicBezTo>
                      <a:pt x="20828" y="17054"/>
                      <a:pt x="21156" y="16775"/>
                      <a:pt x="21236" y="16358"/>
                    </a:cubicBezTo>
                    <a:lnTo>
                      <a:pt x="21461" y="15192"/>
                    </a:lnTo>
                    <a:cubicBezTo>
                      <a:pt x="21543" y="14775"/>
                      <a:pt x="21358" y="14348"/>
                      <a:pt x="21027" y="14199"/>
                    </a:cubicBezTo>
                    <a:lnTo>
                      <a:pt x="20059" y="13766"/>
                    </a:lnTo>
                    <a:cubicBezTo>
                      <a:pt x="20002" y="13740"/>
                      <a:pt x="19961" y="13679"/>
                      <a:pt x="19954" y="13606"/>
                    </a:cubicBezTo>
                    <a:cubicBezTo>
                      <a:pt x="19934" y="13271"/>
                      <a:pt x="19891" y="12938"/>
                      <a:pt x="19822" y="12613"/>
                    </a:cubicBezTo>
                    <a:cubicBezTo>
                      <a:pt x="19808" y="12538"/>
                      <a:pt x="19828" y="12460"/>
                      <a:pt x="19877" y="12413"/>
                    </a:cubicBezTo>
                    <a:lnTo>
                      <a:pt x="20686" y="11640"/>
                    </a:lnTo>
                    <a:cubicBezTo>
                      <a:pt x="20958" y="11373"/>
                      <a:pt x="21026" y="10904"/>
                      <a:pt x="20845" y="10540"/>
                    </a:cubicBezTo>
                    <a:lnTo>
                      <a:pt x="20334" y="9514"/>
                    </a:lnTo>
                    <a:cubicBezTo>
                      <a:pt x="20149" y="9150"/>
                      <a:pt x="19768" y="9014"/>
                      <a:pt x="19448" y="9194"/>
                    </a:cubicBezTo>
                    <a:lnTo>
                      <a:pt x="18519" y="9720"/>
                    </a:lnTo>
                    <a:cubicBezTo>
                      <a:pt x="18464" y="9752"/>
                      <a:pt x="18395" y="9742"/>
                      <a:pt x="18349" y="9694"/>
                    </a:cubicBezTo>
                    <a:cubicBezTo>
                      <a:pt x="18141" y="9475"/>
                      <a:pt x="17919" y="9280"/>
                      <a:pt x="17683" y="9107"/>
                    </a:cubicBezTo>
                    <a:cubicBezTo>
                      <a:pt x="17628" y="9067"/>
                      <a:pt x="17603" y="8991"/>
                      <a:pt x="17612" y="8914"/>
                    </a:cubicBezTo>
                    <a:lnTo>
                      <a:pt x="17727" y="7668"/>
                    </a:lnTo>
                    <a:cubicBezTo>
                      <a:pt x="17768" y="7243"/>
                      <a:pt x="17543" y="6845"/>
                      <a:pt x="17199" y="6748"/>
                    </a:cubicBezTo>
                    <a:lnTo>
                      <a:pt x="16243" y="6468"/>
                    </a:lnTo>
                    <a:cubicBezTo>
                      <a:pt x="16157" y="6444"/>
                      <a:pt x="16067" y="6441"/>
                      <a:pt x="15984" y="6455"/>
                    </a:cubicBezTo>
                    <a:close/>
                    <a:moveTo>
                      <a:pt x="16116" y="7088"/>
                    </a:moveTo>
                    <a:lnTo>
                      <a:pt x="17073" y="7368"/>
                    </a:lnTo>
                    <a:cubicBezTo>
                      <a:pt x="17153" y="7392"/>
                      <a:pt x="17209" y="7488"/>
                      <a:pt x="17199" y="7588"/>
                    </a:cubicBezTo>
                    <a:lnTo>
                      <a:pt x="17078" y="8827"/>
                    </a:lnTo>
                    <a:cubicBezTo>
                      <a:pt x="17046" y="9155"/>
                      <a:pt x="17176" y="9475"/>
                      <a:pt x="17408" y="9647"/>
                    </a:cubicBezTo>
                    <a:cubicBezTo>
                      <a:pt x="17619" y="9800"/>
                      <a:pt x="17817" y="9978"/>
                      <a:pt x="18002" y="10174"/>
                    </a:cubicBezTo>
                    <a:cubicBezTo>
                      <a:pt x="18207" y="10389"/>
                      <a:pt x="18499" y="10434"/>
                      <a:pt x="18745" y="10294"/>
                    </a:cubicBezTo>
                    <a:lnTo>
                      <a:pt x="19674" y="9774"/>
                    </a:lnTo>
                    <a:cubicBezTo>
                      <a:pt x="19749" y="9732"/>
                      <a:pt x="19840" y="9762"/>
                      <a:pt x="19883" y="9847"/>
                    </a:cubicBezTo>
                    <a:lnTo>
                      <a:pt x="20394" y="10867"/>
                    </a:lnTo>
                    <a:cubicBezTo>
                      <a:pt x="20437" y="10953"/>
                      <a:pt x="20419" y="11062"/>
                      <a:pt x="20356" y="11127"/>
                    </a:cubicBezTo>
                    <a:lnTo>
                      <a:pt x="19553" y="11900"/>
                    </a:lnTo>
                    <a:cubicBezTo>
                      <a:pt x="19339" y="12103"/>
                      <a:pt x="19241" y="12446"/>
                      <a:pt x="19305" y="12766"/>
                    </a:cubicBezTo>
                    <a:cubicBezTo>
                      <a:pt x="19365" y="13056"/>
                      <a:pt x="19404" y="13348"/>
                      <a:pt x="19421" y="13646"/>
                    </a:cubicBezTo>
                    <a:cubicBezTo>
                      <a:pt x="19441" y="13974"/>
                      <a:pt x="19622" y="14259"/>
                      <a:pt x="19877" y="14372"/>
                    </a:cubicBezTo>
                    <a:lnTo>
                      <a:pt x="20840" y="14805"/>
                    </a:lnTo>
                    <a:cubicBezTo>
                      <a:pt x="20919" y="14839"/>
                      <a:pt x="20964" y="14939"/>
                      <a:pt x="20944" y="15038"/>
                    </a:cubicBezTo>
                    <a:lnTo>
                      <a:pt x="20719" y="16205"/>
                    </a:lnTo>
                    <a:cubicBezTo>
                      <a:pt x="20700" y="16302"/>
                      <a:pt x="20619" y="16370"/>
                      <a:pt x="20537" y="16358"/>
                    </a:cubicBezTo>
                    <a:lnTo>
                      <a:pt x="19520" y="16211"/>
                    </a:lnTo>
                    <a:cubicBezTo>
                      <a:pt x="19247" y="16175"/>
                      <a:pt x="18978" y="16338"/>
                      <a:pt x="18838" y="16625"/>
                    </a:cubicBezTo>
                    <a:cubicBezTo>
                      <a:pt x="18713" y="16881"/>
                      <a:pt x="18570" y="17119"/>
                      <a:pt x="18409" y="17344"/>
                    </a:cubicBezTo>
                    <a:cubicBezTo>
                      <a:pt x="18233" y="17594"/>
                      <a:pt x="18196" y="17946"/>
                      <a:pt x="18310" y="18244"/>
                    </a:cubicBezTo>
                    <a:lnTo>
                      <a:pt x="18739" y="19383"/>
                    </a:lnTo>
                    <a:cubicBezTo>
                      <a:pt x="18774" y="19475"/>
                      <a:pt x="18748" y="19582"/>
                      <a:pt x="18679" y="19637"/>
                    </a:cubicBezTo>
                    <a:lnTo>
                      <a:pt x="17832" y="20256"/>
                    </a:lnTo>
                    <a:cubicBezTo>
                      <a:pt x="17762" y="20307"/>
                      <a:pt x="17674" y="20293"/>
                      <a:pt x="17623" y="20217"/>
                    </a:cubicBezTo>
                    <a:lnTo>
                      <a:pt x="16985" y="19230"/>
                    </a:lnTo>
                    <a:cubicBezTo>
                      <a:pt x="16817" y="18970"/>
                      <a:pt x="16540" y="18852"/>
                      <a:pt x="16276" y="18930"/>
                    </a:cubicBezTo>
                    <a:cubicBezTo>
                      <a:pt x="16038" y="19004"/>
                      <a:pt x="15794" y="19050"/>
                      <a:pt x="15550" y="19070"/>
                    </a:cubicBezTo>
                    <a:cubicBezTo>
                      <a:pt x="15278" y="19096"/>
                      <a:pt x="15048" y="19313"/>
                      <a:pt x="14956" y="19623"/>
                    </a:cubicBezTo>
                    <a:lnTo>
                      <a:pt x="14598" y="20803"/>
                    </a:lnTo>
                    <a:cubicBezTo>
                      <a:pt x="14570" y="20897"/>
                      <a:pt x="14492" y="20944"/>
                      <a:pt x="14411" y="20923"/>
                    </a:cubicBezTo>
                    <a:lnTo>
                      <a:pt x="13454" y="20650"/>
                    </a:lnTo>
                    <a:cubicBezTo>
                      <a:pt x="13374" y="20625"/>
                      <a:pt x="13318" y="20530"/>
                      <a:pt x="13328" y="20430"/>
                    </a:cubicBezTo>
                    <a:lnTo>
                      <a:pt x="13449" y="19190"/>
                    </a:lnTo>
                    <a:cubicBezTo>
                      <a:pt x="13482" y="18862"/>
                      <a:pt x="13352" y="18542"/>
                      <a:pt x="13119" y="18371"/>
                    </a:cubicBezTo>
                    <a:cubicBezTo>
                      <a:pt x="12909" y="18216"/>
                      <a:pt x="12710" y="18040"/>
                      <a:pt x="12525" y="17844"/>
                    </a:cubicBezTo>
                    <a:cubicBezTo>
                      <a:pt x="12400" y="17713"/>
                      <a:pt x="12240" y="17637"/>
                      <a:pt x="12074" y="17637"/>
                    </a:cubicBezTo>
                    <a:cubicBezTo>
                      <a:pt x="11974" y="17638"/>
                      <a:pt x="11874" y="17666"/>
                      <a:pt x="11783" y="17717"/>
                    </a:cubicBezTo>
                    <a:lnTo>
                      <a:pt x="10853" y="18244"/>
                    </a:lnTo>
                    <a:cubicBezTo>
                      <a:pt x="10779" y="18285"/>
                      <a:pt x="10688" y="18255"/>
                      <a:pt x="10644" y="18171"/>
                    </a:cubicBezTo>
                    <a:lnTo>
                      <a:pt x="10133" y="17151"/>
                    </a:lnTo>
                    <a:cubicBezTo>
                      <a:pt x="10090" y="17065"/>
                      <a:pt x="10107" y="16955"/>
                      <a:pt x="10172" y="16891"/>
                    </a:cubicBezTo>
                    <a:lnTo>
                      <a:pt x="10974" y="16111"/>
                    </a:lnTo>
                    <a:cubicBezTo>
                      <a:pt x="11188" y="15907"/>
                      <a:pt x="11286" y="15572"/>
                      <a:pt x="11222" y="15252"/>
                    </a:cubicBezTo>
                    <a:cubicBezTo>
                      <a:pt x="11162" y="14961"/>
                      <a:pt x="11119" y="14664"/>
                      <a:pt x="11101" y="14365"/>
                    </a:cubicBezTo>
                    <a:cubicBezTo>
                      <a:pt x="11081" y="14038"/>
                      <a:pt x="10905" y="13758"/>
                      <a:pt x="10650" y="13646"/>
                    </a:cubicBezTo>
                    <a:lnTo>
                      <a:pt x="9688" y="13212"/>
                    </a:lnTo>
                    <a:cubicBezTo>
                      <a:pt x="9610" y="13176"/>
                      <a:pt x="9564" y="13078"/>
                      <a:pt x="9583" y="12979"/>
                    </a:cubicBezTo>
                    <a:lnTo>
                      <a:pt x="9814" y="11813"/>
                    </a:lnTo>
                    <a:cubicBezTo>
                      <a:pt x="9833" y="11715"/>
                      <a:pt x="9908" y="11648"/>
                      <a:pt x="9990" y="11660"/>
                    </a:cubicBezTo>
                    <a:lnTo>
                      <a:pt x="11007" y="11806"/>
                    </a:lnTo>
                    <a:cubicBezTo>
                      <a:pt x="11278" y="11847"/>
                      <a:pt x="11544" y="11690"/>
                      <a:pt x="11684" y="11406"/>
                    </a:cubicBezTo>
                    <a:cubicBezTo>
                      <a:pt x="11810" y="11150"/>
                      <a:pt x="11957" y="10906"/>
                      <a:pt x="12118" y="10680"/>
                    </a:cubicBezTo>
                    <a:cubicBezTo>
                      <a:pt x="12294" y="10430"/>
                      <a:pt x="12331" y="10079"/>
                      <a:pt x="12217" y="9780"/>
                    </a:cubicBezTo>
                    <a:lnTo>
                      <a:pt x="11788" y="8654"/>
                    </a:lnTo>
                    <a:cubicBezTo>
                      <a:pt x="11753" y="8562"/>
                      <a:pt x="11778" y="8455"/>
                      <a:pt x="11849" y="8401"/>
                    </a:cubicBezTo>
                    <a:lnTo>
                      <a:pt x="12690" y="7768"/>
                    </a:lnTo>
                    <a:cubicBezTo>
                      <a:pt x="12760" y="7716"/>
                      <a:pt x="12848" y="7737"/>
                      <a:pt x="12899" y="7814"/>
                    </a:cubicBezTo>
                    <a:lnTo>
                      <a:pt x="13542" y="8781"/>
                    </a:lnTo>
                    <a:cubicBezTo>
                      <a:pt x="13710" y="9042"/>
                      <a:pt x="13987" y="9161"/>
                      <a:pt x="14252" y="9081"/>
                    </a:cubicBezTo>
                    <a:cubicBezTo>
                      <a:pt x="14490" y="9008"/>
                      <a:pt x="14733" y="8961"/>
                      <a:pt x="14978" y="8941"/>
                    </a:cubicBezTo>
                    <a:cubicBezTo>
                      <a:pt x="15248" y="8916"/>
                      <a:pt x="15480" y="8704"/>
                      <a:pt x="15572" y="8394"/>
                    </a:cubicBezTo>
                    <a:lnTo>
                      <a:pt x="15929" y="7215"/>
                    </a:lnTo>
                    <a:cubicBezTo>
                      <a:pt x="15956" y="7120"/>
                      <a:pt x="16035" y="7064"/>
                      <a:pt x="16116" y="7088"/>
                    </a:cubicBezTo>
                    <a:close/>
                    <a:moveTo>
                      <a:pt x="5343" y="8568"/>
                    </a:moveTo>
                    <a:cubicBezTo>
                      <a:pt x="5065" y="8474"/>
                      <a:pt x="4772" y="8650"/>
                      <a:pt x="4661" y="8974"/>
                    </a:cubicBezTo>
                    <a:lnTo>
                      <a:pt x="4381" y="9794"/>
                    </a:lnTo>
                    <a:cubicBezTo>
                      <a:pt x="4376" y="9809"/>
                      <a:pt x="4367" y="9819"/>
                      <a:pt x="4354" y="9820"/>
                    </a:cubicBezTo>
                    <a:cubicBezTo>
                      <a:pt x="4154" y="9827"/>
                      <a:pt x="3955" y="9857"/>
                      <a:pt x="3760" y="9907"/>
                    </a:cubicBezTo>
                    <a:cubicBezTo>
                      <a:pt x="3745" y="9910"/>
                      <a:pt x="3729" y="9902"/>
                      <a:pt x="3721" y="9887"/>
                    </a:cubicBezTo>
                    <a:lnTo>
                      <a:pt x="3292" y="9174"/>
                    </a:lnTo>
                    <a:cubicBezTo>
                      <a:pt x="3122" y="8893"/>
                      <a:pt x="2801" y="8811"/>
                      <a:pt x="2550" y="8981"/>
                    </a:cubicBezTo>
                    <a:lnTo>
                      <a:pt x="1939" y="9394"/>
                    </a:lnTo>
                    <a:cubicBezTo>
                      <a:pt x="1688" y="9566"/>
                      <a:pt x="1581" y="9943"/>
                      <a:pt x="1692" y="10267"/>
                    </a:cubicBezTo>
                    <a:lnTo>
                      <a:pt x="1978" y="11087"/>
                    </a:lnTo>
                    <a:cubicBezTo>
                      <a:pt x="1985" y="11100"/>
                      <a:pt x="1985" y="11113"/>
                      <a:pt x="1978" y="11127"/>
                    </a:cubicBezTo>
                    <a:cubicBezTo>
                      <a:pt x="1840" y="11304"/>
                      <a:pt x="1713" y="11502"/>
                      <a:pt x="1604" y="11706"/>
                    </a:cubicBezTo>
                    <a:cubicBezTo>
                      <a:pt x="1596" y="11720"/>
                      <a:pt x="1584" y="11722"/>
                      <a:pt x="1571" y="11720"/>
                    </a:cubicBezTo>
                    <a:lnTo>
                      <a:pt x="851" y="11580"/>
                    </a:lnTo>
                    <a:cubicBezTo>
                      <a:pt x="564" y="11524"/>
                      <a:pt x="290" y="11741"/>
                      <a:pt x="213" y="12080"/>
                    </a:cubicBezTo>
                    <a:lnTo>
                      <a:pt x="20" y="12899"/>
                    </a:lnTo>
                    <a:cubicBezTo>
                      <a:pt x="-57" y="13236"/>
                      <a:pt x="89" y="13591"/>
                      <a:pt x="356" y="13726"/>
                    </a:cubicBezTo>
                    <a:lnTo>
                      <a:pt x="1027" y="14065"/>
                    </a:lnTo>
                    <a:cubicBezTo>
                      <a:pt x="1039" y="14071"/>
                      <a:pt x="1048" y="14082"/>
                      <a:pt x="1049" y="14099"/>
                    </a:cubicBezTo>
                    <a:cubicBezTo>
                      <a:pt x="1055" y="14342"/>
                      <a:pt x="1079" y="14587"/>
                      <a:pt x="1120" y="14825"/>
                    </a:cubicBezTo>
                    <a:cubicBezTo>
                      <a:pt x="1123" y="14843"/>
                      <a:pt x="1116" y="14856"/>
                      <a:pt x="1104" y="14865"/>
                    </a:cubicBezTo>
                    <a:lnTo>
                      <a:pt x="515" y="15392"/>
                    </a:lnTo>
                    <a:cubicBezTo>
                      <a:pt x="285" y="15600"/>
                      <a:pt x="218" y="15979"/>
                      <a:pt x="356" y="16285"/>
                    </a:cubicBezTo>
                    <a:lnTo>
                      <a:pt x="697" y="17031"/>
                    </a:lnTo>
                    <a:cubicBezTo>
                      <a:pt x="838" y="17337"/>
                      <a:pt x="1145" y="17466"/>
                      <a:pt x="1411" y="17331"/>
                    </a:cubicBezTo>
                    <a:lnTo>
                      <a:pt x="2088" y="16984"/>
                    </a:lnTo>
                    <a:cubicBezTo>
                      <a:pt x="2098" y="16976"/>
                      <a:pt x="2110" y="16976"/>
                      <a:pt x="2121" y="16984"/>
                    </a:cubicBezTo>
                    <a:cubicBezTo>
                      <a:pt x="2266" y="17151"/>
                      <a:pt x="2421" y="17305"/>
                      <a:pt x="2588" y="17438"/>
                    </a:cubicBezTo>
                    <a:cubicBezTo>
                      <a:pt x="2601" y="17448"/>
                      <a:pt x="2608" y="17466"/>
                      <a:pt x="2605" y="17484"/>
                    </a:cubicBezTo>
                    <a:lnTo>
                      <a:pt x="2495" y="18357"/>
                    </a:lnTo>
                    <a:cubicBezTo>
                      <a:pt x="2449" y="18703"/>
                      <a:pt x="2624" y="19041"/>
                      <a:pt x="2902" y="19137"/>
                    </a:cubicBezTo>
                    <a:lnTo>
                      <a:pt x="3573" y="19363"/>
                    </a:lnTo>
                    <a:cubicBezTo>
                      <a:pt x="3623" y="19379"/>
                      <a:pt x="3675" y="19390"/>
                      <a:pt x="3727" y="19390"/>
                    </a:cubicBezTo>
                    <a:cubicBezTo>
                      <a:pt x="3959" y="19392"/>
                      <a:pt x="4165" y="19224"/>
                      <a:pt x="4255" y="18964"/>
                    </a:cubicBezTo>
                    <a:lnTo>
                      <a:pt x="4535" y="18137"/>
                    </a:lnTo>
                    <a:cubicBezTo>
                      <a:pt x="4539" y="18122"/>
                      <a:pt x="4549" y="18112"/>
                      <a:pt x="4562" y="18111"/>
                    </a:cubicBezTo>
                    <a:cubicBezTo>
                      <a:pt x="4762" y="18103"/>
                      <a:pt x="4961" y="18073"/>
                      <a:pt x="5156" y="18024"/>
                    </a:cubicBezTo>
                    <a:cubicBezTo>
                      <a:pt x="5170" y="18021"/>
                      <a:pt x="5187" y="18030"/>
                      <a:pt x="5195" y="18044"/>
                    </a:cubicBezTo>
                    <a:lnTo>
                      <a:pt x="5624" y="18764"/>
                    </a:lnTo>
                    <a:cubicBezTo>
                      <a:pt x="5793" y="19045"/>
                      <a:pt x="6109" y="19125"/>
                      <a:pt x="6361" y="18957"/>
                    </a:cubicBezTo>
                    <a:lnTo>
                      <a:pt x="6977" y="18544"/>
                    </a:lnTo>
                    <a:cubicBezTo>
                      <a:pt x="7227" y="18371"/>
                      <a:pt x="7329" y="18000"/>
                      <a:pt x="7219" y="17677"/>
                    </a:cubicBezTo>
                    <a:lnTo>
                      <a:pt x="6944" y="16858"/>
                    </a:lnTo>
                    <a:cubicBezTo>
                      <a:pt x="6937" y="16843"/>
                      <a:pt x="6937" y="16826"/>
                      <a:pt x="6944" y="16811"/>
                    </a:cubicBezTo>
                    <a:cubicBezTo>
                      <a:pt x="7081" y="16634"/>
                      <a:pt x="7203" y="16442"/>
                      <a:pt x="7312" y="16238"/>
                    </a:cubicBezTo>
                    <a:cubicBezTo>
                      <a:pt x="7320" y="16223"/>
                      <a:pt x="7336" y="16211"/>
                      <a:pt x="7350" y="16211"/>
                    </a:cubicBezTo>
                    <a:lnTo>
                      <a:pt x="8071" y="16351"/>
                    </a:lnTo>
                    <a:cubicBezTo>
                      <a:pt x="8357" y="16407"/>
                      <a:pt x="8631" y="16190"/>
                      <a:pt x="8709" y="15851"/>
                    </a:cubicBezTo>
                    <a:lnTo>
                      <a:pt x="8896" y="15038"/>
                    </a:lnTo>
                    <a:cubicBezTo>
                      <a:pt x="8971" y="14698"/>
                      <a:pt x="8825" y="14343"/>
                      <a:pt x="8555" y="14212"/>
                    </a:cubicBezTo>
                    <a:lnTo>
                      <a:pt x="7878" y="13872"/>
                    </a:lnTo>
                    <a:cubicBezTo>
                      <a:pt x="7866" y="13866"/>
                      <a:pt x="7857" y="13849"/>
                      <a:pt x="7856" y="13832"/>
                    </a:cubicBezTo>
                    <a:cubicBezTo>
                      <a:pt x="7850" y="13589"/>
                      <a:pt x="7826" y="13351"/>
                      <a:pt x="7785" y="13113"/>
                    </a:cubicBezTo>
                    <a:cubicBezTo>
                      <a:pt x="7782" y="13095"/>
                      <a:pt x="7789" y="13076"/>
                      <a:pt x="7801" y="13066"/>
                    </a:cubicBezTo>
                    <a:lnTo>
                      <a:pt x="8395" y="12539"/>
                    </a:lnTo>
                    <a:cubicBezTo>
                      <a:pt x="8625" y="12331"/>
                      <a:pt x="8692" y="11952"/>
                      <a:pt x="8555" y="11646"/>
                    </a:cubicBezTo>
                    <a:lnTo>
                      <a:pt x="8214" y="10907"/>
                    </a:lnTo>
                    <a:cubicBezTo>
                      <a:pt x="8073" y="10600"/>
                      <a:pt x="7761" y="10471"/>
                      <a:pt x="7493" y="10607"/>
                    </a:cubicBezTo>
                    <a:lnTo>
                      <a:pt x="6823" y="10947"/>
                    </a:lnTo>
                    <a:cubicBezTo>
                      <a:pt x="6812" y="10955"/>
                      <a:pt x="6800" y="10955"/>
                      <a:pt x="6790" y="10947"/>
                    </a:cubicBezTo>
                    <a:cubicBezTo>
                      <a:pt x="6644" y="10780"/>
                      <a:pt x="6484" y="10627"/>
                      <a:pt x="6317" y="10493"/>
                    </a:cubicBezTo>
                    <a:cubicBezTo>
                      <a:pt x="6304" y="10484"/>
                      <a:pt x="6297" y="10471"/>
                      <a:pt x="6300" y="10454"/>
                    </a:cubicBezTo>
                    <a:lnTo>
                      <a:pt x="6416" y="9574"/>
                    </a:lnTo>
                    <a:cubicBezTo>
                      <a:pt x="6461" y="9228"/>
                      <a:pt x="6286" y="8897"/>
                      <a:pt x="6009" y="8801"/>
                    </a:cubicBezTo>
                    <a:lnTo>
                      <a:pt x="5343" y="8568"/>
                    </a:lnTo>
                    <a:close/>
                    <a:moveTo>
                      <a:pt x="5195" y="9181"/>
                    </a:moveTo>
                    <a:lnTo>
                      <a:pt x="5860" y="9414"/>
                    </a:lnTo>
                    <a:cubicBezTo>
                      <a:pt x="5879" y="9420"/>
                      <a:pt x="5892" y="9444"/>
                      <a:pt x="5888" y="9467"/>
                    </a:cubicBezTo>
                    <a:lnTo>
                      <a:pt x="5772" y="10340"/>
                    </a:lnTo>
                    <a:cubicBezTo>
                      <a:pt x="5737" y="10608"/>
                      <a:pt x="5834" y="10877"/>
                      <a:pt x="6020" y="11027"/>
                    </a:cubicBezTo>
                    <a:cubicBezTo>
                      <a:pt x="6161" y="11140"/>
                      <a:pt x="6297" y="11266"/>
                      <a:pt x="6421" y="11406"/>
                    </a:cubicBezTo>
                    <a:cubicBezTo>
                      <a:pt x="6584" y="11591"/>
                      <a:pt x="6821" y="11645"/>
                      <a:pt x="7026" y="11540"/>
                    </a:cubicBezTo>
                    <a:lnTo>
                      <a:pt x="7697" y="11200"/>
                    </a:lnTo>
                    <a:cubicBezTo>
                      <a:pt x="7714" y="11192"/>
                      <a:pt x="7737" y="11201"/>
                      <a:pt x="7746" y="11220"/>
                    </a:cubicBezTo>
                    <a:lnTo>
                      <a:pt x="8087" y="11960"/>
                    </a:lnTo>
                    <a:cubicBezTo>
                      <a:pt x="8097" y="11980"/>
                      <a:pt x="8092" y="12005"/>
                      <a:pt x="8076" y="12020"/>
                    </a:cubicBezTo>
                    <a:lnTo>
                      <a:pt x="7488" y="12539"/>
                    </a:lnTo>
                    <a:cubicBezTo>
                      <a:pt x="7306" y="12698"/>
                      <a:pt x="7217" y="12974"/>
                      <a:pt x="7263" y="13239"/>
                    </a:cubicBezTo>
                    <a:cubicBezTo>
                      <a:pt x="7297" y="13441"/>
                      <a:pt x="7318" y="13646"/>
                      <a:pt x="7323" y="13852"/>
                    </a:cubicBezTo>
                    <a:cubicBezTo>
                      <a:pt x="7331" y="14122"/>
                      <a:pt x="7470" y="14361"/>
                      <a:pt x="7675" y="14465"/>
                    </a:cubicBezTo>
                    <a:lnTo>
                      <a:pt x="8351" y="14805"/>
                    </a:lnTo>
                    <a:cubicBezTo>
                      <a:pt x="8370" y="14814"/>
                      <a:pt x="8379" y="14835"/>
                      <a:pt x="8373" y="14859"/>
                    </a:cubicBezTo>
                    <a:cubicBezTo>
                      <a:pt x="8373" y="14859"/>
                      <a:pt x="8186" y="15678"/>
                      <a:pt x="8186" y="15678"/>
                    </a:cubicBezTo>
                    <a:cubicBezTo>
                      <a:pt x="8181" y="15700"/>
                      <a:pt x="8161" y="15715"/>
                      <a:pt x="8142" y="15712"/>
                    </a:cubicBezTo>
                    <a:lnTo>
                      <a:pt x="7422" y="15578"/>
                    </a:lnTo>
                    <a:cubicBezTo>
                      <a:pt x="7199" y="15537"/>
                      <a:pt x="6978" y="15655"/>
                      <a:pt x="6856" y="15885"/>
                    </a:cubicBezTo>
                    <a:cubicBezTo>
                      <a:pt x="6763" y="16057"/>
                      <a:pt x="6658" y="16221"/>
                      <a:pt x="6542" y="16371"/>
                    </a:cubicBezTo>
                    <a:cubicBezTo>
                      <a:pt x="6392" y="16569"/>
                      <a:pt x="6347" y="16856"/>
                      <a:pt x="6432" y="17104"/>
                    </a:cubicBezTo>
                    <a:lnTo>
                      <a:pt x="6713" y="17924"/>
                    </a:lnTo>
                    <a:cubicBezTo>
                      <a:pt x="6721" y="17946"/>
                      <a:pt x="6713" y="17972"/>
                      <a:pt x="6696" y="17984"/>
                    </a:cubicBezTo>
                    <a:lnTo>
                      <a:pt x="6086" y="18397"/>
                    </a:lnTo>
                    <a:cubicBezTo>
                      <a:pt x="6070" y="18408"/>
                      <a:pt x="6047" y="18402"/>
                      <a:pt x="6036" y="18384"/>
                    </a:cubicBezTo>
                    <a:lnTo>
                      <a:pt x="5607" y="17664"/>
                    </a:lnTo>
                    <a:cubicBezTo>
                      <a:pt x="5477" y="17444"/>
                      <a:pt x="5254" y="17337"/>
                      <a:pt x="5035" y="17391"/>
                    </a:cubicBezTo>
                    <a:cubicBezTo>
                      <a:pt x="4869" y="17433"/>
                      <a:pt x="4699" y="17458"/>
                      <a:pt x="4529" y="17464"/>
                    </a:cubicBezTo>
                    <a:cubicBezTo>
                      <a:pt x="4307" y="17475"/>
                      <a:pt x="4114" y="17641"/>
                      <a:pt x="4029" y="17891"/>
                    </a:cubicBezTo>
                    <a:lnTo>
                      <a:pt x="3749" y="18710"/>
                    </a:lnTo>
                    <a:cubicBezTo>
                      <a:pt x="3742" y="18732"/>
                      <a:pt x="3723" y="18750"/>
                      <a:pt x="3705" y="18744"/>
                    </a:cubicBezTo>
                    <a:lnTo>
                      <a:pt x="3039" y="18510"/>
                    </a:lnTo>
                    <a:cubicBezTo>
                      <a:pt x="3020" y="18504"/>
                      <a:pt x="3008" y="18481"/>
                      <a:pt x="3012" y="18457"/>
                    </a:cubicBezTo>
                    <a:lnTo>
                      <a:pt x="3127" y="17584"/>
                    </a:lnTo>
                    <a:cubicBezTo>
                      <a:pt x="3163" y="17317"/>
                      <a:pt x="3066" y="17048"/>
                      <a:pt x="2880" y="16898"/>
                    </a:cubicBezTo>
                    <a:cubicBezTo>
                      <a:pt x="2738" y="16785"/>
                      <a:pt x="2602" y="16659"/>
                      <a:pt x="2478" y="16518"/>
                    </a:cubicBezTo>
                    <a:cubicBezTo>
                      <a:pt x="2316" y="16333"/>
                      <a:pt x="2079" y="16280"/>
                      <a:pt x="1873" y="16385"/>
                    </a:cubicBezTo>
                    <a:lnTo>
                      <a:pt x="1197" y="16724"/>
                    </a:lnTo>
                    <a:cubicBezTo>
                      <a:pt x="1179" y="16733"/>
                      <a:pt x="1162" y="16725"/>
                      <a:pt x="1153" y="16704"/>
                    </a:cubicBezTo>
                    <a:lnTo>
                      <a:pt x="812" y="15965"/>
                    </a:lnTo>
                    <a:cubicBezTo>
                      <a:pt x="803" y="15943"/>
                      <a:pt x="808" y="15920"/>
                      <a:pt x="823" y="15905"/>
                    </a:cubicBezTo>
                    <a:lnTo>
                      <a:pt x="1411" y="15385"/>
                    </a:lnTo>
                    <a:cubicBezTo>
                      <a:pt x="1593" y="15227"/>
                      <a:pt x="1682" y="14950"/>
                      <a:pt x="1637" y="14685"/>
                    </a:cubicBezTo>
                    <a:cubicBezTo>
                      <a:pt x="1602" y="14483"/>
                      <a:pt x="1582" y="14279"/>
                      <a:pt x="1576" y="14072"/>
                    </a:cubicBezTo>
                    <a:cubicBezTo>
                      <a:pt x="1569" y="13803"/>
                      <a:pt x="1430" y="13563"/>
                      <a:pt x="1225" y="13459"/>
                    </a:cubicBezTo>
                    <a:lnTo>
                      <a:pt x="548" y="13119"/>
                    </a:lnTo>
                    <a:cubicBezTo>
                      <a:pt x="530" y="13110"/>
                      <a:pt x="521" y="13089"/>
                      <a:pt x="526" y="13066"/>
                    </a:cubicBezTo>
                    <a:lnTo>
                      <a:pt x="719" y="12246"/>
                    </a:lnTo>
                    <a:cubicBezTo>
                      <a:pt x="724" y="12224"/>
                      <a:pt x="738" y="12210"/>
                      <a:pt x="757" y="12213"/>
                    </a:cubicBezTo>
                    <a:lnTo>
                      <a:pt x="1477" y="12353"/>
                    </a:lnTo>
                    <a:cubicBezTo>
                      <a:pt x="1699" y="12396"/>
                      <a:pt x="1921" y="12274"/>
                      <a:pt x="2044" y="12046"/>
                    </a:cubicBezTo>
                    <a:cubicBezTo>
                      <a:pt x="2137" y="11874"/>
                      <a:pt x="2241" y="11716"/>
                      <a:pt x="2357" y="11566"/>
                    </a:cubicBezTo>
                    <a:cubicBezTo>
                      <a:pt x="2508" y="11368"/>
                      <a:pt x="2552" y="11076"/>
                      <a:pt x="2467" y="10827"/>
                    </a:cubicBezTo>
                    <a:lnTo>
                      <a:pt x="2181" y="10014"/>
                    </a:lnTo>
                    <a:cubicBezTo>
                      <a:pt x="2175" y="9991"/>
                      <a:pt x="2186" y="9960"/>
                      <a:pt x="2203" y="9947"/>
                    </a:cubicBezTo>
                    <a:lnTo>
                      <a:pt x="2808" y="9534"/>
                    </a:lnTo>
                    <a:cubicBezTo>
                      <a:pt x="2825" y="9522"/>
                      <a:pt x="2847" y="9528"/>
                      <a:pt x="2858" y="9547"/>
                    </a:cubicBezTo>
                    <a:lnTo>
                      <a:pt x="3292" y="10260"/>
                    </a:lnTo>
                    <a:cubicBezTo>
                      <a:pt x="3423" y="10480"/>
                      <a:pt x="3645" y="10587"/>
                      <a:pt x="3864" y="10533"/>
                    </a:cubicBezTo>
                    <a:cubicBezTo>
                      <a:pt x="4030" y="10491"/>
                      <a:pt x="4200" y="10466"/>
                      <a:pt x="4370" y="10460"/>
                    </a:cubicBezTo>
                    <a:cubicBezTo>
                      <a:pt x="4593" y="10449"/>
                      <a:pt x="4787" y="10277"/>
                      <a:pt x="4870" y="10027"/>
                    </a:cubicBezTo>
                    <a:lnTo>
                      <a:pt x="5151" y="9214"/>
                    </a:lnTo>
                    <a:cubicBezTo>
                      <a:pt x="5158" y="9193"/>
                      <a:pt x="5176" y="9176"/>
                      <a:pt x="5195" y="9181"/>
                    </a:cubicBezTo>
                    <a:close/>
                    <a:moveTo>
                      <a:pt x="15264" y="10627"/>
                    </a:moveTo>
                    <a:cubicBezTo>
                      <a:pt x="13721" y="10627"/>
                      <a:pt x="12470" y="12142"/>
                      <a:pt x="12470" y="14012"/>
                    </a:cubicBezTo>
                    <a:cubicBezTo>
                      <a:pt x="12470" y="15882"/>
                      <a:pt x="13721" y="17398"/>
                      <a:pt x="15264" y="17398"/>
                    </a:cubicBezTo>
                    <a:cubicBezTo>
                      <a:pt x="16807" y="17398"/>
                      <a:pt x="18057" y="15882"/>
                      <a:pt x="18057" y="14012"/>
                    </a:cubicBezTo>
                    <a:cubicBezTo>
                      <a:pt x="18057" y="12142"/>
                      <a:pt x="16807" y="10627"/>
                      <a:pt x="15264" y="10627"/>
                    </a:cubicBezTo>
                    <a:close/>
                    <a:moveTo>
                      <a:pt x="15264" y="11273"/>
                    </a:moveTo>
                    <a:cubicBezTo>
                      <a:pt x="16513" y="11273"/>
                      <a:pt x="17529" y="12499"/>
                      <a:pt x="17529" y="14012"/>
                    </a:cubicBezTo>
                    <a:cubicBezTo>
                      <a:pt x="17529" y="15526"/>
                      <a:pt x="16513" y="16751"/>
                      <a:pt x="15264" y="16751"/>
                    </a:cubicBezTo>
                    <a:cubicBezTo>
                      <a:pt x="14015" y="16751"/>
                      <a:pt x="13004" y="15526"/>
                      <a:pt x="13004" y="14012"/>
                    </a:cubicBezTo>
                    <a:cubicBezTo>
                      <a:pt x="13004" y="12499"/>
                      <a:pt x="14015" y="11273"/>
                      <a:pt x="15264" y="11273"/>
                    </a:cubicBezTo>
                    <a:close/>
                    <a:moveTo>
                      <a:pt x="4546" y="11466"/>
                    </a:moveTo>
                    <a:cubicBezTo>
                      <a:pt x="4020" y="11439"/>
                      <a:pt x="3485" y="11654"/>
                      <a:pt x="3067" y="12120"/>
                    </a:cubicBezTo>
                    <a:cubicBezTo>
                      <a:pt x="3064" y="12123"/>
                      <a:pt x="3064" y="12129"/>
                      <a:pt x="3061" y="12133"/>
                    </a:cubicBezTo>
                    <a:cubicBezTo>
                      <a:pt x="2225" y="13069"/>
                      <a:pt x="2168" y="14651"/>
                      <a:pt x="2940" y="15665"/>
                    </a:cubicBezTo>
                    <a:cubicBezTo>
                      <a:pt x="3713" y="16679"/>
                      <a:pt x="5018" y="16741"/>
                      <a:pt x="5855" y="15805"/>
                    </a:cubicBezTo>
                    <a:cubicBezTo>
                      <a:pt x="6691" y="14869"/>
                      <a:pt x="6743" y="13287"/>
                      <a:pt x="5970" y="12273"/>
                    </a:cubicBezTo>
                    <a:cubicBezTo>
                      <a:pt x="5586" y="11766"/>
                      <a:pt x="5072" y="11494"/>
                      <a:pt x="4546" y="11466"/>
                    </a:cubicBezTo>
                    <a:close/>
                    <a:moveTo>
                      <a:pt x="4513" y="12100"/>
                    </a:moveTo>
                    <a:cubicBezTo>
                      <a:pt x="4904" y="12113"/>
                      <a:pt x="5290" y="12307"/>
                      <a:pt x="5580" y="12679"/>
                    </a:cubicBezTo>
                    <a:cubicBezTo>
                      <a:pt x="6160" y="13424"/>
                      <a:pt x="6134" y="14602"/>
                      <a:pt x="5519" y="15305"/>
                    </a:cubicBezTo>
                    <a:cubicBezTo>
                      <a:pt x="5512" y="15314"/>
                      <a:pt x="5505" y="15323"/>
                      <a:pt x="5497" y="15332"/>
                    </a:cubicBezTo>
                    <a:cubicBezTo>
                      <a:pt x="4883" y="16034"/>
                      <a:pt x="3916" y="15996"/>
                      <a:pt x="3336" y="15252"/>
                    </a:cubicBezTo>
                    <a:cubicBezTo>
                      <a:pt x="2756" y="14507"/>
                      <a:pt x="2782" y="13335"/>
                      <a:pt x="3397" y="12633"/>
                    </a:cubicBezTo>
                    <a:cubicBezTo>
                      <a:pt x="3404" y="12624"/>
                      <a:pt x="3411" y="12615"/>
                      <a:pt x="3419" y="12606"/>
                    </a:cubicBezTo>
                    <a:cubicBezTo>
                      <a:pt x="3726" y="12255"/>
                      <a:pt x="4122" y="12086"/>
                      <a:pt x="4513" y="121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rgbClr val="FFFFFF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A414ABFE-0762-0299-CB8C-B79332DF7811}"/>
                  </a:ext>
                </a:extLst>
              </p:cNvPr>
              <p:cNvGrpSpPr/>
              <p:nvPr/>
            </p:nvGrpSpPr>
            <p:grpSpPr>
              <a:xfrm>
                <a:off x="8063763" y="5134046"/>
                <a:ext cx="618056" cy="618056"/>
                <a:chOff x="12264617" y="3634638"/>
                <a:chExt cx="533927" cy="533927"/>
              </a:xfrm>
            </p:grpSpPr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283634DC-802A-626F-660C-DA2665748466}"/>
                    </a:ext>
                  </a:extLst>
                </p:cNvPr>
                <p:cNvSpPr/>
                <p:nvPr/>
              </p:nvSpPr>
              <p:spPr>
                <a:xfrm>
                  <a:off x="12264617" y="3634638"/>
                  <a:ext cx="533927" cy="533927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-Regular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L-Shape 24">
                  <a:extLst>
                    <a:ext uri="{FF2B5EF4-FFF2-40B4-BE49-F238E27FC236}">
                      <a16:creationId xmlns:a16="http://schemas.microsoft.com/office/drawing/2014/main" id="{C5E3C897-E486-33E9-8624-0A44C04A0BAC}"/>
                    </a:ext>
                  </a:extLst>
                </p:cNvPr>
                <p:cNvSpPr/>
                <p:nvPr/>
              </p:nvSpPr>
              <p:spPr>
                <a:xfrm rot="8100000" flipH="1">
                  <a:off x="12477376" y="3812738"/>
                  <a:ext cx="184909" cy="184909"/>
                </a:xfrm>
                <a:prstGeom prst="corner">
                  <a:avLst>
                    <a:gd name="adj1" fmla="val 17364"/>
                    <a:gd name="adj2" fmla="val 17364"/>
                  </a:avLst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endParaRPr>
                </a:p>
              </p:txBody>
            </p:sp>
          </p:grp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288489F0-5D2B-75C8-54F4-EF166D3DADD6}"/>
                  </a:ext>
                </a:extLst>
              </p:cNvPr>
              <p:cNvSpPr/>
              <p:nvPr/>
            </p:nvSpPr>
            <p:spPr>
              <a:xfrm>
                <a:off x="7176101" y="2235420"/>
                <a:ext cx="2392804" cy="2392804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84452E47-811E-2F10-9E38-404C5E3B7C84}"/>
                  </a:ext>
                </a:extLst>
              </p:cNvPr>
              <p:cNvSpPr/>
              <p:nvPr/>
            </p:nvSpPr>
            <p:spPr>
              <a:xfrm>
                <a:off x="7380324" y="2452092"/>
                <a:ext cx="1963083" cy="196308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5576163C-4792-717E-59EB-71DFFC59A4D8}"/>
                  </a:ext>
                </a:extLst>
              </p:cNvPr>
              <p:cNvSpPr txBox="1"/>
              <p:nvPr/>
            </p:nvSpPr>
            <p:spPr>
              <a:xfrm>
                <a:off x="7178686" y="3541622"/>
                <a:ext cx="2387634" cy="4631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120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lignment</a:t>
                </a: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B33AC97C-6739-24EA-F0EE-BE1AE5EBC112}"/>
                  </a:ext>
                </a:extLst>
              </p:cNvPr>
              <p:cNvSpPr/>
              <p:nvPr/>
            </p:nvSpPr>
            <p:spPr>
              <a:xfrm>
                <a:off x="8007264" y="2825646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pic>
            <p:nvPicPr>
              <p:cNvPr id="58" name="Graphic 57" descr="Triangle Ruler outline">
                <a:extLst>
                  <a:ext uri="{FF2B5EF4-FFF2-40B4-BE49-F238E27FC236}">
                    <a16:creationId xmlns:a16="http://schemas.microsoft.com/office/drawing/2014/main" id="{0D9A9B64-0F4F-6FAC-03FE-919E0EA1DA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180948" y="2933689"/>
                <a:ext cx="451893" cy="451893"/>
              </a:xfrm>
              <a:prstGeom prst="rect">
                <a:avLst/>
              </a:prstGeom>
            </p:spPr>
          </p:pic>
        </p:grpSp>
        <p:pic>
          <p:nvPicPr>
            <p:cNvPr id="66" name="Picture Placeholder 11">
              <a:extLst>
                <a:ext uri="{FF2B5EF4-FFF2-40B4-BE49-F238E27FC236}">
                  <a16:creationId xmlns:a16="http://schemas.microsoft.com/office/drawing/2014/main" id="{16B82A4C-AAD5-BF61-C542-7BC7C154C9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 amt="55000"/>
            </a:blip>
            <a:srcRect l="42126" r="27"/>
            <a:stretch/>
          </p:blipFill>
          <p:spPr>
            <a:xfrm>
              <a:off x="5135467" y="0"/>
              <a:ext cx="7056533" cy="6858000"/>
            </a:xfrm>
            <a:prstGeom prst="rect">
              <a:avLst/>
            </a:prstGeom>
            <a:noFill/>
          </p:spPr>
        </p:pic>
      </p:grp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DE28C36-34EB-83FA-F481-3E1DC1F0B55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634D7D8-E204-DE55-DE3E-C5EEB8F51A57}"/>
              </a:ext>
            </a:extLst>
          </p:cNvPr>
          <p:cNvGrpSpPr/>
          <p:nvPr/>
        </p:nvGrpSpPr>
        <p:grpSpPr>
          <a:xfrm>
            <a:off x="643854" y="2414503"/>
            <a:ext cx="4397561" cy="2028994"/>
            <a:chOff x="643854" y="2056730"/>
            <a:chExt cx="4397561" cy="2028994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A1F09CD-4C44-3F3D-44B9-1DB248A9F145}"/>
                </a:ext>
              </a:extLst>
            </p:cNvPr>
            <p:cNvGrpSpPr/>
            <p:nvPr/>
          </p:nvGrpSpPr>
          <p:grpSpPr>
            <a:xfrm>
              <a:off x="643854" y="2056730"/>
              <a:ext cx="4397561" cy="2028994"/>
              <a:chOff x="643854" y="2015235"/>
              <a:chExt cx="4397561" cy="2028994"/>
            </a:xfrm>
          </p:grpSpPr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9EB95E92-2E29-C55E-3483-94E6925511DA}"/>
                  </a:ext>
                </a:extLst>
              </p:cNvPr>
              <p:cNvSpPr txBox="1"/>
              <p:nvPr/>
            </p:nvSpPr>
            <p:spPr>
              <a:xfrm>
                <a:off x="692283" y="3213232"/>
                <a:ext cx="4285508" cy="830997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Set targets according to updated KPI framework and a measurement plan </a:t>
                </a:r>
                <a:br>
                  <a:rPr kumimoji="0" lang="en-GB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</a:br>
                <a:r>
                  <a:rPr kumimoji="0" lang="en-GB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Light" pitchFamily="2" charset="77"/>
                    <a:ea typeface="+mn-ea"/>
                    <a:cs typeface="Poppins Light" pitchFamily="2" charset="77"/>
                  </a:rPr>
                  <a:t>to measure the right outcomes.</a:t>
                </a:r>
              </a:p>
            </p:txBody>
          </p:sp>
          <p:cxnSp>
            <p:nvCxnSpPr>
              <p:cNvPr id="6" name="Straight Connector 5">
                <a:extLst>
                  <a:ext uri="{FF2B5EF4-FFF2-40B4-BE49-F238E27FC236}">
                    <a16:creationId xmlns:a16="http://schemas.microsoft.com/office/drawing/2014/main" id="{14A38A3E-D8F8-B41D-87A0-045CA93DB798}"/>
                  </a:ext>
                </a:extLst>
              </p:cNvPr>
              <p:cNvCxnSpPr/>
              <p:nvPr/>
            </p:nvCxnSpPr>
            <p:spPr>
              <a:xfrm>
                <a:off x="776541" y="2987486"/>
                <a:ext cx="4264874" cy="0"/>
              </a:xfrm>
              <a:prstGeom prst="line">
                <a:avLst/>
              </a:prstGeom>
              <a:ln w="12700">
                <a:gradFill flip="none" rotWithShape="1">
                  <a:gsLst>
                    <a:gs pos="0">
                      <a:schemeClr val="accent2"/>
                    </a:gs>
                    <a:gs pos="99000">
                      <a:schemeClr val="tx2"/>
                    </a:gs>
                  </a:gsLst>
                  <a:lin ang="0" scaled="1"/>
                  <a:tileRect/>
                </a:gra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48970D3F-F51E-0E8A-E1A8-DF586CFBB78D}"/>
                  </a:ext>
                </a:extLst>
              </p:cNvPr>
              <p:cNvSpPr txBox="1"/>
              <p:nvPr/>
            </p:nvSpPr>
            <p:spPr>
              <a:xfrm>
                <a:off x="643854" y="2015235"/>
                <a:ext cx="4285508" cy="923330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5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Thin" pitchFamily="2" charset="77"/>
                    <a:ea typeface="+mn-ea"/>
                    <a:cs typeface="Poppins Thin" pitchFamily="2" charset="77"/>
                  </a:rPr>
                  <a:t>05 -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FDC1B048-AC99-8492-B011-7DE3281CEC57}"/>
                </a:ext>
              </a:extLst>
            </p:cNvPr>
            <p:cNvGrpSpPr/>
            <p:nvPr/>
          </p:nvGrpSpPr>
          <p:grpSpPr>
            <a:xfrm>
              <a:off x="2119748" y="2153058"/>
              <a:ext cx="2763821" cy="598067"/>
              <a:chOff x="1940295" y="2112018"/>
              <a:chExt cx="2763821" cy="598067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9815F8F1-D5E3-F328-44A2-0E5EFD87C078}"/>
                  </a:ext>
                </a:extLst>
              </p:cNvPr>
              <p:cNvSpPr/>
              <p:nvPr/>
            </p:nvSpPr>
            <p:spPr>
              <a:xfrm>
                <a:off x="1940295" y="2112018"/>
                <a:ext cx="598067" cy="598067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109399FD-F17A-50ED-ADB6-C05B139A9B2E}"/>
                  </a:ext>
                </a:extLst>
              </p:cNvPr>
              <p:cNvSpPr txBox="1"/>
              <p:nvPr/>
            </p:nvSpPr>
            <p:spPr>
              <a:xfrm>
                <a:off x="2568595" y="2149441"/>
                <a:ext cx="2135521" cy="523220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8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3353D0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tribución</a:t>
                </a:r>
                <a:endParaRPr kumimoji="0" lang="en-GB" sz="2800" b="1" i="0" u="none" strike="noStrike" kern="0" cap="none" spc="0" normalizeH="0" baseline="0" noProof="0">
                  <a:ln>
                    <a:noFill/>
                  </a:ln>
                  <a:solidFill>
                    <a:srgbClr val="3353D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395428A-699F-31A8-4F8A-B9A3806760EA}"/>
              </a:ext>
            </a:extLst>
          </p:cNvPr>
          <p:cNvCxnSpPr>
            <a:cxnSpLocks/>
          </p:cNvCxnSpPr>
          <p:nvPr/>
        </p:nvCxnSpPr>
        <p:spPr>
          <a:xfrm>
            <a:off x="305435" y="6227547"/>
            <a:ext cx="6513054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Freeform 64">
            <a:extLst>
              <a:ext uri="{FF2B5EF4-FFF2-40B4-BE49-F238E27FC236}">
                <a16:creationId xmlns:a16="http://schemas.microsoft.com/office/drawing/2014/main" id="{F6B2E307-7DF6-C386-B9D3-29B1145FAE6A}"/>
              </a:ext>
            </a:extLst>
          </p:cNvPr>
          <p:cNvSpPr/>
          <p:nvPr/>
        </p:nvSpPr>
        <p:spPr>
          <a:xfrm>
            <a:off x="5339276" y="3489417"/>
            <a:ext cx="2971652" cy="2979270"/>
          </a:xfrm>
          <a:custGeom>
            <a:avLst/>
            <a:gdLst>
              <a:gd name="connsiteX0" fmla="*/ 276771 w 2971652"/>
              <a:gd name="connsiteY0" fmla="*/ 0 h 2979270"/>
              <a:gd name="connsiteX1" fmla="*/ 1211790 w 2971652"/>
              <a:gd name="connsiteY1" fmla="*/ 0 h 2979270"/>
              <a:gd name="connsiteX2" fmla="*/ 1211790 w 2971652"/>
              <a:gd name="connsiteY2" fmla="*/ 1 h 2979270"/>
              <a:gd name="connsiteX3" fmla="*/ 1428847 w 2971652"/>
              <a:gd name="connsiteY3" fmla="*/ 1 h 2979270"/>
              <a:gd name="connsiteX4" fmla="*/ 1428847 w 2971652"/>
              <a:gd name="connsiteY4" fmla="*/ 5 h 2979270"/>
              <a:gd name="connsiteX5" fmla="*/ 1734979 w 2971652"/>
              <a:gd name="connsiteY5" fmla="*/ 5 h 2979270"/>
              <a:gd name="connsiteX6" fmla="*/ 1738958 w 2971652"/>
              <a:gd name="connsiteY6" fmla="*/ 78808 h 2979270"/>
              <a:gd name="connsiteX7" fmla="*/ 2898769 w 2971652"/>
              <a:gd name="connsiteY7" fmla="*/ 1238620 h 2979270"/>
              <a:gd name="connsiteX8" fmla="*/ 2970307 w 2971652"/>
              <a:gd name="connsiteY8" fmla="*/ 1242233 h 2979270"/>
              <a:gd name="connsiteX9" fmla="*/ 2970307 w 2971652"/>
              <a:gd name="connsiteY9" fmla="*/ 1261374 h 2979270"/>
              <a:gd name="connsiteX10" fmla="*/ 2971652 w 2971652"/>
              <a:gd name="connsiteY10" fmla="*/ 1261374 h 2979270"/>
              <a:gd name="connsiteX11" fmla="*/ 2971652 w 2971652"/>
              <a:gd name="connsiteY11" fmla="*/ 1652178 h 2979270"/>
              <a:gd name="connsiteX12" fmla="*/ 2917738 w 2971652"/>
              <a:gd name="connsiteY12" fmla="*/ 1668914 h 2979270"/>
              <a:gd name="connsiteX13" fmla="*/ 2728997 w 2971652"/>
              <a:gd name="connsiteY13" fmla="*/ 1953657 h 2979270"/>
              <a:gd name="connsiteX14" fmla="*/ 2917738 w 2971652"/>
              <a:gd name="connsiteY14" fmla="*/ 2238400 h 2979270"/>
              <a:gd name="connsiteX15" fmla="*/ 2971652 w 2971652"/>
              <a:gd name="connsiteY15" fmla="*/ 2255136 h 2979270"/>
              <a:gd name="connsiteX16" fmla="*/ 2971652 w 2971652"/>
              <a:gd name="connsiteY16" fmla="*/ 2979270 h 2979270"/>
              <a:gd name="connsiteX17" fmla="*/ 2671118 w 2971652"/>
              <a:gd name="connsiteY17" fmla="*/ 2964072 h 2979270"/>
              <a:gd name="connsiteX18" fmla="*/ 0 w 2971652"/>
              <a:gd name="connsiteY18" fmla="*/ 1 h 2979270"/>
              <a:gd name="connsiteX19" fmla="*/ 276771 w 2971652"/>
              <a:gd name="connsiteY19" fmla="*/ 1 h 2979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71652" h="2979270">
                <a:moveTo>
                  <a:pt x="276771" y="0"/>
                </a:moveTo>
                <a:lnTo>
                  <a:pt x="1211790" y="0"/>
                </a:lnTo>
                <a:lnTo>
                  <a:pt x="1211790" y="1"/>
                </a:lnTo>
                <a:lnTo>
                  <a:pt x="1428847" y="1"/>
                </a:lnTo>
                <a:lnTo>
                  <a:pt x="1428847" y="5"/>
                </a:lnTo>
                <a:lnTo>
                  <a:pt x="1734979" y="5"/>
                </a:lnTo>
                <a:lnTo>
                  <a:pt x="1738958" y="78808"/>
                </a:lnTo>
                <a:cubicBezTo>
                  <a:pt x="1801063" y="690344"/>
                  <a:pt x="2287233" y="1176515"/>
                  <a:pt x="2898769" y="1238620"/>
                </a:cubicBezTo>
                <a:lnTo>
                  <a:pt x="2970307" y="1242233"/>
                </a:lnTo>
                <a:lnTo>
                  <a:pt x="2970307" y="1261374"/>
                </a:lnTo>
                <a:lnTo>
                  <a:pt x="2971652" y="1261374"/>
                </a:lnTo>
                <a:lnTo>
                  <a:pt x="2971652" y="1652178"/>
                </a:lnTo>
                <a:lnTo>
                  <a:pt x="2917738" y="1668914"/>
                </a:lnTo>
                <a:cubicBezTo>
                  <a:pt x="2806823" y="1715827"/>
                  <a:pt x="2728997" y="1825654"/>
                  <a:pt x="2728997" y="1953657"/>
                </a:cubicBezTo>
                <a:cubicBezTo>
                  <a:pt x="2728997" y="2081660"/>
                  <a:pt x="2806823" y="2191487"/>
                  <a:pt x="2917738" y="2238400"/>
                </a:cubicBezTo>
                <a:lnTo>
                  <a:pt x="2971652" y="2255136"/>
                </a:lnTo>
                <a:lnTo>
                  <a:pt x="2971652" y="2979270"/>
                </a:lnTo>
                <a:lnTo>
                  <a:pt x="2671118" y="2964072"/>
                </a:lnTo>
                <a:cubicBezTo>
                  <a:pt x="1170791" y="2811494"/>
                  <a:pt x="0" y="1542664"/>
                  <a:pt x="0" y="1"/>
                </a:cubicBezTo>
                <a:lnTo>
                  <a:pt x="276771" y="1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0DFE131-3DC1-FD85-358C-E3241ADB9B1B}"/>
              </a:ext>
            </a:extLst>
          </p:cNvPr>
          <p:cNvSpPr/>
          <p:nvPr/>
        </p:nvSpPr>
        <p:spPr>
          <a:xfrm rot="2812719">
            <a:off x="6014874" y="4390820"/>
            <a:ext cx="2182239" cy="583264"/>
          </a:xfrm>
          <a:prstGeom prst="rect">
            <a:avLst/>
          </a:prstGeom>
        </p:spPr>
        <p:txBody>
          <a:bodyPr wrap="none" anchor="ctr">
            <a:prstTxWarp prst="textArchDow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tribución</a:t>
            </a:r>
            <a:endParaRPr kumimoji="0" lang="en-GB" sz="2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69E4D06A-B70B-7677-DF07-DDB4D0A711C0}"/>
              </a:ext>
            </a:extLst>
          </p:cNvPr>
          <p:cNvSpPr/>
          <p:nvPr/>
        </p:nvSpPr>
        <p:spPr>
          <a:xfrm>
            <a:off x="5339276" y="3489418"/>
            <a:ext cx="2971652" cy="2979269"/>
          </a:xfrm>
          <a:custGeom>
            <a:avLst/>
            <a:gdLst>
              <a:gd name="connsiteX0" fmla="*/ 0 w 2567154"/>
              <a:gd name="connsiteY0" fmla="*/ 0 h 2573734"/>
              <a:gd name="connsiteX1" fmla="*/ 228323 w 2567154"/>
              <a:gd name="connsiteY1" fmla="*/ 0 h 2573734"/>
              <a:gd name="connsiteX2" fmla="*/ 237847 w 2567154"/>
              <a:gd name="connsiteY2" fmla="*/ 188596 h 2573734"/>
              <a:gd name="connsiteX3" fmla="*/ 2367553 w 2567154"/>
              <a:gd name="connsiteY3" fmla="*/ 2318302 h 2573734"/>
              <a:gd name="connsiteX4" fmla="*/ 2567154 w 2567154"/>
              <a:gd name="connsiteY4" fmla="*/ 2328381 h 2573734"/>
              <a:gd name="connsiteX5" fmla="*/ 2567154 w 2567154"/>
              <a:gd name="connsiteY5" fmla="*/ 2573734 h 2573734"/>
              <a:gd name="connsiteX6" fmla="*/ 2307528 w 2567154"/>
              <a:gd name="connsiteY6" fmla="*/ 2560605 h 2573734"/>
              <a:gd name="connsiteX7" fmla="*/ 0 w 2567154"/>
              <a:gd name="connsiteY7" fmla="*/ 0 h 2573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67154" h="2573734">
                <a:moveTo>
                  <a:pt x="0" y="0"/>
                </a:moveTo>
                <a:lnTo>
                  <a:pt x="228323" y="0"/>
                </a:lnTo>
                <a:lnTo>
                  <a:pt x="237847" y="188596"/>
                </a:lnTo>
                <a:cubicBezTo>
                  <a:pt x="351887" y="1311530"/>
                  <a:pt x="1244619" y="2204262"/>
                  <a:pt x="2367553" y="2318302"/>
                </a:cubicBezTo>
                <a:lnTo>
                  <a:pt x="2567154" y="2328381"/>
                </a:lnTo>
                <a:lnTo>
                  <a:pt x="2567154" y="2573734"/>
                </a:lnTo>
                <a:lnTo>
                  <a:pt x="2307528" y="2560605"/>
                </a:lnTo>
                <a:cubicBezTo>
                  <a:pt x="1011424" y="2428795"/>
                  <a:pt x="0" y="1332677"/>
                  <a:pt x="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6226E815-6FF0-D255-76F0-E14E609EFC7B}"/>
              </a:ext>
            </a:extLst>
          </p:cNvPr>
          <p:cNvSpPr/>
          <p:nvPr/>
        </p:nvSpPr>
        <p:spPr>
          <a:xfrm>
            <a:off x="5981628" y="5179343"/>
            <a:ext cx="719047" cy="71904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62" name="Google Shape;1289;p42">
            <a:extLst>
              <a:ext uri="{FF2B5EF4-FFF2-40B4-BE49-F238E27FC236}">
                <a16:creationId xmlns:a16="http://schemas.microsoft.com/office/drawing/2014/main" id="{98163C47-3F45-0F45-E1EC-8A1D830C473F}"/>
              </a:ext>
            </a:extLst>
          </p:cNvPr>
          <p:cNvSpPr>
            <a:spLocks noChangeAspect="1"/>
          </p:cNvSpPr>
          <p:nvPr/>
        </p:nvSpPr>
        <p:spPr>
          <a:xfrm>
            <a:off x="6131412" y="5325130"/>
            <a:ext cx="395506" cy="3953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29" h="21561" extrusionOk="0">
                <a:moveTo>
                  <a:pt x="2333" y="17662"/>
                </a:moveTo>
                <a:cubicBezTo>
                  <a:pt x="2051" y="17674"/>
                  <a:pt x="1776" y="17573"/>
                  <a:pt x="1568" y="17383"/>
                </a:cubicBezTo>
                <a:cubicBezTo>
                  <a:pt x="895" y="16708"/>
                  <a:pt x="698" y="15663"/>
                  <a:pt x="639" y="15099"/>
                </a:cubicBezTo>
                <a:cubicBezTo>
                  <a:pt x="631" y="15013"/>
                  <a:pt x="693" y="14937"/>
                  <a:pt x="778" y="14929"/>
                </a:cubicBezTo>
                <a:cubicBezTo>
                  <a:pt x="783" y="14928"/>
                  <a:pt x="789" y="14928"/>
                  <a:pt x="794" y="14928"/>
                </a:cubicBezTo>
                <a:lnTo>
                  <a:pt x="811" y="14928"/>
                </a:lnTo>
                <a:cubicBezTo>
                  <a:pt x="1367" y="14985"/>
                  <a:pt x="2393" y="15178"/>
                  <a:pt x="3066" y="15832"/>
                </a:cubicBezTo>
                <a:lnTo>
                  <a:pt x="3080" y="15849"/>
                </a:lnTo>
                <a:cubicBezTo>
                  <a:pt x="3397" y="16195"/>
                  <a:pt x="3456" y="16704"/>
                  <a:pt x="3227" y="17113"/>
                </a:cubicBezTo>
                <a:cubicBezTo>
                  <a:pt x="3017" y="16822"/>
                  <a:pt x="2768" y="16561"/>
                  <a:pt x="2488" y="16338"/>
                </a:cubicBezTo>
                <a:cubicBezTo>
                  <a:pt x="2356" y="16228"/>
                  <a:pt x="2161" y="16246"/>
                  <a:pt x="2051" y="16377"/>
                </a:cubicBezTo>
                <a:cubicBezTo>
                  <a:pt x="1942" y="16509"/>
                  <a:pt x="1960" y="16705"/>
                  <a:pt x="2091" y="16814"/>
                </a:cubicBezTo>
                <a:cubicBezTo>
                  <a:pt x="2101" y="16822"/>
                  <a:pt x="2111" y="16830"/>
                  <a:pt x="2122" y="16837"/>
                </a:cubicBezTo>
                <a:cubicBezTo>
                  <a:pt x="2370" y="17043"/>
                  <a:pt x="2590" y="17281"/>
                  <a:pt x="2775" y="17544"/>
                </a:cubicBezTo>
                <a:cubicBezTo>
                  <a:pt x="2638" y="17615"/>
                  <a:pt x="2487" y="17656"/>
                  <a:pt x="2333" y="17662"/>
                </a:cubicBezTo>
                <a:cubicBezTo>
                  <a:pt x="2333" y="17662"/>
                  <a:pt x="2333" y="17662"/>
                  <a:pt x="2333" y="17662"/>
                </a:cubicBezTo>
                <a:close/>
                <a:moveTo>
                  <a:pt x="5294" y="15849"/>
                </a:moveTo>
                <a:lnTo>
                  <a:pt x="5308" y="15832"/>
                </a:lnTo>
                <a:cubicBezTo>
                  <a:pt x="5981" y="15178"/>
                  <a:pt x="7011" y="14985"/>
                  <a:pt x="7563" y="14928"/>
                </a:cubicBezTo>
                <a:cubicBezTo>
                  <a:pt x="7648" y="14919"/>
                  <a:pt x="7724" y="14981"/>
                  <a:pt x="7733" y="15066"/>
                </a:cubicBezTo>
                <a:cubicBezTo>
                  <a:pt x="7735" y="15077"/>
                  <a:pt x="7735" y="15088"/>
                  <a:pt x="7733" y="15099"/>
                </a:cubicBezTo>
                <a:cubicBezTo>
                  <a:pt x="7676" y="15663"/>
                  <a:pt x="7480" y="16708"/>
                  <a:pt x="6816" y="17375"/>
                </a:cubicBezTo>
                <a:cubicBezTo>
                  <a:pt x="6485" y="17683"/>
                  <a:pt x="5997" y="17751"/>
                  <a:pt x="5596" y="17544"/>
                </a:cubicBezTo>
                <a:cubicBezTo>
                  <a:pt x="5781" y="17279"/>
                  <a:pt x="6002" y="17042"/>
                  <a:pt x="6254" y="16839"/>
                </a:cubicBezTo>
                <a:cubicBezTo>
                  <a:pt x="6388" y="16733"/>
                  <a:pt x="6412" y="16538"/>
                  <a:pt x="6306" y="16403"/>
                </a:cubicBezTo>
                <a:cubicBezTo>
                  <a:pt x="6205" y="16274"/>
                  <a:pt x="6021" y="16246"/>
                  <a:pt x="5887" y="16339"/>
                </a:cubicBezTo>
                <a:cubicBezTo>
                  <a:pt x="5606" y="16563"/>
                  <a:pt x="5357" y="16824"/>
                  <a:pt x="5147" y="17115"/>
                </a:cubicBezTo>
                <a:cubicBezTo>
                  <a:pt x="4918" y="16705"/>
                  <a:pt x="4977" y="16195"/>
                  <a:pt x="5294" y="15849"/>
                </a:cubicBezTo>
                <a:cubicBezTo>
                  <a:pt x="5294" y="15849"/>
                  <a:pt x="5294" y="15849"/>
                  <a:pt x="5294" y="15849"/>
                </a:cubicBezTo>
                <a:close/>
                <a:moveTo>
                  <a:pt x="8153" y="10232"/>
                </a:moveTo>
                <a:cubicBezTo>
                  <a:pt x="7480" y="9557"/>
                  <a:pt x="7283" y="8512"/>
                  <a:pt x="7224" y="7948"/>
                </a:cubicBezTo>
                <a:cubicBezTo>
                  <a:pt x="7216" y="7862"/>
                  <a:pt x="7278" y="7786"/>
                  <a:pt x="7363" y="7778"/>
                </a:cubicBezTo>
                <a:cubicBezTo>
                  <a:pt x="7368" y="7777"/>
                  <a:pt x="7374" y="7777"/>
                  <a:pt x="7379" y="7777"/>
                </a:cubicBezTo>
                <a:lnTo>
                  <a:pt x="7396" y="7777"/>
                </a:lnTo>
                <a:cubicBezTo>
                  <a:pt x="7952" y="7834"/>
                  <a:pt x="8978" y="8027"/>
                  <a:pt x="9651" y="8681"/>
                </a:cubicBezTo>
                <a:cubicBezTo>
                  <a:pt x="9656" y="8688"/>
                  <a:pt x="9661" y="8693"/>
                  <a:pt x="9667" y="8698"/>
                </a:cubicBezTo>
                <a:cubicBezTo>
                  <a:pt x="9982" y="9044"/>
                  <a:pt x="10041" y="9554"/>
                  <a:pt x="9812" y="9962"/>
                </a:cubicBezTo>
                <a:cubicBezTo>
                  <a:pt x="9602" y="9672"/>
                  <a:pt x="9354" y="9411"/>
                  <a:pt x="9074" y="9187"/>
                </a:cubicBezTo>
                <a:cubicBezTo>
                  <a:pt x="8936" y="9085"/>
                  <a:pt x="8742" y="9114"/>
                  <a:pt x="8641" y="9252"/>
                </a:cubicBezTo>
                <a:cubicBezTo>
                  <a:pt x="8539" y="9390"/>
                  <a:pt x="8568" y="9584"/>
                  <a:pt x="8706" y="9686"/>
                </a:cubicBezTo>
                <a:cubicBezTo>
                  <a:pt x="8957" y="9890"/>
                  <a:pt x="9179" y="10127"/>
                  <a:pt x="9365" y="10392"/>
                </a:cubicBezTo>
                <a:cubicBezTo>
                  <a:pt x="8967" y="10597"/>
                  <a:pt x="8484" y="10533"/>
                  <a:pt x="8153" y="10232"/>
                </a:cubicBezTo>
                <a:cubicBezTo>
                  <a:pt x="8153" y="10232"/>
                  <a:pt x="8153" y="10232"/>
                  <a:pt x="8153" y="10232"/>
                </a:cubicBezTo>
                <a:close/>
                <a:moveTo>
                  <a:pt x="11879" y="8698"/>
                </a:moveTo>
                <a:lnTo>
                  <a:pt x="11893" y="8683"/>
                </a:lnTo>
                <a:cubicBezTo>
                  <a:pt x="12566" y="8027"/>
                  <a:pt x="13595" y="7834"/>
                  <a:pt x="14148" y="7777"/>
                </a:cubicBezTo>
                <a:cubicBezTo>
                  <a:pt x="14233" y="7768"/>
                  <a:pt x="14309" y="7830"/>
                  <a:pt x="14318" y="7915"/>
                </a:cubicBezTo>
                <a:cubicBezTo>
                  <a:pt x="14319" y="7926"/>
                  <a:pt x="14319" y="7937"/>
                  <a:pt x="14318" y="7948"/>
                </a:cubicBezTo>
                <a:cubicBezTo>
                  <a:pt x="14261" y="8512"/>
                  <a:pt x="14064" y="9557"/>
                  <a:pt x="13400" y="10224"/>
                </a:cubicBezTo>
                <a:cubicBezTo>
                  <a:pt x="13071" y="10530"/>
                  <a:pt x="12586" y="10598"/>
                  <a:pt x="12185" y="10395"/>
                </a:cubicBezTo>
                <a:cubicBezTo>
                  <a:pt x="12370" y="10131"/>
                  <a:pt x="12590" y="9893"/>
                  <a:pt x="12838" y="9688"/>
                </a:cubicBezTo>
                <a:cubicBezTo>
                  <a:pt x="12973" y="9582"/>
                  <a:pt x="12997" y="9387"/>
                  <a:pt x="12891" y="9252"/>
                </a:cubicBezTo>
                <a:cubicBezTo>
                  <a:pt x="12790" y="9123"/>
                  <a:pt x="12606" y="9095"/>
                  <a:pt x="12472" y="9188"/>
                </a:cubicBezTo>
                <a:cubicBezTo>
                  <a:pt x="12192" y="9413"/>
                  <a:pt x="11943" y="9673"/>
                  <a:pt x="11732" y="9964"/>
                </a:cubicBezTo>
                <a:cubicBezTo>
                  <a:pt x="11503" y="9554"/>
                  <a:pt x="11562" y="9044"/>
                  <a:pt x="11879" y="8698"/>
                </a:cubicBezTo>
                <a:cubicBezTo>
                  <a:pt x="11879" y="8698"/>
                  <a:pt x="11879" y="8698"/>
                  <a:pt x="11879" y="8698"/>
                </a:cubicBezTo>
                <a:close/>
                <a:moveTo>
                  <a:pt x="12291" y="14685"/>
                </a:moveTo>
                <a:lnTo>
                  <a:pt x="12301" y="14677"/>
                </a:lnTo>
                <a:cubicBezTo>
                  <a:pt x="12632" y="14517"/>
                  <a:pt x="13000" y="14454"/>
                  <a:pt x="13365" y="14495"/>
                </a:cubicBezTo>
                <a:cubicBezTo>
                  <a:pt x="13415" y="14498"/>
                  <a:pt x="13461" y="14527"/>
                  <a:pt x="13486" y="14571"/>
                </a:cubicBezTo>
                <a:cubicBezTo>
                  <a:pt x="13509" y="14616"/>
                  <a:pt x="13509" y="14670"/>
                  <a:pt x="13486" y="14716"/>
                </a:cubicBezTo>
                <a:cubicBezTo>
                  <a:pt x="13337" y="15056"/>
                  <a:pt x="13094" y="15348"/>
                  <a:pt x="12786" y="15555"/>
                </a:cubicBezTo>
                <a:cubicBezTo>
                  <a:pt x="12543" y="15688"/>
                  <a:pt x="12238" y="15599"/>
                  <a:pt x="12105" y="15356"/>
                </a:cubicBezTo>
                <a:cubicBezTo>
                  <a:pt x="11976" y="15120"/>
                  <a:pt x="12055" y="14824"/>
                  <a:pt x="12284" y="14685"/>
                </a:cubicBezTo>
                <a:cubicBezTo>
                  <a:pt x="12284" y="14685"/>
                  <a:pt x="12291" y="14685"/>
                  <a:pt x="12291" y="14685"/>
                </a:cubicBezTo>
                <a:close/>
                <a:moveTo>
                  <a:pt x="15715" y="18484"/>
                </a:moveTo>
                <a:cubicBezTo>
                  <a:pt x="15592" y="18523"/>
                  <a:pt x="15458" y="18512"/>
                  <a:pt x="15343" y="18455"/>
                </a:cubicBezTo>
                <a:cubicBezTo>
                  <a:pt x="15031" y="18246"/>
                  <a:pt x="14785" y="17952"/>
                  <a:pt x="14636" y="17608"/>
                </a:cubicBezTo>
                <a:cubicBezTo>
                  <a:pt x="14612" y="17563"/>
                  <a:pt x="14612" y="17509"/>
                  <a:pt x="14636" y="17464"/>
                </a:cubicBezTo>
                <a:cubicBezTo>
                  <a:pt x="14661" y="17420"/>
                  <a:pt x="14706" y="17392"/>
                  <a:pt x="14756" y="17388"/>
                </a:cubicBezTo>
                <a:cubicBezTo>
                  <a:pt x="14821" y="17388"/>
                  <a:pt x="14893" y="17380"/>
                  <a:pt x="14967" y="17380"/>
                </a:cubicBezTo>
                <a:cubicBezTo>
                  <a:pt x="15263" y="17371"/>
                  <a:pt x="15556" y="17436"/>
                  <a:pt x="15821" y="17569"/>
                </a:cubicBezTo>
                <a:lnTo>
                  <a:pt x="15832" y="17569"/>
                </a:lnTo>
                <a:cubicBezTo>
                  <a:pt x="16067" y="17717"/>
                  <a:pt x="16137" y="18027"/>
                  <a:pt x="15990" y="18262"/>
                </a:cubicBezTo>
                <a:cubicBezTo>
                  <a:pt x="15926" y="18364"/>
                  <a:pt x="15828" y="18439"/>
                  <a:pt x="15713" y="18475"/>
                </a:cubicBezTo>
                <a:cubicBezTo>
                  <a:pt x="15713" y="18475"/>
                  <a:pt x="15715" y="18484"/>
                  <a:pt x="15715" y="18484"/>
                </a:cubicBezTo>
                <a:close/>
                <a:moveTo>
                  <a:pt x="15502" y="3360"/>
                </a:moveTo>
                <a:cubicBezTo>
                  <a:pt x="15221" y="3373"/>
                  <a:pt x="14945" y="3273"/>
                  <a:pt x="14738" y="3081"/>
                </a:cubicBezTo>
                <a:cubicBezTo>
                  <a:pt x="14066" y="2406"/>
                  <a:pt x="13869" y="1361"/>
                  <a:pt x="13809" y="798"/>
                </a:cubicBezTo>
                <a:cubicBezTo>
                  <a:pt x="13803" y="751"/>
                  <a:pt x="13819" y="705"/>
                  <a:pt x="13852" y="671"/>
                </a:cubicBezTo>
                <a:cubicBezTo>
                  <a:pt x="13882" y="642"/>
                  <a:pt x="13921" y="626"/>
                  <a:pt x="13962" y="626"/>
                </a:cubicBezTo>
                <a:lnTo>
                  <a:pt x="13979" y="626"/>
                </a:lnTo>
                <a:cubicBezTo>
                  <a:pt x="14535" y="684"/>
                  <a:pt x="15560" y="877"/>
                  <a:pt x="16233" y="1530"/>
                </a:cubicBezTo>
                <a:lnTo>
                  <a:pt x="16249" y="1549"/>
                </a:lnTo>
                <a:cubicBezTo>
                  <a:pt x="16564" y="1894"/>
                  <a:pt x="16623" y="2403"/>
                  <a:pt x="16396" y="2811"/>
                </a:cubicBezTo>
                <a:cubicBezTo>
                  <a:pt x="16184" y="2521"/>
                  <a:pt x="15935" y="2261"/>
                  <a:pt x="15656" y="2036"/>
                </a:cubicBezTo>
                <a:cubicBezTo>
                  <a:pt x="15518" y="1934"/>
                  <a:pt x="15324" y="1964"/>
                  <a:pt x="15222" y="2103"/>
                </a:cubicBezTo>
                <a:cubicBezTo>
                  <a:pt x="15121" y="2241"/>
                  <a:pt x="15151" y="2435"/>
                  <a:pt x="15289" y="2537"/>
                </a:cubicBezTo>
                <a:cubicBezTo>
                  <a:pt x="15538" y="2741"/>
                  <a:pt x="15758" y="2979"/>
                  <a:pt x="15942" y="3244"/>
                </a:cubicBezTo>
                <a:cubicBezTo>
                  <a:pt x="15805" y="3313"/>
                  <a:pt x="15656" y="3353"/>
                  <a:pt x="15502" y="3360"/>
                </a:cubicBezTo>
                <a:close/>
                <a:moveTo>
                  <a:pt x="18464" y="1549"/>
                </a:moveTo>
                <a:lnTo>
                  <a:pt x="18478" y="1532"/>
                </a:lnTo>
                <a:cubicBezTo>
                  <a:pt x="19151" y="877"/>
                  <a:pt x="20180" y="684"/>
                  <a:pt x="20733" y="628"/>
                </a:cubicBezTo>
                <a:cubicBezTo>
                  <a:pt x="20818" y="619"/>
                  <a:pt x="20894" y="680"/>
                  <a:pt x="20903" y="766"/>
                </a:cubicBezTo>
                <a:cubicBezTo>
                  <a:pt x="20904" y="776"/>
                  <a:pt x="20904" y="787"/>
                  <a:pt x="20903" y="798"/>
                </a:cubicBezTo>
                <a:cubicBezTo>
                  <a:pt x="20846" y="1361"/>
                  <a:pt x="20649" y="2407"/>
                  <a:pt x="19985" y="3073"/>
                </a:cubicBezTo>
                <a:cubicBezTo>
                  <a:pt x="19776" y="3269"/>
                  <a:pt x="19497" y="3373"/>
                  <a:pt x="19211" y="3360"/>
                </a:cubicBezTo>
                <a:cubicBezTo>
                  <a:pt x="19057" y="3354"/>
                  <a:pt x="18906" y="3315"/>
                  <a:pt x="18769" y="3246"/>
                </a:cubicBezTo>
                <a:cubicBezTo>
                  <a:pt x="18954" y="2981"/>
                  <a:pt x="19174" y="2743"/>
                  <a:pt x="19422" y="2537"/>
                </a:cubicBezTo>
                <a:cubicBezTo>
                  <a:pt x="19563" y="2440"/>
                  <a:pt x="19598" y="2246"/>
                  <a:pt x="19501" y="2105"/>
                </a:cubicBezTo>
                <a:cubicBezTo>
                  <a:pt x="19404" y="1964"/>
                  <a:pt x="19211" y="1929"/>
                  <a:pt x="19070" y="2026"/>
                </a:cubicBezTo>
                <a:cubicBezTo>
                  <a:pt x="19065" y="2030"/>
                  <a:pt x="19060" y="2034"/>
                  <a:pt x="19055" y="2037"/>
                </a:cubicBezTo>
                <a:cubicBezTo>
                  <a:pt x="18775" y="2262"/>
                  <a:pt x="18527" y="2523"/>
                  <a:pt x="18315" y="2813"/>
                </a:cubicBezTo>
                <a:cubicBezTo>
                  <a:pt x="18087" y="2404"/>
                  <a:pt x="18147" y="1894"/>
                  <a:pt x="18464" y="1549"/>
                </a:cubicBezTo>
                <a:close/>
                <a:moveTo>
                  <a:pt x="19101" y="8984"/>
                </a:moveTo>
                <a:lnTo>
                  <a:pt x="19115" y="8973"/>
                </a:lnTo>
                <a:cubicBezTo>
                  <a:pt x="19620" y="8633"/>
                  <a:pt x="20275" y="8584"/>
                  <a:pt x="20739" y="8601"/>
                </a:cubicBezTo>
                <a:cubicBezTo>
                  <a:pt x="20787" y="8602"/>
                  <a:pt x="20832" y="8626"/>
                  <a:pt x="20860" y="8666"/>
                </a:cubicBezTo>
                <a:cubicBezTo>
                  <a:pt x="20887" y="8706"/>
                  <a:pt x="20895" y="8756"/>
                  <a:pt x="20880" y="8802"/>
                </a:cubicBezTo>
                <a:cubicBezTo>
                  <a:pt x="20736" y="9252"/>
                  <a:pt x="20457" y="9863"/>
                  <a:pt x="19960" y="10213"/>
                </a:cubicBezTo>
                <a:cubicBezTo>
                  <a:pt x="19794" y="10321"/>
                  <a:pt x="19591" y="10358"/>
                  <a:pt x="19397" y="10316"/>
                </a:cubicBezTo>
                <a:cubicBezTo>
                  <a:pt x="19328" y="10300"/>
                  <a:pt x="19262" y="10274"/>
                  <a:pt x="19200" y="10240"/>
                </a:cubicBezTo>
                <a:cubicBezTo>
                  <a:pt x="19364" y="10103"/>
                  <a:pt x="19540" y="9983"/>
                  <a:pt x="19727" y="9880"/>
                </a:cubicBezTo>
                <a:cubicBezTo>
                  <a:pt x="19882" y="9808"/>
                  <a:pt x="19949" y="9623"/>
                  <a:pt x="19876" y="9468"/>
                </a:cubicBezTo>
                <a:cubicBezTo>
                  <a:pt x="19804" y="9313"/>
                  <a:pt x="19620" y="9245"/>
                  <a:pt x="19465" y="9318"/>
                </a:cubicBezTo>
                <a:cubicBezTo>
                  <a:pt x="19459" y="9321"/>
                  <a:pt x="19454" y="9323"/>
                  <a:pt x="19448" y="9326"/>
                </a:cubicBezTo>
                <a:cubicBezTo>
                  <a:pt x="19228" y="9446"/>
                  <a:pt x="19021" y="9586"/>
                  <a:pt x="18829" y="9747"/>
                </a:cubicBezTo>
                <a:cubicBezTo>
                  <a:pt x="18765" y="9461"/>
                  <a:pt x="18871" y="9164"/>
                  <a:pt x="19101" y="8984"/>
                </a:cubicBezTo>
                <a:close/>
                <a:moveTo>
                  <a:pt x="21214" y="20942"/>
                </a:moveTo>
                <a:lnTo>
                  <a:pt x="17666" y="20942"/>
                </a:lnTo>
                <a:lnTo>
                  <a:pt x="17666" y="13551"/>
                </a:lnTo>
                <a:cubicBezTo>
                  <a:pt x="17647" y="12493"/>
                  <a:pt x="18030" y="11466"/>
                  <a:pt x="18738" y="10680"/>
                </a:cubicBezTo>
                <a:cubicBezTo>
                  <a:pt x="18894" y="10798"/>
                  <a:pt x="19074" y="10881"/>
                  <a:pt x="19265" y="10922"/>
                </a:cubicBezTo>
                <a:cubicBezTo>
                  <a:pt x="19361" y="10943"/>
                  <a:pt x="19459" y="10953"/>
                  <a:pt x="19556" y="10953"/>
                </a:cubicBezTo>
                <a:cubicBezTo>
                  <a:pt x="19823" y="10952"/>
                  <a:pt x="20083" y="10874"/>
                  <a:pt x="20306" y="10728"/>
                </a:cubicBezTo>
                <a:cubicBezTo>
                  <a:pt x="20954" y="10272"/>
                  <a:pt x="21296" y="9531"/>
                  <a:pt x="21470" y="8991"/>
                </a:cubicBezTo>
                <a:cubicBezTo>
                  <a:pt x="21600" y="8584"/>
                  <a:pt x="21376" y="8147"/>
                  <a:pt x="20969" y="8017"/>
                </a:cubicBezTo>
                <a:cubicBezTo>
                  <a:pt x="20902" y="7995"/>
                  <a:pt x="20833" y="7983"/>
                  <a:pt x="20764" y="7980"/>
                </a:cubicBezTo>
                <a:cubicBezTo>
                  <a:pt x="20197" y="7957"/>
                  <a:pt x="19385" y="8027"/>
                  <a:pt x="18736" y="8481"/>
                </a:cubicBezTo>
                <a:lnTo>
                  <a:pt x="18699" y="8512"/>
                </a:lnTo>
                <a:cubicBezTo>
                  <a:pt x="18196" y="8920"/>
                  <a:pt x="18045" y="9624"/>
                  <a:pt x="18335" y="10203"/>
                </a:cubicBezTo>
                <a:cubicBezTo>
                  <a:pt x="18078" y="10478"/>
                  <a:pt x="17853" y="10782"/>
                  <a:pt x="17666" y="11110"/>
                </a:cubicBezTo>
                <a:lnTo>
                  <a:pt x="17666" y="6951"/>
                </a:lnTo>
                <a:cubicBezTo>
                  <a:pt x="17648" y="5841"/>
                  <a:pt x="17914" y="4746"/>
                  <a:pt x="18440" y="3770"/>
                </a:cubicBezTo>
                <a:cubicBezTo>
                  <a:pt x="18672" y="3898"/>
                  <a:pt x="18931" y="3969"/>
                  <a:pt x="19196" y="3979"/>
                </a:cubicBezTo>
                <a:lnTo>
                  <a:pt x="19262" y="3979"/>
                </a:lnTo>
                <a:cubicBezTo>
                  <a:pt x="19694" y="3977"/>
                  <a:pt x="20108" y="3810"/>
                  <a:pt x="20422" y="3514"/>
                </a:cubicBezTo>
                <a:cubicBezTo>
                  <a:pt x="21230" y="2704"/>
                  <a:pt x="21460" y="1498"/>
                  <a:pt x="21525" y="854"/>
                </a:cubicBezTo>
                <a:cubicBezTo>
                  <a:pt x="21569" y="428"/>
                  <a:pt x="21259" y="48"/>
                  <a:pt x="20834" y="4"/>
                </a:cubicBezTo>
                <a:cubicBezTo>
                  <a:pt x="20782" y="-1"/>
                  <a:pt x="20729" y="-1"/>
                  <a:pt x="20677" y="4"/>
                </a:cubicBezTo>
                <a:cubicBezTo>
                  <a:pt x="20032" y="69"/>
                  <a:pt x="18831" y="301"/>
                  <a:pt x="18022" y="1110"/>
                </a:cubicBezTo>
                <a:cubicBezTo>
                  <a:pt x="18010" y="1123"/>
                  <a:pt x="17999" y="1136"/>
                  <a:pt x="17988" y="1150"/>
                </a:cubicBezTo>
                <a:cubicBezTo>
                  <a:pt x="17439" y="1779"/>
                  <a:pt x="17425" y="2714"/>
                  <a:pt x="17956" y="3359"/>
                </a:cubicBezTo>
                <a:cubicBezTo>
                  <a:pt x="17705" y="3790"/>
                  <a:pt x="17506" y="4250"/>
                  <a:pt x="17365" y="4728"/>
                </a:cubicBezTo>
                <a:cubicBezTo>
                  <a:pt x="17222" y="4250"/>
                  <a:pt x="17023" y="3790"/>
                  <a:pt x="16772" y="3359"/>
                </a:cubicBezTo>
                <a:cubicBezTo>
                  <a:pt x="17302" y="2714"/>
                  <a:pt x="17288" y="1779"/>
                  <a:pt x="16739" y="1150"/>
                </a:cubicBezTo>
                <a:cubicBezTo>
                  <a:pt x="16729" y="1136"/>
                  <a:pt x="16718" y="1122"/>
                  <a:pt x="16705" y="1110"/>
                </a:cubicBezTo>
                <a:cubicBezTo>
                  <a:pt x="15897" y="301"/>
                  <a:pt x="14693" y="69"/>
                  <a:pt x="14051" y="4"/>
                </a:cubicBezTo>
                <a:cubicBezTo>
                  <a:pt x="13625" y="-39"/>
                  <a:pt x="13245" y="271"/>
                  <a:pt x="13202" y="697"/>
                </a:cubicBezTo>
                <a:cubicBezTo>
                  <a:pt x="13197" y="749"/>
                  <a:pt x="13197" y="802"/>
                  <a:pt x="13202" y="854"/>
                </a:cubicBezTo>
                <a:cubicBezTo>
                  <a:pt x="13267" y="1499"/>
                  <a:pt x="13498" y="2704"/>
                  <a:pt x="14315" y="3523"/>
                </a:cubicBezTo>
                <a:cubicBezTo>
                  <a:pt x="14628" y="3814"/>
                  <a:pt x="15039" y="3976"/>
                  <a:pt x="15465" y="3974"/>
                </a:cubicBezTo>
                <a:lnTo>
                  <a:pt x="15533" y="3974"/>
                </a:lnTo>
                <a:cubicBezTo>
                  <a:pt x="15797" y="3965"/>
                  <a:pt x="16055" y="3893"/>
                  <a:pt x="16286" y="3765"/>
                </a:cubicBezTo>
                <a:cubicBezTo>
                  <a:pt x="16814" y="4741"/>
                  <a:pt x="17080" y="5836"/>
                  <a:pt x="17060" y="6946"/>
                </a:cubicBezTo>
                <a:lnTo>
                  <a:pt x="17060" y="18462"/>
                </a:lnTo>
                <a:lnTo>
                  <a:pt x="16673" y="18238"/>
                </a:lnTo>
                <a:cubicBezTo>
                  <a:pt x="16770" y="17789"/>
                  <a:pt x="16586" y="17326"/>
                  <a:pt x="16208" y="17067"/>
                </a:cubicBezTo>
                <a:lnTo>
                  <a:pt x="16171" y="17040"/>
                </a:lnTo>
                <a:cubicBezTo>
                  <a:pt x="15728" y="16809"/>
                  <a:pt x="15226" y="16714"/>
                  <a:pt x="14728" y="16766"/>
                </a:cubicBezTo>
                <a:cubicBezTo>
                  <a:pt x="14302" y="16799"/>
                  <a:pt x="13984" y="17173"/>
                  <a:pt x="14018" y="17600"/>
                </a:cubicBezTo>
                <a:cubicBezTo>
                  <a:pt x="14025" y="17694"/>
                  <a:pt x="14050" y="17787"/>
                  <a:pt x="14091" y="17873"/>
                </a:cubicBezTo>
                <a:cubicBezTo>
                  <a:pt x="14297" y="18334"/>
                  <a:pt x="14634" y="18723"/>
                  <a:pt x="15060" y="18993"/>
                </a:cubicBezTo>
                <a:cubicBezTo>
                  <a:pt x="15499" y="19224"/>
                  <a:pt x="16037" y="19139"/>
                  <a:pt x="16385" y="18785"/>
                </a:cubicBezTo>
                <a:lnTo>
                  <a:pt x="17064" y="19179"/>
                </a:lnTo>
                <a:lnTo>
                  <a:pt x="17064" y="20938"/>
                </a:lnTo>
                <a:lnTo>
                  <a:pt x="11075" y="20938"/>
                </a:lnTo>
                <a:lnTo>
                  <a:pt x="11075" y="16285"/>
                </a:lnTo>
                <a:lnTo>
                  <a:pt x="11750" y="15896"/>
                </a:lnTo>
                <a:cubicBezTo>
                  <a:pt x="11961" y="16112"/>
                  <a:pt x="12249" y="16233"/>
                  <a:pt x="12551" y="16232"/>
                </a:cubicBezTo>
                <a:cubicBezTo>
                  <a:pt x="12737" y="16232"/>
                  <a:pt x="12920" y="16185"/>
                  <a:pt x="13085" y="16097"/>
                </a:cubicBezTo>
                <a:cubicBezTo>
                  <a:pt x="13506" y="15828"/>
                  <a:pt x="13840" y="15441"/>
                  <a:pt x="14044" y="14984"/>
                </a:cubicBezTo>
                <a:cubicBezTo>
                  <a:pt x="14228" y="14597"/>
                  <a:pt x="14065" y="14135"/>
                  <a:pt x="13679" y="13950"/>
                </a:cubicBezTo>
                <a:cubicBezTo>
                  <a:pt x="13593" y="13909"/>
                  <a:pt x="13500" y="13884"/>
                  <a:pt x="13405" y="13877"/>
                </a:cubicBezTo>
                <a:cubicBezTo>
                  <a:pt x="12908" y="13822"/>
                  <a:pt x="12406" y="13918"/>
                  <a:pt x="11964" y="14151"/>
                </a:cubicBezTo>
                <a:cubicBezTo>
                  <a:pt x="11951" y="14159"/>
                  <a:pt x="11938" y="14168"/>
                  <a:pt x="11927" y="14177"/>
                </a:cubicBezTo>
                <a:cubicBezTo>
                  <a:pt x="11549" y="14437"/>
                  <a:pt x="11365" y="14900"/>
                  <a:pt x="11462" y="15348"/>
                </a:cubicBezTo>
                <a:lnTo>
                  <a:pt x="11080" y="15569"/>
                </a:lnTo>
                <a:lnTo>
                  <a:pt x="11080" y="14101"/>
                </a:lnTo>
                <a:cubicBezTo>
                  <a:pt x="11061" y="12992"/>
                  <a:pt x="11327" y="11897"/>
                  <a:pt x="11854" y="10921"/>
                </a:cubicBezTo>
                <a:cubicBezTo>
                  <a:pt x="12499" y="11275"/>
                  <a:pt x="13298" y="11174"/>
                  <a:pt x="13835" y="10671"/>
                </a:cubicBezTo>
                <a:cubicBezTo>
                  <a:pt x="14643" y="9860"/>
                  <a:pt x="14874" y="8655"/>
                  <a:pt x="14939" y="8011"/>
                </a:cubicBezTo>
                <a:cubicBezTo>
                  <a:pt x="14982" y="7585"/>
                  <a:pt x="14673" y="7205"/>
                  <a:pt x="14247" y="7161"/>
                </a:cubicBezTo>
                <a:cubicBezTo>
                  <a:pt x="14195" y="7156"/>
                  <a:pt x="14143" y="7156"/>
                  <a:pt x="14091" y="7161"/>
                </a:cubicBezTo>
                <a:cubicBezTo>
                  <a:pt x="13445" y="7227"/>
                  <a:pt x="12244" y="7458"/>
                  <a:pt x="11436" y="8267"/>
                </a:cubicBezTo>
                <a:cubicBezTo>
                  <a:pt x="11423" y="8279"/>
                  <a:pt x="11412" y="8293"/>
                  <a:pt x="11402" y="8307"/>
                </a:cubicBezTo>
                <a:cubicBezTo>
                  <a:pt x="10852" y="8936"/>
                  <a:pt x="10838" y="9871"/>
                  <a:pt x="11368" y="10516"/>
                </a:cubicBezTo>
                <a:cubicBezTo>
                  <a:pt x="11118" y="10947"/>
                  <a:pt x="10919" y="11407"/>
                  <a:pt x="10777" y="11885"/>
                </a:cubicBezTo>
                <a:cubicBezTo>
                  <a:pt x="10635" y="11406"/>
                  <a:pt x="10436" y="10946"/>
                  <a:pt x="10185" y="10514"/>
                </a:cubicBezTo>
                <a:cubicBezTo>
                  <a:pt x="10716" y="9868"/>
                  <a:pt x="10699" y="8931"/>
                  <a:pt x="10147" y="8303"/>
                </a:cubicBezTo>
                <a:cubicBezTo>
                  <a:pt x="10136" y="8289"/>
                  <a:pt x="10125" y="8275"/>
                  <a:pt x="10113" y="8263"/>
                </a:cubicBezTo>
                <a:cubicBezTo>
                  <a:pt x="9305" y="7453"/>
                  <a:pt x="8100" y="7222"/>
                  <a:pt x="7458" y="7157"/>
                </a:cubicBezTo>
                <a:cubicBezTo>
                  <a:pt x="7033" y="7113"/>
                  <a:pt x="6652" y="7422"/>
                  <a:pt x="6608" y="7848"/>
                </a:cubicBezTo>
                <a:cubicBezTo>
                  <a:pt x="6603" y="7901"/>
                  <a:pt x="6603" y="7954"/>
                  <a:pt x="6608" y="8007"/>
                </a:cubicBezTo>
                <a:cubicBezTo>
                  <a:pt x="6675" y="8652"/>
                  <a:pt x="6905" y="9855"/>
                  <a:pt x="7723" y="10676"/>
                </a:cubicBezTo>
                <a:cubicBezTo>
                  <a:pt x="8262" y="11173"/>
                  <a:pt x="9058" y="11268"/>
                  <a:pt x="9699" y="10913"/>
                </a:cubicBezTo>
                <a:cubicBezTo>
                  <a:pt x="10222" y="11891"/>
                  <a:pt x="10485" y="12988"/>
                  <a:pt x="10461" y="14097"/>
                </a:cubicBezTo>
                <a:lnTo>
                  <a:pt x="10461" y="16057"/>
                </a:lnTo>
                <a:cubicBezTo>
                  <a:pt x="10455" y="16095"/>
                  <a:pt x="10455" y="16133"/>
                  <a:pt x="10461" y="16170"/>
                </a:cubicBezTo>
                <a:lnTo>
                  <a:pt x="10461" y="20945"/>
                </a:lnTo>
                <a:lnTo>
                  <a:pt x="4501" y="20945"/>
                </a:lnTo>
                <a:cubicBezTo>
                  <a:pt x="4521" y="19941"/>
                  <a:pt x="4781" y="18955"/>
                  <a:pt x="5258" y="18072"/>
                </a:cubicBezTo>
                <a:cubicBezTo>
                  <a:pt x="5491" y="18202"/>
                  <a:pt x="5751" y="18275"/>
                  <a:pt x="6017" y="18284"/>
                </a:cubicBezTo>
                <a:lnTo>
                  <a:pt x="6083" y="18284"/>
                </a:lnTo>
                <a:cubicBezTo>
                  <a:pt x="6515" y="18283"/>
                  <a:pt x="6930" y="18117"/>
                  <a:pt x="7243" y="17819"/>
                </a:cubicBezTo>
                <a:cubicBezTo>
                  <a:pt x="8051" y="17008"/>
                  <a:pt x="8281" y="15803"/>
                  <a:pt x="8348" y="15159"/>
                </a:cubicBezTo>
                <a:cubicBezTo>
                  <a:pt x="8391" y="14733"/>
                  <a:pt x="8082" y="14353"/>
                  <a:pt x="7656" y="14309"/>
                </a:cubicBezTo>
                <a:cubicBezTo>
                  <a:pt x="7604" y="14304"/>
                  <a:pt x="7551" y="14304"/>
                  <a:pt x="7498" y="14309"/>
                </a:cubicBezTo>
                <a:cubicBezTo>
                  <a:pt x="6854" y="14374"/>
                  <a:pt x="5653" y="14605"/>
                  <a:pt x="4843" y="15415"/>
                </a:cubicBezTo>
                <a:cubicBezTo>
                  <a:pt x="4831" y="15427"/>
                  <a:pt x="4820" y="15441"/>
                  <a:pt x="4811" y="15455"/>
                </a:cubicBezTo>
                <a:cubicBezTo>
                  <a:pt x="4262" y="16084"/>
                  <a:pt x="4248" y="17017"/>
                  <a:pt x="4777" y="17662"/>
                </a:cubicBezTo>
                <a:cubicBezTo>
                  <a:pt x="4526" y="18094"/>
                  <a:pt x="4327" y="18554"/>
                  <a:pt x="4186" y="19033"/>
                </a:cubicBezTo>
                <a:cubicBezTo>
                  <a:pt x="4044" y="18554"/>
                  <a:pt x="3846" y="18094"/>
                  <a:pt x="3594" y="17662"/>
                </a:cubicBezTo>
                <a:cubicBezTo>
                  <a:pt x="4124" y="17018"/>
                  <a:pt x="4110" y="16084"/>
                  <a:pt x="3562" y="15455"/>
                </a:cubicBezTo>
                <a:cubicBezTo>
                  <a:pt x="3551" y="15441"/>
                  <a:pt x="3540" y="15428"/>
                  <a:pt x="3528" y="15415"/>
                </a:cubicBezTo>
                <a:cubicBezTo>
                  <a:pt x="2718" y="14605"/>
                  <a:pt x="1515" y="14374"/>
                  <a:pt x="873" y="14309"/>
                </a:cubicBezTo>
                <a:cubicBezTo>
                  <a:pt x="448" y="14265"/>
                  <a:pt x="67" y="14575"/>
                  <a:pt x="23" y="15001"/>
                </a:cubicBezTo>
                <a:cubicBezTo>
                  <a:pt x="18" y="15053"/>
                  <a:pt x="18" y="15106"/>
                  <a:pt x="23" y="15159"/>
                </a:cubicBezTo>
                <a:cubicBezTo>
                  <a:pt x="90" y="15804"/>
                  <a:pt x="320" y="17008"/>
                  <a:pt x="1136" y="17827"/>
                </a:cubicBezTo>
                <a:cubicBezTo>
                  <a:pt x="1448" y="18119"/>
                  <a:pt x="1860" y="18281"/>
                  <a:pt x="2288" y="18279"/>
                </a:cubicBezTo>
                <a:lnTo>
                  <a:pt x="2354" y="18279"/>
                </a:lnTo>
                <a:cubicBezTo>
                  <a:pt x="2619" y="18270"/>
                  <a:pt x="2877" y="18198"/>
                  <a:pt x="3108" y="18070"/>
                </a:cubicBezTo>
                <a:cubicBezTo>
                  <a:pt x="3586" y="18953"/>
                  <a:pt x="3847" y="19937"/>
                  <a:pt x="3870" y="20941"/>
                </a:cubicBezTo>
                <a:lnTo>
                  <a:pt x="310" y="20941"/>
                </a:lnTo>
                <a:cubicBezTo>
                  <a:pt x="139" y="20941"/>
                  <a:pt x="0" y="21080"/>
                  <a:pt x="0" y="21251"/>
                </a:cubicBezTo>
                <a:cubicBezTo>
                  <a:pt x="0" y="21422"/>
                  <a:pt x="139" y="21561"/>
                  <a:pt x="310" y="21561"/>
                </a:cubicBezTo>
                <a:lnTo>
                  <a:pt x="21207" y="21561"/>
                </a:lnTo>
                <a:cubicBezTo>
                  <a:pt x="21378" y="21561"/>
                  <a:pt x="21516" y="21422"/>
                  <a:pt x="21516" y="21251"/>
                </a:cubicBezTo>
                <a:cubicBezTo>
                  <a:pt x="21516" y="21080"/>
                  <a:pt x="21378" y="20941"/>
                  <a:pt x="21207" y="20941"/>
                </a:cubicBezTo>
                <a:cubicBezTo>
                  <a:pt x="21207" y="20941"/>
                  <a:pt x="21214" y="20942"/>
                  <a:pt x="21214" y="20942"/>
                </a:cubicBezTo>
                <a:close/>
              </a:path>
            </a:pathLst>
          </a:custGeom>
          <a:solidFill>
            <a:srgbClr val="FFFFFF"/>
          </a:solidFill>
          <a:ln w="3175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63" name="Google Shape;1289;p42">
            <a:extLst>
              <a:ext uri="{FF2B5EF4-FFF2-40B4-BE49-F238E27FC236}">
                <a16:creationId xmlns:a16="http://schemas.microsoft.com/office/drawing/2014/main" id="{F268631C-06CB-403E-BC5A-0DFEA2976888}"/>
              </a:ext>
            </a:extLst>
          </p:cNvPr>
          <p:cNvSpPr>
            <a:spLocks noChangeAspect="1"/>
          </p:cNvSpPr>
          <p:nvPr/>
        </p:nvSpPr>
        <p:spPr>
          <a:xfrm>
            <a:off x="2258835" y="2657734"/>
            <a:ext cx="304396" cy="3042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29" h="21561" extrusionOk="0">
                <a:moveTo>
                  <a:pt x="2333" y="17662"/>
                </a:moveTo>
                <a:cubicBezTo>
                  <a:pt x="2051" y="17674"/>
                  <a:pt x="1776" y="17573"/>
                  <a:pt x="1568" y="17383"/>
                </a:cubicBezTo>
                <a:cubicBezTo>
                  <a:pt x="895" y="16708"/>
                  <a:pt x="698" y="15663"/>
                  <a:pt x="639" y="15099"/>
                </a:cubicBezTo>
                <a:cubicBezTo>
                  <a:pt x="631" y="15013"/>
                  <a:pt x="693" y="14937"/>
                  <a:pt x="778" y="14929"/>
                </a:cubicBezTo>
                <a:cubicBezTo>
                  <a:pt x="783" y="14928"/>
                  <a:pt x="789" y="14928"/>
                  <a:pt x="794" y="14928"/>
                </a:cubicBezTo>
                <a:lnTo>
                  <a:pt x="811" y="14928"/>
                </a:lnTo>
                <a:cubicBezTo>
                  <a:pt x="1367" y="14985"/>
                  <a:pt x="2393" y="15178"/>
                  <a:pt x="3066" y="15832"/>
                </a:cubicBezTo>
                <a:lnTo>
                  <a:pt x="3080" y="15849"/>
                </a:lnTo>
                <a:cubicBezTo>
                  <a:pt x="3397" y="16195"/>
                  <a:pt x="3456" y="16704"/>
                  <a:pt x="3227" y="17113"/>
                </a:cubicBezTo>
                <a:cubicBezTo>
                  <a:pt x="3017" y="16822"/>
                  <a:pt x="2768" y="16561"/>
                  <a:pt x="2488" y="16338"/>
                </a:cubicBezTo>
                <a:cubicBezTo>
                  <a:pt x="2356" y="16228"/>
                  <a:pt x="2161" y="16246"/>
                  <a:pt x="2051" y="16377"/>
                </a:cubicBezTo>
                <a:cubicBezTo>
                  <a:pt x="1942" y="16509"/>
                  <a:pt x="1960" y="16705"/>
                  <a:pt x="2091" y="16814"/>
                </a:cubicBezTo>
                <a:cubicBezTo>
                  <a:pt x="2101" y="16822"/>
                  <a:pt x="2111" y="16830"/>
                  <a:pt x="2122" y="16837"/>
                </a:cubicBezTo>
                <a:cubicBezTo>
                  <a:pt x="2370" y="17043"/>
                  <a:pt x="2590" y="17281"/>
                  <a:pt x="2775" y="17544"/>
                </a:cubicBezTo>
                <a:cubicBezTo>
                  <a:pt x="2638" y="17615"/>
                  <a:pt x="2487" y="17656"/>
                  <a:pt x="2333" y="17662"/>
                </a:cubicBezTo>
                <a:cubicBezTo>
                  <a:pt x="2333" y="17662"/>
                  <a:pt x="2333" y="17662"/>
                  <a:pt x="2333" y="17662"/>
                </a:cubicBezTo>
                <a:close/>
                <a:moveTo>
                  <a:pt x="5294" y="15849"/>
                </a:moveTo>
                <a:lnTo>
                  <a:pt x="5308" y="15832"/>
                </a:lnTo>
                <a:cubicBezTo>
                  <a:pt x="5981" y="15178"/>
                  <a:pt x="7011" y="14985"/>
                  <a:pt x="7563" y="14928"/>
                </a:cubicBezTo>
                <a:cubicBezTo>
                  <a:pt x="7648" y="14919"/>
                  <a:pt x="7724" y="14981"/>
                  <a:pt x="7733" y="15066"/>
                </a:cubicBezTo>
                <a:cubicBezTo>
                  <a:pt x="7735" y="15077"/>
                  <a:pt x="7735" y="15088"/>
                  <a:pt x="7733" y="15099"/>
                </a:cubicBezTo>
                <a:cubicBezTo>
                  <a:pt x="7676" y="15663"/>
                  <a:pt x="7480" y="16708"/>
                  <a:pt x="6816" y="17375"/>
                </a:cubicBezTo>
                <a:cubicBezTo>
                  <a:pt x="6485" y="17683"/>
                  <a:pt x="5997" y="17751"/>
                  <a:pt x="5596" y="17544"/>
                </a:cubicBezTo>
                <a:cubicBezTo>
                  <a:pt x="5781" y="17279"/>
                  <a:pt x="6002" y="17042"/>
                  <a:pt x="6254" y="16839"/>
                </a:cubicBezTo>
                <a:cubicBezTo>
                  <a:pt x="6388" y="16733"/>
                  <a:pt x="6412" y="16538"/>
                  <a:pt x="6306" y="16403"/>
                </a:cubicBezTo>
                <a:cubicBezTo>
                  <a:pt x="6205" y="16274"/>
                  <a:pt x="6021" y="16246"/>
                  <a:pt x="5887" y="16339"/>
                </a:cubicBezTo>
                <a:cubicBezTo>
                  <a:pt x="5606" y="16563"/>
                  <a:pt x="5357" y="16824"/>
                  <a:pt x="5147" y="17115"/>
                </a:cubicBezTo>
                <a:cubicBezTo>
                  <a:pt x="4918" y="16705"/>
                  <a:pt x="4977" y="16195"/>
                  <a:pt x="5294" y="15849"/>
                </a:cubicBezTo>
                <a:cubicBezTo>
                  <a:pt x="5294" y="15849"/>
                  <a:pt x="5294" y="15849"/>
                  <a:pt x="5294" y="15849"/>
                </a:cubicBezTo>
                <a:close/>
                <a:moveTo>
                  <a:pt x="8153" y="10232"/>
                </a:moveTo>
                <a:cubicBezTo>
                  <a:pt x="7480" y="9557"/>
                  <a:pt x="7283" y="8512"/>
                  <a:pt x="7224" y="7948"/>
                </a:cubicBezTo>
                <a:cubicBezTo>
                  <a:pt x="7216" y="7862"/>
                  <a:pt x="7278" y="7786"/>
                  <a:pt x="7363" y="7778"/>
                </a:cubicBezTo>
                <a:cubicBezTo>
                  <a:pt x="7368" y="7777"/>
                  <a:pt x="7374" y="7777"/>
                  <a:pt x="7379" y="7777"/>
                </a:cubicBezTo>
                <a:lnTo>
                  <a:pt x="7396" y="7777"/>
                </a:lnTo>
                <a:cubicBezTo>
                  <a:pt x="7952" y="7834"/>
                  <a:pt x="8978" y="8027"/>
                  <a:pt x="9651" y="8681"/>
                </a:cubicBezTo>
                <a:cubicBezTo>
                  <a:pt x="9656" y="8688"/>
                  <a:pt x="9661" y="8693"/>
                  <a:pt x="9667" y="8698"/>
                </a:cubicBezTo>
                <a:cubicBezTo>
                  <a:pt x="9982" y="9044"/>
                  <a:pt x="10041" y="9554"/>
                  <a:pt x="9812" y="9962"/>
                </a:cubicBezTo>
                <a:cubicBezTo>
                  <a:pt x="9602" y="9672"/>
                  <a:pt x="9354" y="9411"/>
                  <a:pt x="9074" y="9187"/>
                </a:cubicBezTo>
                <a:cubicBezTo>
                  <a:pt x="8936" y="9085"/>
                  <a:pt x="8742" y="9114"/>
                  <a:pt x="8641" y="9252"/>
                </a:cubicBezTo>
                <a:cubicBezTo>
                  <a:pt x="8539" y="9390"/>
                  <a:pt x="8568" y="9584"/>
                  <a:pt x="8706" y="9686"/>
                </a:cubicBezTo>
                <a:cubicBezTo>
                  <a:pt x="8957" y="9890"/>
                  <a:pt x="9179" y="10127"/>
                  <a:pt x="9365" y="10392"/>
                </a:cubicBezTo>
                <a:cubicBezTo>
                  <a:pt x="8967" y="10597"/>
                  <a:pt x="8484" y="10533"/>
                  <a:pt x="8153" y="10232"/>
                </a:cubicBezTo>
                <a:cubicBezTo>
                  <a:pt x="8153" y="10232"/>
                  <a:pt x="8153" y="10232"/>
                  <a:pt x="8153" y="10232"/>
                </a:cubicBezTo>
                <a:close/>
                <a:moveTo>
                  <a:pt x="11879" y="8698"/>
                </a:moveTo>
                <a:lnTo>
                  <a:pt x="11893" y="8683"/>
                </a:lnTo>
                <a:cubicBezTo>
                  <a:pt x="12566" y="8027"/>
                  <a:pt x="13595" y="7834"/>
                  <a:pt x="14148" y="7777"/>
                </a:cubicBezTo>
                <a:cubicBezTo>
                  <a:pt x="14233" y="7768"/>
                  <a:pt x="14309" y="7830"/>
                  <a:pt x="14318" y="7915"/>
                </a:cubicBezTo>
                <a:cubicBezTo>
                  <a:pt x="14319" y="7926"/>
                  <a:pt x="14319" y="7937"/>
                  <a:pt x="14318" y="7948"/>
                </a:cubicBezTo>
                <a:cubicBezTo>
                  <a:pt x="14261" y="8512"/>
                  <a:pt x="14064" y="9557"/>
                  <a:pt x="13400" y="10224"/>
                </a:cubicBezTo>
                <a:cubicBezTo>
                  <a:pt x="13071" y="10530"/>
                  <a:pt x="12586" y="10598"/>
                  <a:pt x="12185" y="10395"/>
                </a:cubicBezTo>
                <a:cubicBezTo>
                  <a:pt x="12370" y="10131"/>
                  <a:pt x="12590" y="9893"/>
                  <a:pt x="12838" y="9688"/>
                </a:cubicBezTo>
                <a:cubicBezTo>
                  <a:pt x="12973" y="9582"/>
                  <a:pt x="12997" y="9387"/>
                  <a:pt x="12891" y="9252"/>
                </a:cubicBezTo>
                <a:cubicBezTo>
                  <a:pt x="12790" y="9123"/>
                  <a:pt x="12606" y="9095"/>
                  <a:pt x="12472" y="9188"/>
                </a:cubicBezTo>
                <a:cubicBezTo>
                  <a:pt x="12192" y="9413"/>
                  <a:pt x="11943" y="9673"/>
                  <a:pt x="11732" y="9964"/>
                </a:cubicBezTo>
                <a:cubicBezTo>
                  <a:pt x="11503" y="9554"/>
                  <a:pt x="11562" y="9044"/>
                  <a:pt x="11879" y="8698"/>
                </a:cubicBezTo>
                <a:cubicBezTo>
                  <a:pt x="11879" y="8698"/>
                  <a:pt x="11879" y="8698"/>
                  <a:pt x="11879" y="8698"/>
                </a:cubicBezTo>
                <a:close/>
                <a:moveTo>
                  <a:pt x="12291" y="14685"/>
                </a:moveTo>
                <a:lnTo>
                  <a:pt x="12301" y="14677"/>
                </a:lnTo>
                <a:cubicBezTo>
                  <a:pt x="12632" y="14517"/>
                  <a:pt x="13000" y="14454"/>
                  <a:pt x="13365" y="14495"/>
                </a:cubicBezTo>
                <a:cubicBezTo>
                  <a:pt x="13415" y="14498"/>
                  <a:pt x="13461" y="14527"/>
                  <a:pt x="13486" y="14571"/>
                </a:cubicBezTo>
                <a:cubicBezTo>
                  <a:pt x="13509" y="14616"/>
                  <a:pt x="13509" y="14670"/>
                  <a:pt x="13486" y="14716"/>
                </a:cubicBezTo>
                <a:cubicBezTo>
                  <a:pt x="13337" y="15056"/>
                  <a:pt x="13094" y="15348"/>
                  <a:pt x="12786" y="15555"/>
                </a:cubicBezTo>
                <a:cubicBezTo>
                  <a:pt x="12543" y="15688"/>
                  <a:pt x="12238" y="15599"/>
                  <a:pt x="12105" y="15356"/>
                </a:cubicBezTo>
                <a:cubicBezTo>
                  <a:pt x="11976" y="15120"/>
                  <a:pt x="12055" y="14824"/>
                  <a:pt x="12284" y="14685"/>
                </a:cubicBezTo>
                <a:cubicBezTo>
                  <a:pt x="12284" y="14685"/>
                  <a:pt x="12291" y="14685"/>
                  <a:pt x="12291" y="14685"/>
                </a:cubicBezTo>
                <a:close/>
                <a:moveTo>
                  <a:pt x="15715" y="18484"/>
                </a:moveTo>
                <a:cubicBezTo>
                  <a:pt x="15592" y="18523"/>
                  <a:pt x="15458" y="18512"/>
                  <a:pt x="15343" y="18455"/>
                </a:cubicBezTo>
                <a:cubicBezTo>
                  <a:pt x="15031" y="18246"/>
                  <a:pt x="14785" y="17952"/>
                  <a:pt x="14636" y="17608"/>
                </a:cubicBezTo>
                <a:cubicBezTo>
                  <a:pt x="14612" y="17563"/>
                  <a:pt x="14612" y="17509"/>
                  <a:pt x="14636" y="17464"/>
                </a:cubicBezTo>
                <a:cubicBezTo>
                  <a:pt x="14661" y="17420"/>
                  <a:pt x="14706" y="17392"/>
                  <a:pt x="14756" y="17388"/>
                </a:cubicBezTo>
                <a:cubicBezTo>
                  <a:pt x="14821" y="17388"/>
                  <a:pt x="14893" y="17380"/>
                  <a:pt x="14967" y="17380"/>
                </a:cubicBezTo>
                <a:cubicBezTo>
                  <a:pt x="15263" y="17371"/>
                  <a:pt x="15556" y="17436"/>
                  <a:pt x="15821" y="17569"/>
                </a:cubicBezTo>
                <a:lnTo>
                  <a:pt x="15832" y="17569"/>
                </a:lnTo>
                <a:cubicBezTo>
                  <a:pt x="16067" y="17717"/>
                  <a:pt x="16137" y="18027"/>
                  <a:pt x="15990" y="18262"/>
                </a:cubicBezTo>
                <a:cubicBezTo>
                  <a:pt x="15926" y="18364"/>
                  <a:pt x="15828" y="18439"/>
                  <a:pt x="15713" y="18475"/>
                </a:cubicBezTo>
                <a:cubicBezTo>
                  <a:pt x="15713" y="18475"/>
                  <a:pt x="15715" y="18484"/>
                  <a:pt x="15715" y="18484"/>
                </a:cubicBezTo>
                <a:close/>
                <a:moveTo>
                  <a:pt x="15502" y="3360"/>
                </a:moveTo>
                <a:cubicBezTo>
                  <a:pt x="15221" y="3373"/>
                  <a:pt x="14945" y="3273"/>
                  <a:pt x="14738" y="3081"/>
                </a:cubicBezTo>
                <a:cubicBezTo>
                  <a:pt x="14066" y="2406"/>
                  <a:pt x="13869" y="1361"/>
                  <a:pt x="13809" y="798"/>
                </a:cubicBezTo>
                <a:cubicBezTo>
                  <a:pt x="13803" y="751"/>
                  <a:pt x="13819" y="705"/>
                  <a:pt x="13852" y="671"/>
                </a:cubicBezTo>
                <a:cubicBezTo>
                  <a:pt x="13882" y="642"/>
                  <a:pt x="13921" y="626"/>
                  <a:pt x="13962" y="626"/>
                </a:cubicBezTo>
                <a:lnTo>
                  <a:pt x="13979" y="626"/>
                </a:lnTo>
                <a:cubicBezTo>
                  <a:pt x="14535" y="684"/>
                  <a:pt x="15560" y="877"/>
                  <a:pt x="16233" y="1530"/>
                </a:cubicBezTo>
                <a:lnTo>
                  <a:pt x="16249" y="1549"/>
                </a:lnTo>
                <a:cubicBezTo>
                  <a:pt x="16564" y="1894"/>
                  <a:pt x="16623" y="2403"/>
                  <a:pt x="16396" y="2811"/>
                </a:cubicBezTo>
                <a:cubicBezTo>
                  <a:pt x="16184" y="2521"/>
                  <a:pt x="15935" y="2261"/>
                  <a:pt x="15656" y="2036"/>
                </a:cubicBezTo>
                <a:cubicBezTo>
                  <a:pt x="15518" y="1934"/>
                  <a:pt x="15324" y="1964"/>
                  <a:pt x="15222" y="2103"/>
                </a:cubicBezTo>
                <a:cubicBezTo>
                  <a:pt x="15121" y="2241"/>
                  <a:pt x="15151" y="2435"/>
                  <a:pt x="15289" y="2537"/>
                </a:cubicBezTo>
                <a:cubicBezTo>
                  <a:pt x="15538" y="2741"/>
                  <a:pt x="15758" y="2979"/>
                  <a:pt x="15942" y="3244"/>
                </a:cubicBezTo>
                <a:cubicBezTo>
                  <a:pt x="15805" y="3313"/>
                  <a:pt x="15656" y="3353"/>
                  <a:pt x="15502" y="3360"/>
                </a:cubicBezTo>
                <a:close/>
                <a:moveTo>
                  <a:pt x="18464" y="1549"/>
                </a:moveTo>
                <a:lnTo>
                  <a:pt x="18478" y="1532"/>
                </a:lnTo>
                <a:cubicBezTo>
                  <a:pt x="19151" y="877"/>
                  <a:pt x="20180" y="684"/>
                  <a:pt x="20733" y="628"/>
                </a:cubicBezTo>
                <a:cubicBezTo>
                  <a:pt x="20818" y="619"/>
                  <a:pt x="20894" y="680"/>
                  <a:pt x="20903" y="766"/>
                </a:cubicBezTo>
                <a:cubicBezTo>
                  <a:pt x="20904" y="776"/>
                  <a:pt x="20904" y="787"/>
                  <a:pt x="20903" y="798"/>
                </a:cubicBezTo>
                <a:cubicBezTo>
                  <a:pt x="20846" y="1361"/>
                  <a:pt x="20649" y="2407"/>
                  <a:pt x="19985" y="3073"/>
                </a:cubicBezTo>
                <a:cubicBezTo>
                  <a:pt x="19776" y="3269"/>
                  <a:pt x="19497" y="3373"/>
                  <a:pt x="19211" y="3360"/>
                </a:cubicBezTo>
                <a:cubicBezTo>
                  <a:pt x="19057" y="3354"/>
                  <a:pt x="18906" y="3315"/>
                  <a:pt x="18769" y="3246"/>
                </a:cubicBezTo>
                <a:cubicBezTo>
                  <a:pt x="18954" y="2981"/>
                  <a:pt x="19174" y="2743"/>
                  <a:pt x="19422" y="2537"/>
                </a:cubicBezTo>
                <a:cubicBezTo>
                  <a:pt x="19563" y="2440"/>
                  <a:pt x="19598" y="2246"/>
                  <a:pt x="19501" y="2105"/>
                </a:cubicBezTo>
                <a:cubicBezTo>
                  <a:pt x="19404" y="1964"/>
                  <a:pt x="19211" y="1929"/>
                  <a:pt x="19070" y="2026"/>
                </a:cubicBezTo>
                <a:cubicBezTo>
                  <a:pt x="19065" y="2030"/>
                  <a:pt x="19060" y="2034"/>
                  <a:pt x="19055" y="2037"/>
                </a:cubicBezTo>
                <a:cubicBezTo>
                  <a:pt x="18775" y="2262"/>
                  <a:pt x="18527" y="2523"/>
                  <a:pt x="18315" y="2813"/>
                </a:cubicBezTo>
                <a:cubicBezTo>
                  <a:pt x="18087" y="2404"/>
                  <a:pt x="18147" y="1894"/>
                  <a:pt x="18464" y="1549"/>
                </a:cubicBezTo>
                <a:close/>
                <a:moveTo>
                  <a:pt x="19101" y="8984"/>
                </a:moveTo>
                <a:lnTo>
                  <a:pt x="19115" y="8973"/>
                </a:lnTo>
                <a:cubicBezTo>
                  <a:pt x="19620" y="8633"/>
                  <a:pt x="20275" y="8584"/>
                  <a:pt x="20739" y="8601"/>
                </a:cubicBezTo>
                <a:cubicBezTo>
                  <a:pt x="20787" y="8602"/>
                  <a:pt x="20832" y="8626"/>
                  <a:pt x="20860" y="8666"/>
                </a:cubicBezTo>
                <a:cubicBezTo>
                  <a:pt x="20887" y="8706"/>
                  <a:pt x="20895" y="8756"/>
                  <a:pt x="20880" y="8802"/>
                </a:cubicBezTo>
                <a:cubicBezTo>
                  <a:pt x="20736" y="9252"/>
                  <a:pt x="20457" y="9863"/>
                  <a:pt x="19960" y="10213"/>
                </a:cubicBezTo>
                <a:cubicBezTo>
                  <a:pt x="19794" y="10321"/>
                  <a:pt x="19591" y="10358"/>
                  <a:pt x="19397" y="10316"/>
                </a:cubicBezTo>
                <a:cubicBezTo>
                  <a:pt x="19328" y="10300"/>
                  <a:pt x="19262" y="10274"/>
                  <a:pt x="19200" y="10240"/>
                </a:cubicBezTo>
                <a:cubicBezTo>
                  <a:pt x="19364" y="10103"/>
                  <a:pt x="19540" y="9983"/>
                  <a:pt x="19727" y="9880"/>
                </a:cubicBezTo>
                <a:cubicBezTo>
                  <a:pt x="19882" y="9808"/>
                  <a:pt x="19949" y="9623"/>
                  <a:pt x="19876" y="9468"/>
                </a:cubicBezTo>
                <a:cubicBezTo>
                  <a:pt x="19804" y="9313"/>
                  <a:pt x="19620" y="9245"/>
                  <a:pt x="19465" y="9318"/>
                </a:cubicBezTo>
                <a:cubicBezTo>
                  <a:pt x="19459" y="9321"/>
                  <a:pt x="19454" y="9323"/>
                  <a:pt x="19448" y="9326"/>
                </a:cubicBezTo>
                <a:cubicBezTo>
                  <a:pt x="19228" y="9446"/>
                  <a:pt x="19021" y="9586"/>
                  <a:pt x="18829" y="9747"/>
                </a:cubicBezTo>
                <a:cubicBezTo>
                  <a:pt x="18765" y="9461"/>
                  <a:pt x="18871" y="9164"/>
                  <a:pt x="19101" y="8984"/>
                </a:cubicBezTo>
                <a:close/>
                <a:moveTo>
                  <a:pt x="21214" y="20942"/>
                </a:moveTo>
                <a:lnTo>
                  <a:pt x="17666" y="20942"/>
                </a:lnTo>
                <a:lnTo>
                  <a:pt x="17666" y="13551"/>
                </a:lnTo>
                <a:cubicBezTo>
                  <a:pt x="17647" y="12493"/>
                  <a:pt x="18030" y="11466"/>
                  <a:pt x="18738" y="10680"/>
                </a:cubicBezTo>
                <a:cubicBezTo>
                  <a:pt x="18894" y="10798"/>
                  <a:pt x="19074" y="10881"/>
                  <a:pt x="19265" y="10922"/>
                </a:cubicBezTo>
                <a:cubicBezTo>
                  <a:pt x="19361" y="10943"/>
                  <a:pt x="19459" y="10953"/>
                  <a:pt x="19556" y="10953"/>
                </a:cubicBezTo>
                <a:cubicBezTo>
                  <a:pt x="19823" y="10952"/>
                  <a:pt x="20083" y="10874"/>
                  <a:pt x="20306" y="10728"/>
                </a:cubicBezTo>
                <a:cubicBezTo>
                  <a:pt x="20954" y="10272"/>
                  <a:pt x="21296" y="9531"/>
                  <a:pt x="21470" y="8991"/>
                </a:cubicBezTo>
                <a:cubicBezTo>
                  <a:pt x="21600" y="8584"/>
                  <a:pt x="21376" y="8147"/>
                  <a:pt x="20969" y="8017"/>
                </a:cubicBezTo>
                <a:cubicBezTo>
                  <a:pt x="20902" y="7995"/>
                  <a:pt x="20833" y="7983"/>
                  <a:pt x="20764" y="7980"/>
                </a:cubicBezTo>
                <a:cubicBezTo>
                  <a:pt x="20197" y="7957"/>
                  <a:pt x="19385" y="8027"/>
                  <a:pt x="18736" y="8481"/>
                </a:cubicBezTo>
                <a:lnTo>
                  <a:pt x="18699" y="8512"/>
                </a:lnTo>
                <a:cubicBezTo>
                  <a:pt x="18196" y="8920"/>
                  <a:pt x="18045" y="9624"/>
                  <a:pt x="18335" y="10203"/>
                </a:cubicBezTo>
                <a:cubicBezTo>
                  <a:pt x="18078" y="10478"/>
                  <a:pt x="17853" y="10782"/>
                  <a:pt x="17666" y="11110"/>
                </a:cubicBezTo>
                <a:lnTo>
                  <a:pt x="17666" y="6951"/>
                </a:lnTo>
                <a:cubicBezTo>
                  <a:pt x="17648" y="5841"/>
                  <a:pt x="17914" y="4746"/>
                  <a:pt x="18440" y="3770"/>
                </a:cubicBezTo>
                <a:cubicBezTo>
                  <a:pt x="18672" y="3898"/>
                  <a:pt x="18931" y="3969"/>
                  <a:pt x="19196" y="3979"/>
                </a:cubicBezTo>
                <a:lnTo>
                  <a:pt x="19262" y="3979"/>
                </a:lnTo>
                <a:cubicBezTo>
                  <a:pt x="19694" y="3977"/>
                  <a:pt x="20108" y="3810"/>
                  <a:pt x="20422" y="3514"/>
                </a:cubicBezTo>
                <a:cubicBezTo>
                  <a:pt x="21230" y="2704"/>
                  <a:pt x="21460" y="1498"/>
                  <a:pt x="21525" y="854"/>
                </a:cubicBezTo>
                <a:cubicBezTo>
                  <a:pt x="21569" y="428"/>
                  <a:pt x="21259" y="48"/>
                  <a:pt x="20834" y="4"/>
                </a:cubicBezTo>
                <a:cubicBezTo>
                  <a:pt x="20782" y="-1"/>
                  <a:pt x="20729" y="-1"/>
                  <a:pt x="20677" y="4"/>
                </a:cubicBezTo>
                <a:cubicBezTo>
                  <a:pt x="20032" y="69"/>
                  <a:pt x="18831" y="301"/>
                  <a:pt x="18022" y="1110"/>
                </a:cubicBezTo>
                <a:cubicBezTo>
                  <a:pt x="18010" y="1123"/>
                  <a:pt x="17999" y="1136"/>
                  <a:pt x="17988" y="1150"/>
                </a:cubicBezTo>
                <a:cubicBezTo>
                  <a:pt x="17439" y="1779"/>
                  <a:pt x="17425" y="2714"/>
                  <a:pt x="17956" y="3359"/>
                </a:cubicBezTo>
                <a:cubicBezTo>
                  <a:pt x="17705" y="3790"/>
                  <a:pt x="17506" y="4250"/>
                  <a:pt x="17365" y="4728"/>
                </a:cubicBezTo>
                <a:cubicBezTo>
                  <a:pt x="17222" y="4250"/>
                  <a:pt x="17023" y="3790"/>
                  <a:pt x="16772" y="3359"/>
                </a:cubicBezTo>
                <a:cubicBezTo>
                  <a:pt x="17302" y="2714"/>
                  <a:pt x="17288" y="1779"/>
                  <a:pt x="16739" y="1150"/>
                </a:cubicBezTo>
                <a:cubicBezTo>
                  <a:pt x="16729" y="1136"/>
                  <a:pt x="16718" y="1122"/>
                  <a:pt x="16705" y="1110"/>
                </a:cubicBezTo>
                <a:cubicBezTo>
                  <a:pt x="15897" y="301"/>
                  <a:pt x="14693" y="69"/>
                  <a:pt x="14051" y="4"/>
                </a:cubicBezTo>
                <a:cubicBezTo>
                  <a:pt x="13625" y="-39"/>
                  <a:pt x="13245" y="271"/>
                  <a:pt x="13202" y="697"/>
                </a:cubicBezTo>
                <a:cubicBezTo>
                  <a:pt x="13197" y="749"/>
                  <a:pt x="13197" y="802"/>
                  <a:pt x="13202" y="854"/>
                </a:cubicBezTo>
                <a:cubicBezTo>
                  <a:pt x="13267" y="1499"/>
                  <a:pt x="13498" y="2704"/>
                  <a:pt x="14315" y="3523"/>
                </a:cubicBezTo>
                <a:cubicBezTo>
                  <a:pt x="14628" y="3814"/>
                  <a:pt x="15039" y="3976"/>
                  <a:pt x="15465" y="3974"/>
                </a:cubicBezTo>
                <a:lnTo>
                  <a:pt x="15533" y="3974"/>
                </a:lnTo>
                <a:cubicBezTo>
                  <a:pt x="15797" y="3965"/>
                  <a:pt x="16055" y="3893"/>
                  <a:pt x="16286" y="3765"/>
                </a:cubicBezTo>
                <a:cubicBezTo>
                  <a:pt x="16814" y="4741"/>
                  <a:pt x="17080" y="5836"/>
                  <a:pt x="17060" y="6946"/>
                </a:cubicBezTo>
                <a:lnTo>
                  <a:pt x="17060" y="18462"/>
                </a:lnTo>
                <a:lnTo>
                  <a:pt x="16673" y="18238"/>
                </a:lnTo>
                <a:cubicBezTo>
                  <a:pt x="16770" y="17789"/>
                  <a:pt x="16586" y="17326"/>
                  <a:pt x="16208" y="17067"/>
                </a:cubicBezTo>
                <a:lnTo>
                  <a:pt x="16171" y="17040"/>
                </a:lnTo>
                <a:cubicBezTo>
                  <a:pt x="15728" y="16809"/>
                  <a:pt x="15226" y="16714"/>
                  <a:pt x="14728" y="16766"/>
                </a:cubicBezTo>
                <a:cubicBezTo>
                  <a:pt x="14302" y="16799"/>
                  <a:pt x="13984" y="17173"/>
                  <a:pt x="14018" y="17600"/>
                </a:cubicBezTo>
                <a:cubicBezTo>
                  <a:pt x="14025" y="17694"/>
                  <a:pt x="14050" y="17787"/>
                  <a:pt x="14091" y="17873"/>
                </a:cubicBezTo>
                <a:cubicBezTo>
                  <a:pt x="14297" y="18334"/>
                  <a:pt x="14634" y="18723"/>
                  <a:pt x="15060" y="18993"/>
                </a:cubicBezTo>
                <a:cubicBezTo>
                  <a:pt x="15499" y="19224"/>
                  <a:pt x="16037" y="19139"/>
                  <a:pt x="16385" y="18785"/>
                </a:cubicBezTo>
                <a:lnTo>
                  <a:pt x="17064" y="19179"/>
                </a:lnTo>
                <a:lnTo>
                  <a:pt x="17064" y="20938"/>
                </a:lnTo>
                <a:lnTo>
                  <a:pt x="11075" y="20938"/>
                </a:lnTo>
                <a:lnTo>
                  <a:pt x="11075" y="16285"/>
                </a:lnTo>
                <a:lnTo>
                  <a:pt x="11750" y="15896"/>
                </a:lnTo>
                <a:cubicBezTo>
                  <a:pt x="11961" y="16112"/>
                  <a:pt x="12249" y="16233"/>
                  <a:pt x="12551" y="16232"/>
                </a:cubicBezTo>
                <a:cubicBezTo>
                  <a:pt x="12737" y="16232"/>
                  <a:pt x="12920" y="16185"/>
                  <a:pt x="13085" y="16097"/>
                </a:cubicBezTo>
                <a:cubicBezTo>
                  <a:pt x="13506" y="15828"/>
                  <a:pt x="13840" y="15441"/>
                  <a:pt x="14044" y="14984"/>
                </a:cubicBezTo>
                <a:cubicBezTo>
                  <a:pt x="14228" y="14597"/>
                  <a:pt x="14065" y="14135"/>
                  <a:pt x="13679" y="13950"/>
                </a:cubicBezTo>
                <a:cubicBezTo>
                  <a:pt x="13593" y="13909"/>
                  <a:pt x="13500" y="13884"/>
                  <a:pt x="13405" y="13877"/>
                </a:cubicBezTo>
                <a:cubicBezTo>
                  <a:pt x="12908" y="13822"/>
                  <a:pt x="12406" y="13918"/>
                  <a:pt x="11964" y="14151"/>
                </a:cubicBezTo>
                <a:cubicBezTo>
                  <a:pt x="11951" y="14159"/>
                  <a:pt x="11938" y="14168"/>
                  <a:pt x="11927" y="14177"/>
                </a:cubicBezTo>
                <a:cubicBezTo>
                  <a:pt x="11549" y="14437"/>
                  <a:pt x="11365" y="14900"/>
                  <a:pt x="11462" y="15348"/>
                </a:cubicBezTo>
                <a:lnTo>
                  <a:pt x="11080" y="15569"/>
                </a:lnTo>
                <a:lnTo>
                  <a:pt x="11080" y="14101"/>
                </a:lnTo>
                <a:cubicBezTo>
                  <a:pt x="11061" y="12992"/>
                  <a:pt x="11327" y="11897"/>
                  <a:pt x="11854" y="10921"/>
                </a:cubicBezTo>
                <a:cubicBezTo>
                  <a:pt x="12499" y="11275"/>
                  <a:pt x="13298" y="11174"/>
                  <a:pt x="13835" y="10671"/>
                </a:cubicBezTo>
                <a:cubicBezTo>
                  <a:pt x="14643" y="9860"/>
                  <a:pt x="14874" y="8655"/>
                  <a:pt x="14939" y="8011"/>
                </a:cubicBezTo>
                <a:cubicBezTo>
                  <a:pt x="14982" y="7585"/>
                  <a:pt x="14673" y="7205"/>
                  <a:pt x="14247" y="7161"/>
                </a:cubicBezTo>
                <a:cubicBezTo>
                  <a:pt x="14195" y="7156"/>
                  <a:pt x="14143" y="7156"/>
                  <a:pt x="14091" y="7161"/>
                </a:cubicBezTo>
                <a:cubicBezTo>
                  <a:pt x="13445" y="7227"/>
                  <a:pt x="12244" y="7458"/>
                  <a:pt x="11436" y="8267"/>
                </a:cubicBezTo>
                <a:cubicBezTo>
                  <a:pt x="11423" y="8279"/>
                  <a:pt x="11412" y="8293"/>
                  <a:pt x="11402" y="8307"/>
                </a:cubicBezTo>
                <a:cubicBezTo>
                  <a:pt x="10852" y="8936"/>
                  <a:pt x="10838" y="9871"/>
                  <a:pt x="11368" y="10516"/>
                </a:cubicBezTo>
                <a:cubicBezTo>
                  <a:pt x="11118" y="10947"/>
                  <a:pt x="10919" y="11407"/>
                  <a:pt x="10777" y="11885"/>
                </a:cubicBezTo>
                <a:cubicBezTo>
                  <a:pt x="10635" y="11406"/>
                  <a:pt x="10436" y="10946"/>
                  <a:pt x="10185" y="10514"/>
                </a:cubicBezTo>
                <a:cubicBezTo>
                  <a:pt x="10716" y="9868"/>
                  <a:pt x="10699" y="8931"/>
                  <a:pt x="10147" y="8303"/>
                </a:cubicBezTo>
                <a:cubicBezTo>
                  <a:pt x="10136" y="8289"/>
                  <a:pt x="10125" y="8275"/>
                  <a:pt x="10113" y="8263"/>
                </a:cubicBezTo>
                <a:cubicBezTo>
                  <a:pt x="9305" y="7453"/>
                  <a:pt x="8100" y="7222"/>
                  <a:pt x="7458" y="7157"/>
                </a:cubicBezTo>
                <a:cubicBezTo>
                  <a:pt x="7033" y="7113"/>
                  <a:pt x="6652" y="7422"/>
                  <a:pt x="6608" y="7848"/>
                </a:cubicBezTo>
                <a:cubicBezTo>
                  <a:pt x="6603" y="7901"/>
                  <a:pt x="6603" y="7954"/>
                  <a:pt x="6608" y="8007"/>
                </a:cubicBezTo>
                <a:cubicBezTo>
                  <a:pt x="6675" y="8652"/>
                  <a:pt x="6905" y="9855"/>
                  <a:pt x="7723" y="10676"/>
                </a:cubicBezTo>
                <a:cubicBezTo>
                  <a:pt x="8262" y="11173"/>
                  <a:pt x="9058" y="11268"/>
                  <a:pt x="9699" y="10913"/>
                </a:cubicBezTo>
                <a:cubicBezTo>
                  <a:pt x="10222" y="11891"/>
                  <a:pt x="10485" y="12988"/>
                  <a:pt x="10461" y="14097"/>
                </a:cubicBezTo>
                <a:lnTo>
                  <a:pt x="10461" y="16057"/>
                </a:lnTo>
                <a:cubicBezTo>
                  <a:pt x="10455" y="16095"/>
                  <a:pt x="10455" y="16133"/>
                  <a:pt x="10461" y="16170"/>
                </a:cubicBezTo>
                <a:lnTo>
                  <a:pt x="10461" y="20945"/>
                </a:lnTo>
                <a:lnTo>
                  <a:pt x="4501" y="20945"/>
                </a:lnTo>
                <a:cubicBezTo>
                  <a:pt x="4521" y="19941"/>
                  <a:pt x="4781" y="18955"/>
                  <a:pt x="5258" y="18072"/>
                </a:cubicBezTo>
                <a:cubicBezTo>
                  <a:pt x="5491" y="18202"/>
                  <a:pt x="5751" y="18275"/>
                  <a:pt x="6017" y="18284"/>
                </a:cubicBezTo>
                <a:lnTo>
                  <a:pt x="6083" y="18284"/>
                </a:lnTo>
                <a:cubicBezTo>
                  <a:pt x="6515" y="18283"/>
                  <a:pt x="6930" y="18117"/>
                  <a:pt x="7243" y="17819"/>
                </a:cubicBezTo>
                <a:cubicBezTo>
                  <a:pt x="8051" y="17008"/>
                  <a:pt x="8281" y="15803"/>
                  <a:pt x="8348" y="15159"/>
                </a:cubicBezTo>
                <a:cubicBezTo>
                  <a:pt x="8391" y="14733"/>
                  <a:pt x="8082" y="14353"/>
                  <a:pt x="7656" y="14309"/>
                </a:cubicBezTo>
                <a:cubicBezTo>
                  <a:pt x="7604" y="14304"/>
                  <a:pt x="7551" y="14304"/>
                  <a:pt x="7498" y="14309"/>
                </a:cubicBezTo>
                <a:cubicBezTo>
                  <a:pt x="6854" y="14374"/>
                  <a:pt x="5653" y="14605"/>
                  <a:pt x="4843" y="15415"/>
                </a:cubicBezTo>
                <a:cubicBezTo>
                  <a:pt x="4831" y="15427"/>
                  <a:pt x="4820" y="15441"/>
                  <a:pt x="4811" y="15455"/>
                </a:cubicBezTo>
                <a:cubicBezTo>
                  <a:pt x="4262" y="16084"/>
                  <a:pt x="4248" y="17017"/>
                  <a:pt x="4777" y="17662"/>
                </a:cubicBezTo>
                <a:cubicBezTo>
                  <a:pt x="4526" y="18094"/>
                  <a:pt x="4327" y="18554"/>
                  <a:pt x="4186" y="19033"/>
                </a:cubicBezTo>
                <a:cubicBezTo>
                  <a:pt x="4044" y="18554"/>
                  <a:pt x="3846" y="18094"/>
                  <a:pt x="3594" y="17662"/>
                </a:cubicBezTo>
                <a:cubicBezTo>
                  <a:pt x="4124" y="17018"/>
                  <a:pt x="4110" y="16084"/>
                  <a:pt x="3562" y="15455"/>
                </a:cubicBezTo>
                <a:cubicBezTo>
                  <a:pt x="3551" y="15441"/>
                  <a:pt x="3540" y="15428"/>
                  <a:pt x="3528" y="15415"/>
                </a:cubicBezTo>
                <a:cubicBezTo>
                  <a:pt x="2718" y="14605"/>
                  <a:pt x="1515" y="14374"/>
                  <a:pt x="873" y="14309"/>
                </a:cubicBezTo>
                <a:cubicBezTo>
                  <a:pt x="448" y="14265"/>
                  <a:pt x="67" y="14575"/>
                  <a:pt x="23" y="15001"/>
                </a:cubicBezTo>
                <a:cubicBezTo>
                  <a:pt x="18" y="15053"/>
                  <a:pt x="18" y="15106"/>
                  <a:pt x="23" y="15159"/>
                </a:cubicBezTo>
                <a:cubicBezTo>
                  <a:pt x="90" y="15804"/>
                  <a:pt x="320" y="17008"/>
                  <a:pt x="1136" y="17827"/>
                </a:cubicBezTo>
                <a:cubicBezTo>
                  <a:pt x="1448" y="18119"/>
                  <a:pt x="1860" y="18281"/>
                  <a:pt x="2288" y="18279"/>
                </a:cubicBezTo>
                <a:lnTo>
                  <a:pt x="2354" y="18279"/>
                </a:lnTo>
                <a:cubicBezTo>
                  <a:pt x="2619" y="18270"/>
                  <a:pt x="2877" y="18198"/>
                  <a:pt x="3108" y="18070"/>
                </a:cubicBezTo>
                <a:cubicBezTo>
                  <a:pt x="3586" y="18953"/>
                  <a:pt x="3847" y="19937"/>
                  <a:pt x="3870" y="20941"/>
                </a:cubicBezTo>
                <a:lnTo>
                  <a:pt x="310" y="20941"/>
                </a:lnTo>
                <a:cubicBezTo>
                  <a:pt x="139" y="20941"/>
                  <a:pt x="0" y="21080"/>
                  <a:pt x="0" y="21251"/>
                </a:cubicBezTo>
                <a:cubicBezTo>
                  <a:pt x="0" y="21422"/>
                  <a:pt x="139" y="21561"/>
                  <a:pt x="310" y="21561"/>
                </a:cubicBezTo>
                <a:lnTo>
                  <a:pt x="21207" y="21561"/>
                </a:lnTo>
                <a:cubicBezTo>
                  <a:pt x="21378" y="21561"/>
                  <a:pt x="21516" y="21422"/>
                  <a:pt x="21516" y="21251"/>
                </a:cubicBezTo>
                <a:cubicBezTo>
                  <a:pt x="21516" y="21080"/>
                  <a:pt x="21378" y="20941"/>
                  <a:pt x="21207" y="20941"/>
                </a:cubicBezTo>
                <a:cubicBezTo>
                  <a:pt x="21207" y="20941"/>
                  <a:pt x="21214" y="20942"/>
                  <a:pt x="21214" y="20942"/>
                </a:cubicBezTo>
                <a:close/>
              </a:path>
            </a:pathLst>
          </a:custGeom>
          <a:solidFill>
            <a:srgbClr val="FFFFFF"/>
          </a:solidFill>
          <a:ln w="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EAB93463-7C70-89B5-01EB-8818FA5FA343}"/>
              </a:ext>
            </a:extLst>
          </p:cNvPr>
          <p:cNvSpPr txBox="1"/>
          <p:nvPr/>
        </p:nvSpPr>
        <p:spPr>
          <a:xfrm>
            <a:off x="3085731" y="3318610"/>
            <a:ext cx="54057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GUATEMALA</a:t>
            </a:r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276720291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31">
            <a:extLst>
              <a:ext uri="{FF2B5EF4-FFF2-40B4-BE49-F238E27FC236}">
                <a16:creationId xmlns:a16="http://schemas.microsoft.com/office/drawing/2014/main" id="{4BE4317B-E850-A74F-98C4-C44E9FE662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384277"/>
            <a:ext cx="10765383" cy="722148"/>
          </a:xfrm>
        </p:spPr>
        <p:txBody>
          <a:bodyPr/>
          <a:lstStyle/>
          <a:p>
            <a:r>
              <a:rPr lang="en-GB"/>
              <a:t>Bayer Integrated KPI Framework 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485887AA-AFC0-90A9-2C73-2A44812945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ExtraLight" pitchFamily="2" charset="77"/>
                <a:ea typeface="+mn-ea"/>
                <a:cs typeface="Poppins Extra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ExtraLight" pitchFamily="2" charset="77"/>
              <a:ea typeface="+mn-ea"/>
              <a:cs typeface="Poppins ExtraLight" pitchFamily="2" charset="77"/>
            </a:endParaRPr>
          </a:p>
        </p:txBody>
      </p:sp>
      <p:graphicFrame>
        <p:nvGraphicFramePr>
          <p:cNvPr id="34" name="Table 6">
            <a:extLst>
              <a:ext uri="{FF2B5EF4-FFF2-40B4-BE49-F238E27FC236}">
                <a16:creationId xmlns:a16="http://schemas.microsoft.com/office/drawing/2014/main" id="{92778DBD-D6DD-6C51-6788-4BB2FA44AD33}"/>
              </a:ext>
            </a:extLst>
          </p:cNvPr>
          <p:cNvGraphicFramePr>
            <a:graphicFrameLocks/>
          </p:cNvGraphicFramePr>
          <p:nvPr/>
        </p:nvGraphicFramePr>
        <p:xfrm>
          <a:off x="812189" y="1420488"/>
          <a:ext cx="4884498" cy="3600074"/>
        </p:xfrm>
        <a:graphic>
          <a:graphicData uri="http://schemas.openxmlformats.org/drawingml/2006/table">
            <a:tbl>
              <a:tblPr firstRow="1" firstCol="1"/>
              <a:tblGrid>
                <a:gridCol w="1513997">
                  <a:extLst>
                    <a:ext uri="{9D8B030D-6E8A-4147-A177-3AD203B41FA5}">
                      <a16:colId xmlns:a16="http://schemas.microsoft.com/office/drawing/2014/main" val="543021222"/>
                    </a:ext>
                  </a:extLst>
                </a:gridCol>
                <a:gridCol w="1298268">
                  <a:extLst>
                    <a:ext uri="{9D8B030D-6E8A-4147-A177-3AD203B41FA5}">
                      <a16:colId xmlns:a16="http://schemas.microsoft.com/office/drawing/2014/main" val="2674307238"/>
                    </a:ext>
                  </a:extLst>
                </a:gridCol>
                <a:gridCol w="2072233">
                  <a:extLst>
                    <a:ext uri="{9D8B030D-6E8A-4147-A177-3AD203B41FA5}">
                      <a16:colId xmlns:a16="http://schemas.microsoft.com/office/drawing/2014/main" val="2370591198"/>
                    </a:ext>
                  </a:extLst>
                </a:gridCol>
              </a:tblGrid>
              <a:tr h="518391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GB" sz="1000"/>
                        <a:t>Marketing Objective </a:t>
                      </a:r>
                    </a:p>
                    <a:p>
                      <a:pPr algn="l"/>
                      <a:r>
                        <a:rPr lang="en-GB" sz="1000"/>
                        <a:t>(from brief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50">
                          <a:solidFill>
                            <a:schemeClr val="bg1"/>
                          </a:solidFill>
                        </a:rPr>
                        <a:t>To drive penetration within non-Claritin users who are new to category.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GB" sz="11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85344513"/>
                  </a:ext>
                </a:extLst>
              </a:tr>
              <a:tr h="56147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GB" sz="1000"/>
                        <a:t>Communication Objective </a:t>
                      </a:r>
                    </a:p>
                    <a:p>
                      <a:pPr algn="l"/>
                      <a:r>
                        <a:rPr lang="en-GB" sz="1000"/>
                        <a:t>(from brief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GB" sz="1050"/>
                        <a:t>Grow Awareness (Brand/Product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50"/>
                        <a:t>Grow Favourability / Consideration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686"/>
                  </a:ext>
                </a:extLst>
              </a:tr>
              <a:tr h="561470">
                <a:tc rowSpan="2"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GB" sz="1000"/>
                        <a:t>Media Objective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GB" sz="1050"/>
                        <a:t>Increase Brand Recal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50"/>
                        <a:t>Lift on Core brand attributes / Purpose credentials           </a:t>
                      </a:r>
                      <a:r>
                        <a:rPr lang="en-GB" sz="1050">
                          <a:solidFill>
                            <a:schemeClr val="accent3"/>
                          </a:solidFill>
                        </a:rPr>
                        <a:t>(CTA "Learn more"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6976310"/>
                  </a:ext>
                </a:extLst>
              </a:tr>
              <a:tr h="347027">
                <a:tc vMerge="1">
                  <a:txBody>
                    <a:bodyPr/>
                    <a:lstStyle/>
                    <a:p>
                      <a:pPr algn="ctr"/>
                      <a:endParaRPr lang="en-GB" sz="1100"/>
                    </a:p>
                  </a:txBody>
                  <a:tcPr anchor="ctr"/>
                </a:tc>
                <a:tc gridSpan="2"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50"/>
                        <a:t>Maximize Integrated Video Reach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1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95204263"/>
                  </a:ext>
                </a:extLst>
              </a:tr>
              <a:tr h="159165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GB" sz="1000"/>
                        <a:t>Campaign Impact </a:t>
                      </a:r>
                    </a:p>
                    <a:p>
                      <a:pPr algn="l"/>
                      <a:r>
                        <a:rPr lang="en-GB" sz="1000"/>
                        <a:t>KPIs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GB" sz="1050" b="1"/>
                        <a:t>Effectiveness: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GB" sz="1050"/>
                        <a:t>Ad Recall, Brand lift% (Awareness, Consideration)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GB" sz="1050"/>
                        <a:t>Average video viewed / VTR %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GB" sz="1050"/>
                        <a:t>Search Lift (brand and keyword specific)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GB" sz="1050"/>
                        <a:t>Creative Quality Score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en-GB" sz="1050"/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GB" sz="1050" b="1"/>
                        <a:t>Efficiency: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GB" sz="1050"/>
                        <a:t>Cost per Lifted user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GB" sz="1050"/>
                        <a:t>Cost per Completed view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>
                        <a:tint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GB" sz="11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42632291"/>
                  </a:ext>
                </a:extLst>
              </a:tr>
            </a:tbl>
          </a:graphicData>
        </a:graphic>
      </p:graphicFrame>
      <p:graphicFrame>
        <p:nvGraphicFramePr>
          <p:cNvPr id="35" name="Table 6">
            <a:extLst>
              <a:ext uri="{FF2B5EF4-FFF2-40B4-BE49-F238E27FC236}">
                <a16:creationId xmlns:a16="http://schemas.microsoft.com/office/drawing/2014/main" id="{4AD132F2-E074-DF77-DD1A-AAFF09CE684E}"/>
              </a:ext>
            </a:extLst>
          </p:cNvPr>
          <p:cNvGraphicFramePr>
            <a:graphicFrameLocks/>
          </p:cNvGraphicFramePr>
          <p:nvPr/>
        </p:nvGraphicFramePr>
        <p:xfrm>
          <a:off x="5801013" y="1418379"/>
          <a:ext cx="5677678" cy="3628141"/>
        </p:xfrm>
        <a:graphic>
          <a:graphicData uri="http://schemas.openxmlformats.org/drawingml/2006/table">
            <a:tbl>
              <a:tblPr firstRow="1" firstCol="1"/>
              <a:tblGrid>
                <a:gridCol w="1719214">
                  <a:extLst>
                    <a:ext uri="{9D8B030D-6E8A-4147-A177-3AD203B41FA5}">
                      <a16:colId xmlns:a16="http://schemas.microsoft.com/office/drawing/2014/main" val="543021222"/>
                    </a:ext>
                  </a:extLst>
                </a:gridCol>
                <a:gridCol w="1780960">
                  <a:extLst>
                    <a:ext uri="{9D8B030D-6E8A-4147-A177-3AD203B41FA5}">
                      <a16:colId xmlns:a16="http://schemas.microsoft.com/office/drawing/2014/main" val="2674307238"/>
                    </a:ext>
                  </a:extLst>
                </a:gridCol>
                <a:gridCol w="2177504">
                  <a:extLst>
                    <a:ext uri="{9D8B030D-6E8A-4147-A177-3AD203B41FA5}">
                      <a16:colId xmlns:a16="http://schemas.microsoft.com/office/drawing/2014/main" val="2198374141"/>
                    </a:ext>
                  </a:extLst>
                </a:gridCol>
              </a:tblGrid>
              <a:tr h="518403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GB" sz="1000"/>
                        <a:t>Marketing Objective </a:t>
                      </a:r>
                    </a:p>
                    <a:p>
                      <a:pPr algn="l"/>
                      <a:r>
                        <a:rPr lang="en-GB" sz="1000"/>
                        <a:t>(from brief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50"/>
                        <a:t>To achieve Claritin Net Sales growth of +5% for Bayer by 2024.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GB" sz="1050"/>
                        <a:t>Cost-efficient Sales Growt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05025008"/>
                  </a:ext>
                </a:extLst>
              </a:tr>
              <a:tr h="575561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GB" sz="1000"/>
                        <a:t>Communication Objective </a:t>
                      </a:r>
                    </a:p>
                    <a:p>
                      <a:pPr algn="l"/>
                      <a:r>
                        <a:rPr lang="en-GB" sz="1000"/>
                        <a:t>(from brief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GB" sz="1050"/>
                        <a:t>Grow Purchase Intent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50"/>
                        <a:t>Grow Conversions to Purchase </a:t>
                      </a:r>
                      <a:r>
                        <a:rPr lang="en-GB" sz="1050" i="0">
                          <a:solidFill>
                            <a:schemeClr val="accent3"/>
                          </a:solidFill>
                        </a:rPr>
                        <a:t>(Online/Offline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344513"/>
                  </a:ext>
                </a:extLst>
              </a:tr>
              <a:tr h="401191">
                <a:tc rowSpan="2"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GB" sz="1000"/>
                        <a:t>Media Objective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GB" sz="1050"/>
                        <a:t>Drive traffic acquisition  </a:t>
                      </a:r>
                      <a:r>
                        <a:rPr lang="en-GB" sz="1050">
                          <a:solidFill>
                            <a:schemeClr val="accent3"/>
                          </a:solidFill>
                        </a:rPr>
                        <a:t>(Digital or Physical)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50"/>
                        <a:t>Drive people to purchase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6976310"/>
                  </a:ext>
                </a:extLst>
              </a:tr>
              <a:tr h="499637">
                <a:tc vMerge="1">
                  <a:txBody>
                    <a:bodyPr/>
                    <a:lstStyle/>
                    <a:p>
                      <a:pPr algn="l"/>
                      <a:endParaRPr lang="en-GB" sz="1000"/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GB" sz="1050"/>
                        <a:t>Grow Prospect Pool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50"/>
                        <a:t>Harvest Brand Demand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548903"/>
                  </a:ext>
                </a:extLst>
              </a:tr>
              <a:tr h="1582477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GB" sz="1000"/>
                        <a:t>Campaign Impact </a:t>
                      </a:r>
                    </a:p>
                    <a:p>
                      <a:pPr algn="l"/>
                      <a:r>
                        <a:rPr lang="en-GB" sz="1000"/>
                        <a:t>KPIs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1" i="0" u="none" strike="noStrike" cap="none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Effectiveness: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000" b="0" i="0" u="none" strike="noStrike" cap="none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Purchase Intent Lift %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000" b="0" i="0" u="none" strike="noStrike" cap="none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Quality Site Visit</a:t>
                      </a:r>
                    </a:p>
                    <a:p>
                      <a:pPr marL="0" marR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GB" sz="1000" b="1" i="0" u="none" strike="noStrike" cap="none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  <a:p>
                      <a:pPr marL="0" marR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GB" sz="1000" b="1" i="0" u="none" strike="noStrike" cap="none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	</a:t>
                      </a:r>
                    </a:p>
                    <a:p>
                      <a:pPr marL="0" marR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GB" sz="1000" b="1" i="0" u="none" strike="noStrike" cap="none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Efficiency: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000" b="0" i="0" u="none" strike="noStrike" cap="none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Cost per Lifted User</a:t>
                      </a:r>
                    </a:p>
                    <a:p>
                      <a:pPr marL="171450" marR="0" indent="-1714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000" b="0" i="0" u="none" strike="noStrike" cap="none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Cost per Quality Site Visit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000" b="1" i="0" u="none" strike="noStrike" cap="none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Effectiveness: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GB" sz="1000"/>
                        <a:t>Store visits uplift </a:t>
                      </a:r>
                      <a:r>
                        <a:rPr lang="en-GB" sz="1000">
                          <a:solidFill>
                            <a:schemeClr val="accent3"/>
                          </a:solidFill>
                        </a:rPr>
                        <a:t>(Online/Offline)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GB" sz="1000"/>
                        <a:t>Sales Lif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/>
                        <a:t>Action* </a:t>
                      </a:r>
                      <a:r>
                        <a:rPr lang="en-GB" sz="1000">
                          <a:solidFill>
                            <a:schemeClr val="accent3"/>
                          </a:solidFill>
                        </a:rPr>
                        <a:t>(Clicks, BIN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/>
                        <a:t>Conversion to a Sal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00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000" b="1"/>
                        <a:t>Efficiency:</a:t>
                      </a:r>
                      <a:endParaRPr lang="en-GB" sz="1000"/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/>
                        <a:t>ROI, ROA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/>
                        <a:t>Cost per Ac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50"/>
                        <a:t>Cost per Conversion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7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2632291"/>
                  </a:ext>
                </a:extLst>
              </a:tr>
            </a:tbl>
          </a:graphicData>
        </a:graphic>
      </p:graphicFrame>
      <p:grpSp>
        <p:nvGrpSpPr>
          <p:cNvPr id="36" name="Group 35">
            <a:extLst>
              <a:ext uri="{FF2B5EF4-FFF2-40B4-BE49-F238E27FC236}">
                <a16:creationId xmlns:a16="http://schemas.microsoft.com/office/drawing/2014/main" id="{6A7ABC92-B7DD-B12F-2ED8-986CA8E61E31}"/>
              </a:ext>
            </a:extLst>
          </p:cNvPr>
          <p:cNvGrpSpPr/>
          <p:nvPr/>
        </p:nvGrpSpPr>
        <p:grpSpPr>
          <a:xfrm>
            <a:off x="991151" y="988720"/>
            <a:ext cx="10051590" cy="320988"/>
            <a:chOff x="954075" y="974044"/>
            <a:chExt cx="10051590" cy="320988"/>
          </a:xfrm>
        </p:grpSpPr>
        <p:sp>
          <p:nvSpPr>
            <p:cNvPr id="37" name="Rectangle: Rounded Corners 100">
              <a:extLst>
                <a:ext uri="{FF2B5EF4-FFF2-40B4-BE49-F238E27FC236}">
                  <a16:creationId xmlns:a16="http://schemas.microsoft.com/office/drawing/2014/main" id="{02B03DE6-F4AB-36DC-12EA-A6E223AC8026}"/>
                </a:ext>
              </a:extLst>
            </p:cNvPr>
            <p:cNvSpPr/>
            <p:nvPr/>
          </p:nvSpPr>
          <p:spPr>
            <a:xfrm>
              <a:off x="954075" y="976823"/>
              <a:ext cx="4606967" cy="318209"/>
            </a:xfrm>
            <a:prstGeom prst="roundRect">
              <a:avLst>
                <a:gd name="adj" fmla="val 50000"/>
              </a:avLst>
            </a:prstGeom>
            <a:solidFill>
              <a:srgbClr val="00BCFF"/>
            </a:solidFill>
            <a:ln w="25400" cap="flat" cmpd="sng" algn="ctr">
              <a:solidFill>
                <a:srgbClr val="00BC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600" b="1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  <a:sym typeface="Arial"/>
                </a:rPr>
                <a:t>Brand Building</a:t>
              </a:r>
            </a:p>
          </p:txBody>
        </p:sp>
        <p:sp>
          <p:nvSpPr>
            <p:cNvPr id="38" name="Rectangle: Rounded Corners 100">
              <a:extLst>
                <a:ext uri="{FF2B5EF4-FFF2-40B4-BE49-F238E27FC236}">
                  <a16:creationId xmlns:a16="http://schemas.microsoft.com/office/drawing/2014/main" id="{164068E5-93C4-64DC-F893-72067AC93271}"/>
                </a:ext>
              </a:extLst>
            </p:cNvPr>
            <p:cNvSpPr/>
            <p:nvPr/>
          </p:nvSpPr>
          <p:spPr>
            <a:xfrm>
              <a:off x="6397665" y="974044"/>
              <a:ext cx="4608000" cy="316800"/>
            </a:xfrm>
            <a:prstGeom prst="roundRect">
              <a:avLst>
                <a:gd name="adj" fmla="val 50000"/>
              </a:avLst>
            </a:prstGeom>
            <a:solidFill>
              <a:srgbClr val="00BCFF"/>
            </a:solidFill>
            <a:ln w="25400" cap="flat" cmpd="sng" algn="ctr">
              <a:solidFill>
                <a:srgbClr val="00BC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600" b="1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  <a:sym typeface="Arial"/>
                </a:rPr>
                <a:t>Performance Marketing</a:t>
              </a:r>
            </a:p>
          </p:txBody>
        </p:sp>
        <p:pic>
          <p:nvPicPr>
            <p:cNvPr id="39" name="Graphic 38" descr="Brainstorm outline">
              <a:extLst>
                <a:ext uri="{FF2B5EF4-FFF2-40B4-BE49-F238E27FC236}">
                  <a16:creationId xmlns:a16="http://schemas.microsoft.com/office/drawing/2014/main" id="{727F8D60-4249-BC20-51C7-BF1DB63211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50582" y="990738"/>
              <a:ext cx="288000" cy="288000"/>
            </a:xfrm>
            <a:prstGeom prst="rect">
              <a:avLst/>
            </a:prstGeom>
          </p:spPr>
        </p:pic>
        <p:pic>
          <p:nvPicPr>
            <p:cNvPr id="40" name="Graphic 39" descr="Philanthropy outline">
              <a:extLst>
                <a:ext uri="{FF2B5EF4-FFF2-40B4-BE49-F238E27FC236}">
                  <a16:creationId xmlns:a16="http://schemas.microsoft.com/office/drawing/2014/main" id="{A14EBCF1-3AA9-E4C6-5972-A313A925A4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630960" y="995483"/>
              <a:ext cx="288000" cy="288000"/>
            </a:xfrm>
            <a:prstGeom prst="rect">
              <a:avLst/>
            </a:prstGeom>
          </p:spPr>
        </p:pic>
      </p:grpSp>
      <p:graphicFrame>
        <p:nvGraphicFramePr>
          <p:cNvPr id="41" name="Table 5">
            <a:extLst>
              <a:ext uri="{FF2B5EF4-FFF2-40B4-BE49-F238E27FC236}">
                <a16:creationId xmlns:a16="http://schemas.microsoft.com/office/drawing/2014/main" id="{8901EE96-D99D-0530-CE7B-78A12B02C247}"/>
              </a:ext>
            </a:extLst>
          </p:cNvPr>
          <p:cNvGraphicFramePr>
            <a:graphicFrameLocks noGrp="1"/>
          </p:cNvGraphicFramePr>
          <p:nvPr/>
        </p:nvGraphicFramePr>
        <p:xfrm>
          <a:off x="805975" y="5692441"/>
          <a:ext cx="10672715" cy="470881"/>
        </p:xfrm>
        <a:graphic>
          <a:graphicData uri="http://schemas.openxmlformats.org/drawingml/2006/table">
            <a:tbl>
              <a:tblPr firstRow="1" bandRow="1"/>
              <a:tblGrid>
                <a:gridCol w="3482614">
                  <a:extLst>
                    <a:ext uri="{9D8B030D-6E8A-4147-A177-3AD203B41FA5}">
                      <a16:colId xmlns:a16="http://schemas.microsoft.com/office/drawing/2014/main" val="2471671939"/>
                    </a:ext>
                  </a:extLst>
                </a:gridCol>
                <a:gridCol w="7190101">
                  <a:extLst>
                    <a:ext uri="{9D8B030D-6E8A-4147-A177-3AD203B41FA5}">
                      <a16:colId xmlns:a16="http://schemas.microsoft.com/office/drawing/2014/main" val="3316202255"/>
                    </a:ext>
                  </a:extLst>
                </a:gridCol>
              </a:tblGrid>
              <a:tr h="470881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US" sz="1050" b="1" i="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ampaign Execution KPIs: Media Excellence</a:t>
                      </a:r>
                    </a:p>
                    <a:p>
                      <a:pPr algn="l"/>
                      <a:r>
                        <a:rPr lang="en-US" sz="1050" b="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(Sufficiency &amp; Channel best practice)</a:t>
                      </a:r>
                      <a:endParaRPr lang="en-GB" sz="1050" b="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CFF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0"/>
                        <a:t>Reach, Continuity, Frequency, Impressions Share, Search Quality Scor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/>
                        <a:t>Cost per effective Reach, </a:t>
                      </a:r>
                      <a:r>
                        <a:rPr lang="en-US" sz="1050" b="0" err="1"/>
                        <a:t>vCPM</a:t>
                      </a:r>
                      <a:endParaRPr lang="en-US" sz="1050" b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8296642"/>
                  </a:ext>
                </a:extLst>
              </a:tr>
            </a:tbl>
          </a:graphicData>
        </a:graphic>
      </p:graphicFrame>
      <p:graphicFrame>
        <p:nvGraphicFramePr>
          <p:cNvPr id="42" name="Table 5">
            <a:extLst>
              <a:ext uri="{FF2B5EF4-FFF2-40B4-BE49-F238E27FC236}">
                <a16:creationId xmlns:a16="http://schemas.microsoft.com/office/drawing/2014/main" id="{282C0458-189D-FAA7-2047-D6D517265568}"/>
              </a:ext>
            </a:extLst>
          </p:cNvPr>
          <p:cNvGraphicFramePr>
            <a:graphicFrameLocks noGrp="1"/>
          </p:cNvGraphicFramePr>
          <p:nvPr/>
        </p:nvGraphicFramePr>
        <p:xfrm>
          <a:off x="805975" y="5084708"/>
          <a:ext cx="10672716" cy="556260"/>
        </p:xfrm>
        <a:graphic>
          <a:graphicData uri="http://schemas.openxmlformats.org/drawingml/2006/table">
            <a:tbl>
              <a:tblPr firstRow="1" bandRow="1"/>
              <a:tblGrid>
                <a:gridCol w="10672716">
                  <a:extLst>
                    <a:ext uri="{9D8B030D-6E8A-4147-A177-3AD203B41FA5}">
                      <a16:colId xmlns:a16="http://schemas.microsoft.com/office/drawing/2014/main" val="2471671939"/>
                    </a:ext>
                  </a:extLst>
                </a:gridCol>
              </a:tblGrid>
              <a:tr h="41311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50" b="1"/>
                        <a:t>      </a:t>
                      </a:r>
                      <a:r>
                        <a:rPr lang="en-US" sz="1000" b="1"/>
                        <a:t>SHORT &amp; LONG TERM MEDIA CONTRIBUTION TO SALES</a:t>
                      </a:r>
                      <a:endParaRPr lang="en-US" sz="1050" b="1"/>
                    </a:p>
                    <a:p>
                      <a:pPr algn="l"/>
                      <a:r>
                        <a:rPr lang="en-US" sz="1000" b="1"/>
                        <a:t>Full Funnel Campaign KPIs:                                                                                    SHORT &amp; LONG TERM ROI</a:t>
                      </a:r>
                    </a:p>
                    <a:p>
                      <a:pPr algn="ctr"/>
                      <a:r>
                        <a:rPr lang="en-US" sz="1000" b="1"/>
                        <a:t>BRAND EQUITY CONTRIBUTION TO BASE SALES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162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8296642"/>
                  </a:ext>
                </a:extLst>
              </a:tr>
            </a:tbl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4851C03E-9460-ACDC-58DF-CF89E4815F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44" name="Round Same-side Corner of Rectangle 1">
              <a:extLst>
                <a:ext uri="{FF2B5EF4-FFF2-40B4-BE49-F238E27FC236}">
                  <a16:creationId xmlns:a16="http://schemas.microsoft.com/office/drawing/2014/main" id="{A9796A19-49DB-66FD-9932-CD0E6CC42F7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rgbClr val="F5F5F5"/>
            </a:solidFill>
            <a:ln w="12700">
              <a:solidFill>
                <a:schemeClr val="accent3"/>
              </a:solidFill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ADF794DC-0DC3-DC38-71D8-EA5B2AFE0481}"/>
                </a:ext>
              </a:extLst>
            </p:cNvPr>
            <p:cNvGrpSpPr/>
            <p:nvPr/>
          </p:nvGrpSpPr>
          <p:grpSpPr>
            <a:xfrm>
              <a:off x="10337275" y="124456"/>
              <a:ext cx="1467015" cy="307777"/>
              <a:chOff x="1940295" y="2086507"/>
              <a:chExt cx="3093867" cy="649088"/>
            </a:xfrm>
          </p:grpSpPr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1E6E7A7D-531C-F70F-780E-70E2095C44D2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3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4BB69CA7-87D6-FABD-1668-EEC8FBE23AE5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515887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>
                    <a:ln>
                      <a:noFill/>
                    </a:ln>
                    <a:solidFill>
                      <a:srgbClr val="3353D0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ttribution</a:t>
                </a:r>
              </a:p>
            </p:txBody>
          </p:sp>
        </p:grpSp>
      </p:grpSp>
      <p:sp>
        <p:nvSpPr>
          <p:cNvPr id="48" name="Google Shape;1289;p42">
            <a:extLst>
              <a:ext uri="{FF2B5EF4-FFF2-40B4-BE49-F238E27FC236}">
                <a16:creationId xmlns:a16="http://schemas.microsoft.com/office/drawing/2014/main" id="{FEAA39AA-A577-C704-7CF7-B5C84D55645C}"/>
              </a:ext>
            </a:extLst>
          </p:cNvPr>
          <p:cNvSpPr>
            <a:spLocks noChangeAspect="1"/>
          </p:cNvSpPr>
          <p:nvPr/>
        </p:nvSpPr>
        <p:spPr>
          <a:xfrm>
            <a:off x="10387394" y="185135"/>
            <a:ext cx="173822" cy="1737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29" h="21561" extrusionOk="0">
                <a:moveTo>
                  <a:pt x="2333" y="17662"/>
                </a:moveTo>
                <a:cubicBezTo>
                  <a:pt x="2051" y="17674"/>
                  <a:pt x="1776" y="17573"/>
                  <a:pt x="1568" y="17383"/>
                </a:cubicBezTo>
                <a:cubicBezTo>
                  <a:pt x="895" y="16708"/>
                  <a:pt x="698" y="15663"/>
                  <a:pt x="639" y="15099"/>
                </a:cubicBezTo>
                <a:cubicBezTo>
                  <a:pt x="631" y="15013"/>
                  <a:pt x="693" y="14937"/>
                  <a:pt x="778" y="14929"/>
                </a:cubicBezTo>
                <a:cubicBezTo>
                  <a:pt x="783" y="14928"/>
                  <a:pt x="789" y="14928"/>
                  <a:pt x="794" y="14928"/>
                </a:cubicBezTo>
                <a:lnTo>
                  <a:pt x="811" y="14928"/>
                </a:lnTo>
                <a:cubicBezTo>
                  <a:pt x="1367" y="14985"/>
                  <a:pt x="2393" y="15178"/>
                  <a:pt x="3066" y="15832"/>
                </a:cubicBezTo>
                <a:lnTo>
                  <a:pt x="3080" y="15849"/>
                </a:lnTo>
                <a:cubicBezTo>
                  <a:pt x="3397" y="16195"/>
                  <a:pt x="3456" y="16704"/>
                  <a:pt x="3227" y="17113"/>
                </a:cubicBezTo>
                <a:cubicBezTo>
                  <a:pt x="3017" y="16822"/>
                  <a:pt x="2768" y="16561"/>
                  <a:pt x="2488" y="16338"/>
                </a:cubicBezTo>
                <a:cubicBezTo>
                  <a:pt x="2356" y="16228"/>
                  <a:pt x="2161" y="16246"/>
                  <a:pt x="2051" y="16377"/>
                </a:cubicBezTo>
                <a:cubicBezTo>
                  <a:pt x="1942" y="16509"/>
                  <a:pt x="1960" y="16705"/>
                  <a:pt x="2091" y="16814"/>
                </a:cubicBezTo>
                <a:cubicBezTo>
                  <a:pt x="2101" y="16822"/>
                  <a:pt x="2111" y="16830"/>
                  <a:pt x="2122" y="16837"/>
                </a:cubicBezTo>
                <a:cubicBezTo>
                  <a:pt x="2370" y="17043"/>
                  <a:pt x="2590" y="17281"/>
                  <a:pt x="2775" y="17544"/>
                </a:cubicBezTo>
                <a:cubicBezTo>
                  <a:pt x="2638" y="17615"/>
                  <a:pt x="2487" y="17656"/>
                  <a:pt x="2333" y="17662"/>
                </a:cubicBezTo>
                <a:cubicBezTo>
                  <a:pt x="2333" y="17662"/>
                  <a:pt x="2333" y="17662"/>
                  <a:pt x="2333" y="17662"/>
                </a:cubicBezTo>
                <a:close/>
                <a:moveTo>
                  <a:pt x="5294" y="15849"/>
                </a:moveTo>
                <a:lnTo>
                  <a:pt x="5308" y="15832"/>
                </a:lnTo>
                <a:cubicBezTo>
                  <a:pt x="5981" y="15178"/>
                  <a:pt x="7011" y="14985"/>
                  <a:pt x="7563" y="14928"/>
                </a:cubicBezTo>
                <a:cubicBezTo>
                  <a:pt x="7648" y="14919"/>
                  <a:pt x="7724" y="14981"/>
                  <a:pt x="7733" y="15066"/>
                </a:cubicBezTo>
                <a:cubicBezTo>
                  <a:pt x="7735" y="15077"/>
                  <a:pt x="7735" y="15088"/>
                  <a:pt x="7733" y="15099"/>
                </a:cubicBezTo>
                <a:cubicBezTo>
                  <a:pt x="7676" y="15663"/>
                  <a:pt x="7480" y="16708"/>
                  <a:pt x="6816" y="17375"/>
                </a:cubicBezTo>
                <a:cubicBezTo>
                  <a:pt x="6485" y="17683"/>
                  <a:pt x="5997" y="17751"/>
                  <a:pt x="5596" y="17544"/>
                </a:cubicBezTo>
                <a:cubicBezTo>
                  <a:pt x="5781" y="17279"/>
                  <a:pt x="6002" y="17042"/>
                  <a:pt x="6254" y="16839"/>
                </a:cubicBezTo>
                <a:cubicBezTo>
                  <a:pt x="6388" y="16733"/>
                  <a:pt x="6412" y="16538"/>
                  <a:pt x="6306" y="16403"/>
                </a:cubicBezTo>
                <a:cubicBezTo>
                  <a:pt x="6205" y="16274"/>
                  <a:pt x="6021" y="16246"/>
                  <a:pt x="5887" y="16339"/>
                </a:cubicBezTo>
                <a:cubicBezTo>
                  <a:pt x="5606" y="16563"/>
                  <a:pt x="5357" y="16824"/>
                  <a:pt x="5147" y="17115"/>
                </a:cubicBezTo>
                <a:cubicBezTo>
                  <a:pt x="4918" y="16705"/>
                  <a:pt x="4977" y="16195"/>
                  <a:pt x="5294" y="15849"/>
                </a:cubicBezTo>
                <a:cubicBezTo>
                  <a:pt x="5294" y="15849"/>
                  <a:pt x="5294" y="15849"/>
                  <a:pt x="5294" y="15849"/>
                </a:cubicBezTo>
                <a:close/>
                <a:moveTo>
                  <a:pt x="8153" y="10232"/>
                </a:moveTo>
                <a:cubicBezTo>
                  <a:pt x="7480" y="9557"/>
                  <a:pt x="7283" y="8512"/>
                  <a:pt x="7224" y="7948"/>
                </a:cubicBezTo>
                <a:cubicBezTo>
                  <a:pt x="7216" y="7862"/>
                  <a:pt x="7278" y="7786"/>
                  <a:pt x="7363" y="7778"/>
                </a:cubicBezTo>
                <a:cubicBezTo>
                  <a:pt x="7368" y="7777"/>
                  <a:pt x="7374" y="7777"/>
                  <a:pt x="7379" y="7777"/>
                </a:cubicBezTo>
                <a:lnTo>
                  <a:pt x="7396" y="7777"/>
                </a:lnTo>
                <a:cubicBezTo>
                  <a:pt x="7952" y="7834"/>
                  <a:pt x="8978" y="8027"/>
                  <a:pt x="9651" y="8681"/>
                </a:cubicBezTo>
                <a:cubicBezTo>
                  <a:pt x="9656" y="8688"/>
                  <a:pt x="9661" y="8693"/>
                  <a:pt x="9667" y="8698"/>
                </a:cubicBezTo>
                <a:cubicBezTo>
                  <a:pt x="9982" y="9044"/>
                  <a:pt x="10041" y="9554"/>
                  <a:pt x="9812" y="9962"/>
                </a:cubicBezTo>
                <a:cubicBezTo>
                  <a:pt x="9602" y="9672"/>
                  <a:pt x="9354" y="9411"/>
                  <a:pt x="9074" y="9187"/>
                </a:cubicBezTo>
                <a:cubicBezTo>
                  <a:pt x="8936" y="9085"/>
                  <a:pt x="8742" y="9114"/>
                  <a:pt x="8641" y="9252"/>
                </a:cubicBezTo>
                <a:cubicBezTo>
                  <a:pt x="8539" y="9390"/>
                  <a:pt x="8568" y="9584"/>
                  <a:pt x="8706" y="9686"/>
                </a:cubicBezTo>
                <a:cubicBezTo>
                  <a:pt x="8957" y="9890"/>
                  <a:pt x="9179" y="10127"/>
                  <a:pt x="9365" y="10392"/>
                </a:cubicBezTo>
                <a:cubicBezTo>
                  <a:pt x="8967" y="10597"/>
                  <a:pt x="8484" y="10533"/>
                  <a:pt x="8153" y="10232"/>
                </a:cubicBezTo>
                <a:cubicBezTo>
                  <a:pt x="8153" y="10232"/>
                  <a:pt x="8153" y="10232"/>
                  <a:pt x="8153" y="10232"/>
                </a:cubicBezTo>
                <a:close/>
                <a:moveTo>
                  <a:pt x="11879" y="8698"/>
                </a:moveTo>
                <a:lnTo>
                  <a:pt x="11893" y="8683"/>
                </a:lnTo>
                <a:cubicBezTo>
                  <a:pt x="12566" y="8027"/>
                  <a:pt x="13595" y="7834"/>
                  <a:pt x="14148" y="7777"/>
                </a:cubicBezTo>
                <a:cubicBezTo>
                  <a:pt x="14233" y="7768"/>
                  <a:pt x="14309" y="7830"/>
                  <a:pt x="14318" y="7915"/>
                </a:cubicBezTo>
                <a:cubicBezTo>
                  <a:pt x="14319" y="7926"/>
                  <a:pt x="14319" y="7937"/>
                  <a:pt x="14318" y="7948"/>
                </a:cubicBezTo>
                <a:cubicBezTo>
                  <a:pt x="14261" y="8512"/>
                  <a:pt x="14064" y="9557"/>
                  <a:pt x="13400" y="10224"/>
                </a:cubicBezTo>
                <a:cubicBezTo>
                  <a:pt x="13071" y="10530"/>
                  <a:pt x="12586" y="10598"/>
                  <a:pt x="12185" y="10395"/>
                </a:cubicBezTo>
                <a:cubicBezTo>
                  <a:pt x="12370" y="10131"/>
                  <a:pt x="12590" y="9893"/>
                  <a:pt x="12838" y="9688"/>
                </a:cubicBezTo>
                <a:cubicBezTo>
                  <a:pt x="12973" y="9582"/>
                  <a:pt x="12997" y="9387"/>
                  <a:pt x="12891" y="9252"/>
                </a:cubicBezTo>
                <a:cubicBezTo>
                  <a:pt x="12790" y="9123"/>
                  <a:pt x="12606" y="9095"/>
                  <a:pt x="12472" y="9188"/>
                </a:cubicBezTo>
                <a:cubicBezTo>
                  <a:pt x="12192" y="9413"/>
                  <a:pt x="11943" y="9673"/>
                  <a:pt x="11732" y="9964"/>
                </a:cubicBezTo>
                <a:cubicBezTo>
                  <a:pt x="11503" y="9554"/>
                  <a:pt x="11562" y="9044"/>
                  <a:pt x="11879" y="8698"/>
                </a:cubicBezTo>
                <a:cubicBezTo>
                  <a:pt x="11879" y="8698"/>
                  <a:pt x="11879" y="8698"/>
                  <a:pt x="11879" y="8698"/>
                </a:cubicBezTo>
                <a:close/>
                <a:moveTo>
                  <a:pt x="12291" y="14685"/>
                </a:moveTo>
                <a:lnTo>
                  <a:pt x="12301" y="14677"/>
                </a:lnTo>
                <a:cubicBezTo>
                  <a:pt x="12632" y="14517"/>
                  <a:pt x="13000" y="14454"/>
                  <a:pt x="13365" y="14495"/>
                </a:cubicBezTo>
                <a:cubicBezTo>
                  <a:pt x="13415" y="14498"/>
                  <a:pt x="13461" y="14527"/>
                  <a:pt x="13486" y="14571"/>
                </a:cubicBezTo>
                <a:cubicBezTo>
                  <a:pt x="13509" y="14616"/>
                  <a:pt x="13509" y="14670"/>
                  <a:pt x="13486" y="14716"/>
                </a:cubicBezTo>
                <a:cubicBezTo>
                  <a:pt x="13337" y="15056"/>
                  <a:pt x="13094" y="15348"/>
                  <a:pt x="12786" y="15555"/>
                </a:cubicBezTo>
                <a:cubicBezTo>
                  <a:pt x="12543" y="15688"/>
                  <a:pt x="12238" y="15599"/>
                  <a:pt x="12105" y="15356"/>
                </a:cubicBezTo>
                <a:cubicBezTo>
                  <a:pt x="11976" y="15120"/>
                  <a:pt x="12055" y="14824"/>
                  <a:pt x="12284" y="14685"/>
                </a:cubicBezTo>
                <a:cubicBezTo>
                  <a:pt x="12284" y="14685"/>
                  <a:pt x="12291" y="14685"/>
                  <a:pt x="12291" y="14685"/>
                </a:cubicBezTo>
                <a:close/>
                <a:moveTo>
                  <a:pt x="15715" y="18484"/>
                </a:moveTo>
                <a:cubicBezTo>
                  <a:pt x="15592" y="18523"/>
                  <a:pt x="15458" y="18512"/>
                  <a:pt x="15343" y="18455"/>
                </a:cubicBezTo>
                <a:cubicBezTo>
                  <a:pt x="15031" y="18246"/>
                  <a:pt x="14785" y="17952"/>
                  <a:pt x="14636" y="17608"/>
                </a:cubicBezTo>
                <a:cubicBezTo>
                  <a:pt x="14612" y="17563"/>
                  <a:pt x="14612" y="17509"/>
                  <a:pt x="14636" y="17464"/>
                </a:cubicBezTo>
                <a:cubicBezTo>
                  <a:pt x="14661" y="17420"/>
                  <a:pt x="14706" y="17392"/>
                  <a:pt x="14756" y="17388"/>
                </a:cubicBezTo>
                <a:cubicBezTo>
                  <a:pt x="14821" y="17388"/>
                  <a:pt x="14893" y="17380"/>
                  <a:pt x="14967" y="17380"/>
                </a:cubicBezTo>
                <a:cubicBezTo>
                  <a:pt x="15263" y="17371"/>
                  <a:pt x="15556" y="17436"/>
                  <a:pt x="15821" y="17569"/>
                </a:cubicBezTo>
                <a:lnTo>
                  <a:pt x="15832" y="17569"/>
                </a:lnTo>
                <a:cubicBezTo>
                  <a:pt x="16067" y="17717"/>
                  <a:pt x="16137" y="18027"/>
                  <a:pt x="15990" y="18262"/>
                </a:cubicBezTo>
                <a:cubicBezTo>
                  <a:pt x="15926" y="18364"/>
                  <a:pt x="15828" y="18439"/>
                  <a:pt x="15713" y="18475"/>
                </a:cubicBezTo>
                <a:cubicBezTo>
                  <a:pt x="15713" y="18475"/>
                  <a:pt x="15715" y="18484"/>
                  <a:pt x="15715" y="18484"/>
                </a:cubicBezTo>
                <a:close/>
                <a:moveTo>
                  <a:pt x="15502" y="3360"/>
                </a:moveTo>
                <a:cubicBezTo>
                  <a:pt x="15221" y="3373"/>
                  <a:pt x="14945" y="3273"/>
                  <a:pt x="14738" y="3081"/>
                </a:cubicBezTo>
                <a:cubicBezTo>
                  <a:pt x="14066" y="2406"/>
                  <a:pt x="13869" y="1361"/>
                  <a:pt x="13809" y="798"/>
                </a:cubicBezTo>
                <a:cubicBezTo>
                  <a:pt x="13803" y="751"/>
                  <a:pt x="13819" y="705"/>
                  <a:pt x="13852" y="671"/>
                </a:cubicBezTo>
                <a:cubicBezTo>
                  <a:pt x="13882" y="642"/>
                  <a:pt x="13921" y="626"/>
                  <a:pt x="13962" y="626"/>
                </a:cubicBezTo>
                <a:lnTo>
                  <a:pt x="13979" y="626"/>
                </a:lnTo>
                <a:cubicBezTo>
                  <a:pt x="14535" y="684"/>
                  <a:pt x="15560" y="877"/>
                  <a:pt x="16233" y="1530"/>
                </a:cubicBezTo>
                <a:lnTo>
                  <a:pt x="16249" y="1549"/>
                </a:lnTo>
                <a:cubicBezTo>
                  <a:pt x="16564" y="1894"/>
                  <a:pt x="16623" y="2403"/>
                  <a:pt x="16396" y="2811"/>
                </a:cubicBezTo>
                <a:cubicBezTo>
                  <a:pt x="16184" y="2521"/>
                  <a:pt x="15935" y="2261"/>
                  <a:pt x="15656" y="2036"/>
                </a:cubicBezTo>
                <a:cubicBezTo>
                  <a:pt x="15518" y="1934"/>
                  <a:pt x="15324" y="1964"/>
                  <a:pt x="15222" y="2103"/>
                </a:cubicBezTo>
                <a:cubicBezTo>
                  <a:pt x="15121" y="2241"/>
                  <a:pt x="15151" y="2435"/>
                  <a:pt x="15289" y="2537"/>
                </a:cubicBezTo>
                <a:cubicBezTo>
                  <a:pt x="15538" y="2741"/>
                  <a:pt x="15758" y="2979"/>
                  <a:pt x="15942" y="3244"/>
                </a:cubicBezTo>
                <a:cubicBezTo>
                  <a:pt x="15805" y="3313"/>
                  <a:pt x="15656" y="3353"/>
                  <a:pt x="15502" y="3360"/>
                </a:cubicBezTo>
                <a:close/>
                <a:moveTo>
                  <a:pt x="18464" y="1549"/>
                </a:moveTo>
                <a:lnTo>
                  <a:pt x="18478" y="1532"/>
                </a:lnTo>
                <a:cubicBezTo>
                  <a:pt x="19151" y="877"/>
                  <a:pt x="20180" y="684"/>
                  <a:pt x="20733" y="628"/>
                </a:cubicBezTo>
                <a:cubicBezTo>
                  <a:pt x="20818" y="619"/>
                  <a:pt x="20894" y="680"/>
                  <a:pt x="20903" y="766"/>
                </a:cubicBezTo>
                <a:cubicBezTo>
                  <a:pt x="20904" y="776"/>
                  <a:pt x="20904" y="787"/>
                  <a:pt x="20903" y="798"/>
                </a:cubicBezTo>
                <a:cubicBezTo>
                  <a:pt x="20846" y="1361"/>
                  <a:pt x="20649" y="2407"/>
                  <a:pt x="19985" y="3073"/>
                </a:cubicBezTo>
                <a:cubicBezTo>
                  <a:pt x="19776" y="3269"/>
                  <a:pt x="19497" y="3373"/>
                  <a:pt x="19211" y="3360"/>
                </a:cubicBezTo>
                <a:cubicBezTo>
                  <a:pt x="19057" y="3354"/>
                  <a:pt x="18906" y="3315"/>
                  <a:pt x="18769" y="3246"/>
                </a:cubicBezTo>
                <a:cubicBezTo>
                  <a:pt x="18954" y="2981"/>
                  <a:pt x="19174" y="2743"/>
                  <a:pt x="19422" y="2537"/>
                </a:cubicBezTo>
                <a:cubicBezTo>
                  <a:pt x="19563" y="2440"/>
                  <a:pt x="19598" y="2246"/>
                  <a:pt x="19501" y="2105"/>
                </a:cubicBezTo>
                <a:cubicBezTo>
                  <a:pt x="19404" y="1964"/>
                  <a:pt x="19211" y="1929"/>
                  <a:pt x="19070" y="2026"/>
                </a:cubicBezTo>
                <a:cubicBezTo>
                  <a:pt x="19065" y="2030"/>
                  <a:pt x="19060" y="2034"/>
                  <a:pt x="19055" y="2037"/>
                </a:cubicBezTo>
                <a:cubicBezTo>
                  <a:pt x="18775" y="2262"/>
                  <a:pt x="18527" y="2523"/>
                  <a:pt x="18315" y="2813"/>
                </a:cubicBezTo>
                <a:cubicBezTo>
                  <a:pt x="18087" y="2404"/>
                  <a:pt x="18147" y="1894"/>
                  <a:pt x="18464" y="1549"/>
                </a:cubicBezTo>
                <a:close/>
                <a:moveTo>
                  <a:pt x="19101" y="8984"/>
                </a:moveTo>
                <a:lnTo>
                  <a:pt x="19115" y="8973"/>
                </a:lnTo>
                <a:cubicBezTo>
                  <a:pt x="19620" y="8633"/>
                  <a:pt x="20275" y="8584"/>
                  <a:pt x="20739" y="8601"/>
                </a:cubicBezTo>
                <a:cubicBezTo>
                  <a:pt x="20787" y="8602"/>
                  <a:pt x="20832" y="8626"/>
                  <a:pt x="20860" y="8666"/>
                </a:cubicBezTo>
                <a:cubicBezTo>
                  <a:pt x="20887" y="8706"/>
                  <a:pt x="20895" y="8756"/>
                  <a:pt x="20880" y="8802"/>
                </a:cubicBezTo>
                <a:cubicBezTo>
                  <a:pt x="20736" y="9252"/>
                  <a:pt x="20457" y="9863"/>
                  <a:pt x="19960" y="10213"/>
                </a:cubicBezTo>
                <a:cubicBezTo>
                  <a:pt x="19794" y="10321"/>
                  <a:pt x="19591" y="10358"/>
                  <a:pt x="19397" y="10316"/>
                </a:cubicBezTo>
                <a:cubicBezTo>
                  <a:pt x="19328" y="10300"/>
                  <a:pt x="19262" y="10274"/>
                  <a:pt x="19200" y="10240"/>
                </a:cubicBezTo>
                <a:cubicBezTo>
                  <a:pt x="19364" y="10103"/>
                  <a:pt x="19540" y="9983"/>
                  <a:pt x="19727" y="9880"/>
                </a:cubicBezTo>
                <a:cubicBezTo>
                  <a:pt x="19882" y="9808"/>
                  <a:pt x="19949" y="9623"/>
                  <a:pt x="19876" y="9468"/>
                </a:cubicBezTo>
                <a:cubicBezTo>
                  <a:pt x="19804" y="9313"/>
                  <a:pt x="19620" y="9245"/>
                  <a:pt x="19465" y="9318"/>
                </a:cubicBezTo>
                <a:cubicBezTo>
                  <a:pt x="19459" y="9321"/>
                  <a:pt x="19454" y="9323"/>
                  <a:pt x="19448" y="9326"/>
                </a:cubicBezTo>
                <a:cubicBezTo>
                  <a:pt x="19228" y="9446"/>
                  <a:pt x="19021" y="9586"/>
                  <a:pt x="18829" y="9747"/>
                </a:cubicBezTo>
                <a:cubicBezTo>
                  <a:pt x="18765" y="9461"/>
                  <a:pt x="18871" y="9164"/>
                  <a:pt x="19101" y="8984"/>
                </a:cubicBezTo>
                <a:close/>
                <a:moveTo>
                  <a:pt x="21214" y="20942"/>
                </a:moveTo>
                <a:lnTo>
                  <a:pt x="17666" y="20942"/>
                </a:lnTo>
                <a:lnTo>
                  <a:pt x="17666" y="13551"/>
                </a:lnTo>
                <a:cubicBezTo>
                  <a:pt x="17647" y="12493"/>
                  <a:pt x="18030" y="11466"/>
                  <a:pt x="18738" y="10680"/>
                </a:cubicBezTo>
                <a:cubicBezTo>
                  <a:pt x="18894" y="10798"/>
                  <a:pt x="19074" y="10881"/>
                  <a:pt x="19265" y="10922"/>
                </a:cubicBezTo>
                <a:cubicBezTo>
                  <a:pt x="19361" y="10943"/>
                  <a:pt x="19459" y="10953"/>
                  <a:pt x="19556" y="10953"/>
                </a:cubicBezTo>
                <a:cubicBezTo>
                  <a:pt x="19823" y="10952"/>
                  <a:pt x="20083" y="10874"/>
                  <a:pt x="20306" y="10728"/>
                </a:cubicBezTo>
                <a:cubicBezTo>
                  <a:pt x="20954" y="10272"/>
                  <a:pt x="21296" y="9531"/>
                  <a:pt x="21470" y="8991"/>
                </a:cubicBezTo>
                <a:cubicBezTo>
                  <a:pt x="21600" y="8584"/>
                  <a:pt x="21376" y="8147"/>
                  <a:pt x="20969" y="8017"/>
                </a:cubicBezTo>
                <a:cubicBezTo>
                  <a:pt x="20902" y="7995"/>
                  <a:pt x="20833" y="7983"/>
                  <a:pt x="20764" y="7980"/>
                </a:cubicBezTo>
                <a:cubicBezTo>
                  <a:pt x="20197" y="7957"/>
                  <a:pt x="19385" y="8027"/>
                  <a:pt x="18736" y="8481"/>
                </a:cubicBezTo>
                <a:lnTo>
                  <a:pt x="18699" y="8512"/>
                </a:lnTo>
                <a:cubicBezTo>
                  <a:pt x="18196" y="8920"/>
                  <a:pt x="18045" y="9624"/>
                  <a:pt x="18335" y="10203"/>
                </a:cubicBezTo>
                <a:cubicBezTo>
                  <a:pt x="18078" y="10478"/>
                  <a:pt x="17853" y="10782"/>
                  <a:pt x="17666" y="11110"/>
                </a:cubicBezTo>
                <a:lnTo>
                  <a:pt x="17666" y="6951"/>
                </a:lnTo>
                <a:cubicBezTo>
                  <a:pt x="17648" y="5841"/>
                  <a:pt x="17914" y="4746"/>
                  <a:pt x="18440" y="3770"/>
                </a:cubicBezTo>
                <a:cubicBezTo>
                  <a:pt x="18672" y="3898"/>
                  <a:pt x="18931" y="3969"/>
                  <a:pt x="19196" y="3979"/>
                </a:cubicBezTo>
                <a:lnTo>
                  <a:pt x="19262" y="3979"/>
                </a:lnTo>
                <a:cubicBezTo>
                  <a:pt x="19694" y="3977"/>
                  <a:pt x="20108" y="3810"/>
                  <a:pt x="20422" y="3514"/>
                </a:cubicBezTo>
                <a:cubicBezTo>
                  <a:pt x="21230" y="2704"/>
                  <a:pt x="21460" y="1498"/>
                  <a:pt x="21525" y="854"/>
                </a:cubicBezTo>
                <a:cubicBezTo>
                  <a:pt x="21569" y="428"/>
                  <a:pt x="21259" y="48"/>
                  <a:pt x="20834" y="4"/>
                </a:cubicBezTo>
                <a:cubicBezTo>
                  <a:pt x="20782" y="-1"/>
                  <a:pt x="20729" y="-1"/>
                  <a:pt x="20677" y="4"/>
                </a:cubicBezTo>
                <a:cubicBezTo>
                  <a:pt x="20032" y="69"/>
                  <a:pt x="18831" y="301"/>
                  <a:pt x="18022" y="1110"/>
                </a:cubicBezTo>
                <a:cubicBezTo>
                  <a:pt x="18010" y="1123"/>
                  <a:pt x="17999" y="1136"/>
                  <a:pt x="17988" y="1150"/>
                </a:cubicBezTo>
                <a:cubicBezTo>
                  <a:pt x="17439" y="1779"/>
                  <a:pt x="17425" y="2714"/>
                  <a:pt x="17956" y="3359"/>
                </a:cubicBezTo>
                <a:cubicBezTo>
                  <a:pt x="17705" y="3790"/>
                  <a:pt x="17506" y="4250"/>
                  <a:pt x="17365" y="4728"/>
                </a:cubicBezTo>
                <a:cubicBezTo>
                  <a:pt x="17222" y="4250"/>
                  <a:pt x="17023" y="3790"/>
                  <a:pt x="16772" y="3359"/>
                </a:cubicBezTo>
                <a:cubicBezTo>
                  <a:pt x="17302" y="2714"/>
                  <a:pt x="17288" y="1779"/>
                  <a:pt x="16739" y="1150"/>
                </a:cubicBezTo>
                <a:cubicBezTo>
                  <a:pt x="16729" y="1136"/>
                  <a:pt x="16718" y="1122"/>
                  <a:pt x="16705" y="1110"/>
                </a:cubicBezTo>
                <a:cubicBezTo>
                  <a:pt x="15897" y="301"/>
                  <a:pt x="14693" y="69"/>
                  <a:pt x="14051" y="4"/>
                </a:cubicBezTo>
                <a:cubicBezTo>
                  <a:pt x="13625" y="-39"/>
                  <a:pt x="13245" y="271"/>
                  <a:pt x="13202" y="697"/>
                </a:cubicBezTo>
                <a:cubicBezTo>
                  <a:pt x="13197" y="749"/>
                  <a:pt x="13197" y="802"/>
                  <a:pt x="13202" y="854"/>
                </a:cubicBezTo>
                <a:cubicBezTo>
                  <a:pt x="13267" y="1499"/>
                  <a:pt x="13498" y="2704"/>
                  <a:pt x="14315" y="3523"/>
                </a:cubicBezTo>
                <a:cubicBezTo>
                  <a:pt x="14628" y="3814"/>
                  <a:pt x="15039" y="3976"/>
                  <a:pt x="15465" y="3974"/>
                </a:cubicBezTo>
                <a:lnTo>
                  <a:pt x="15533" y="3974"/>
                </a:lnTo>
                <a:cubicBezTo>
                  <a:pt x="15797" y="3965"/>
                  <a:pt x="16055" y="3893"/>
                  <a:pt x="16286" y="3765"/>
                </a:cubicBezTo>
                <a:cubicBezTo>
                  <a:pt x="16814" y="4741"/>
                  <a:pt x="17080" y="5836"/>
                  <a:pt x="17060" y="6946"/>
                </a:cubicBezTo>
                <a:lnTo>
                  <a:pt x="17060" y="18462"/>
                </a:lnTo>
                <a:lnTo>
                  <a:pt x="16673" y="18238"/>
                </a:lnTo>
                <a:cubicBezTo>
                  <a:pt x="16770" y="17789"/>
                  <a:pt x="16586" y="17326"/>
                  <a:pt x="16208" y="17067"/>
                </a:cubicBezTo>
                <a:lnTo>
                  <a:pt x="16171" y="17040"/>
                </a:lnTo>
                <a:cubicBezTo>
                  <a:pt x="15728" y="16809"/>
                  <a:pt x="15226" y="16714"/>
                  <a:pt x="14728" y="16766"/>
                </a:cubicBezTo>
                <a:cubicBezTo>
                  <a:pt x="14302" y="16799"/>
                  <a:pt x="13984" y="17173"/>
                  <a:pt x="14018" y="17600"/>
                </a:cubicBezTo>
                <a:cubicBezTo>
                  <a:pt x="14025" y="17694"/>
                  <a:pt x="14050" y="17787"/>
                  <a:pt x="14091" y="17873"/>
                </a:cubicBezTo>
                <a:cubicBezTo>
                  <a:pt x="14297" y="18334"/>
                  <a:pt x="14634" y="18723"/>
                  <a:pt x="15060" y="18993"/>
                </a:cubicBezTo>
                <a:cubicBezTo>
                  <a:pt x="15499" y="19224"/>
                  <a:pt x="16037" y="19139"/>
                  <a:pt x="16385" y="18785"/>
                </a:cubicBezTo>
                <a:lnTo>
                  <a:pt x="17064" y="19179"/>
                </a:lnTo>
                <a:lnTo>
                  <a:pt x="17064" y="20938"/>
                </a:lnTo>
                <a:lnTo>
                  <a:pt x="11075" y="20938"/>
                </a:lnTo>
                <a:lnTo>
                  <a:pt x="11075" y="16285"/>
                </a:lnTo>
                <a:lnTo>
                  <a:pt x="11750" y="15896"/>
                </a:lnTo>
                <a:cubicBezTo>
                  <a:pt x="11961" y="16112"/>
                  <a:pt x="12249" y="16233"/>
                  <a:pt x="12551" y="16232"/>
                </a:cubicBezTo>
                <a:cubicBezTo>
                  <a:pt x="12737" y="16232"/>
                  <a:pt x="12920" y="16185"/>
                  <a:pt x="13085" y="16097"/>
                </a:cubicBezTo>
                <a:cubicBezTo>
                  <a:pt x="13506" y="15828"/>
                  <a:pt x="13840" y="15441"/>
                  <a:pt x="14044" y="14984"/>
                </a:cubicBezTo>
                <a:cubicBezTo>
                  <a:pt x="14228" y="14597"/>
                  <a:pt x="14065" y="14135"/>
                  <a:pt x="13679" y="13950"/>
                </a:cubicBezTo>
                <a:cubicBezTo>
                  <a:pt x="13593" y="13909"/>
                  <a:pt x="13500" y="13884"/>
                  <a:pt x="13405" y="13877"/>
                </a:cubicBezTo>
                <a:cubicBezTo>
                  <a:pt x="12908" y="13822"/>
                  <a:pt x="12406" y="13918"/>
                  <a:pt x="11964" y="14151"/>
                </a:cubicBezTo>
                <a:cubicBezTo>
                  <a:pt x="11951" y="14159"/>
                  <a:pt x="11938" y="14168"/>
                  <a:pt x="11927" y="14177"/>
                </a:cubicBezTo>
                <a:cubicBezTo>
                  <a:pt x="11549" y="14437"/>
                  <a:pt x="11365" y="14900"/>
                  <a:pt x="11462" y="15348"/>
                </a:cubicBezTo>
                <a:lnTo>
                  <a:pt x="11080" y="15569"/>
                </a:lnTo>
                <a:lnTo>
                  <a:pt x="11080" y="14101"/>
                </a:lnTo>
                <a:cubicBezTo>
                  <a:pt x="11061" y="12992"/>
                  <a:pt x="11327" y="11897"/>
                  <a:pt x="11854" y="10921"/>
                </a:cubicBezTo>
                <a:cubicBezTo>
                  <a:pt x="12499" y="11275"/>
                  <a:pt x="13298" y="11174"/>
                  <a:pt x="13835" y="10671"/>
                </a:cubicBezTo>
                <a:cubicBezTo>
                  <a:pt x="14643" y="9860"/>
                  <a:pt x="14874" y="8655"/>
                  <a:pt x="14939" y="8011"/>
                </a:cubicBezTo>
                <a:cubicBezTo>
                  <a:pt x="14982" y="7585"/>
                  <a:pt x="14673" y="7205"/>
                  <a:pt x="14247" y="7161"/>
                </a:cubicBezTo>
                <a:cubicBezTo>
                  <a:pt x="14195" y="7156"/>
                  <a:pt x="14143" y="7156"/>
                  <a:pt x="14091" y="7161"/>
                </a:cubicBezTo>
                <a:cubicBezTo>
                  <a:pt x="13445" y="7227"/>
                  <a:pt x="12244" y="7458"/>
                  <a:pt x="11436" y="8267"/>
                </a:cubicBezTo>
                <a:cubicBezTo>
                  <a:pt x="11423" y="8279"/>
                  <a:pt x="11412" y="8293"/>
                  <a:pt x="11402" y="8307"/>
                </a:cubicBezTo>
                <a:cubicBezTo>
                  <a:pt x="10852" y="8936"/>
                  <a:pt x="10838" y="9871"/>
                  <a:pt x="11368" y="10516"/>
                </a:cubicBezTo>
                <a:cubicBezTo>
                  <a:pt x="11118" y="10947"/>
                  <a:pt x="10919" y="11407"/>
                  <a:pt x="10777" y="11885"/>
                </a:cubicBezTo>
                <a:cubicBezTo>
                  <a:pt x="10635" y="11406"/>
                  <a:pt x="10436" y="10946"/>
                  <a:pt x="10185" y="10514"/>
                </a:cubicBezTo>
                <a:cubicBezTo>
                  <a:pt x="10716" y="9868"/>
                  <a:pt x="10699" y="8931"/>
                  <a:pt x="10147" y="8303"/>
                </a:cubicBezTo>
                <a:cubicBezTo>
                  <a:pt x="10136" y="8289"/>
                  <a:pt x="10125" y="8275"/>
                  <a:pt x="10113" y="8263"/>
                </a:cubicBezTo>
                <a:cubicBezTo>
                  <a:pt x="9305" y="7453"/>
                  <a:pt x="8100" y="7222"/>
                  <a:pt x="7458" y="7157"/>
                </a:cubicBezTo>
                <a:cubicBezTo>
                  <a:pt x="7033" y="7113"/>
                  <a:pt x="6652" y="7422"/>
                  <a:pt x="6608" y="7848"/>
                </a:cubicBezTo>
                <a:cubicBezTo>
                  <a:pt x="6603" y="7901"/>
                  <a:pt x="6603" y="7954"/>
                  <a:pt x="6608" y="8007"/>
                </a:cubicBezTo>
                <a:cubicBezTo>
                  <a:pt x="6675" y="8652"/>
                  <a:pt x="6905" y="9855"/>
                  <a:pt x="7723" y="10676"/>
                </a:cubicBezTo>
                <a:cubicBezTo>
                  <a:pt x="8262" y="11173"/>
                  <a:pt x="9058" y="11268"/>
                  <a:pt x="9699" y="10913"/>
                </a:cubicBezTo>
                <a:cubicBezTo>
                  <a:pt x="10222" y="11891"/>
                  <a:pt x="10485" y="12988"/>
                  <a:pt x="10461" y="14097"/>
                </a:cubicBezTo>
                <a:lnTo>
                  <a:pt x="10461" y="16057"/>
                </a:lnTo>
                <a:cubicBezTo>
                  <a:pt x="10455" y="16095"/>
                  <a:pt x="10455" y="16133"/>
                  <a:pt x="10461" y="16170"/>
                </a:cubicBezTo>
                <a:lnTo>
                  <a:pt x="10461" y="20945"/>
                </a:lnTo>
                <a:lnTo>
                  <a:pt x="4501" y="20945"/>
                </a:lnTo>
                <a:cubicBezTo>
                  <a:pt x="4521" y="19941"/>
                  <a:pt x="4781" y="18955"/>
                  <a:pt x="5258" y="18072"/>
                </a:cubicBezTo>
                <a:cubicBezTo>
                  <a:pt x="5491" y="18202"/>
                  <a:pt x="5751" y="18275"/>
                  <a:pt x="6017" y="18284"/>
                </a:cubicBezTo>
                <a:lnTo>
                  <a:pt x="6083" y="18284"/>
                </a:lnTo>
                <a:cubicBezTo>
                  <a:pt x="6515" y="18283"/>
                  <a:pt x="6930" y="18117"/>
                  <a:pt x="7243" y="17819"/>
                </a:cubicBezTo>
                <a:cubicBezTo>
                  <a:pt x="8051" y="17008"/>
                  <a:pt x="8281" y="15803"/>
                  <a:pt x="8348" y="15159"/>
                </a:cubicBezTo>
                <a:cubicBezTo>
                  <a:pt x="8391" y="14733"/>
                  <a:pt x="8082" y="14353"/>
                  <a:pt x="7656" y="14309"/>
                </a:cubicBezTo>
                <a:cubicBezTo>
                  <a:pt x="7604" y="14304"/>
                  <a:pt x="7551" y="14304"/>
                  <a:pt x="7498" y="14309"/>
                </a:cubicBezTo>
                <a:cubicBezTo>
                  <a:pt x="6854" y="14374"/>
                  <a:pt x="5653" y="14605"/>
                  <a:pt x="4843" y="15415"/>
                </a:cubicBezTo>
                <a:cubicBezTo>
                  <a:pt x="4831" y="15427"/>
                  <a:pt x="4820" y="15441"/>
                  <a:pt x="4811" y="15455"/>
                </a:cubicBezTo>
                <a:cubicBezTo>
                  <a:pt x="4262" y="16084"/>
                  <a:pt x="4248" y="17017"/>
                  <a:pt x="4777" y="17662"/>
                </a:cubicBezTo>
                <a:cubicBezTo>
                  <a:pt x="4526" y="18094"/>
                  <a:pt x="4327" y="18554"/>
                  <a:pt x="4186" y="19033"/>
                </a:cubicBezTo>
                <a:cubicBezTo>
                  <a:pt x="4044" y="18554"/>
                  <a:pt x="3846" y="18094"/>
                  <a:pt x="3594" y="17662"/>
                </a:cubicBezTo>
                <a:cubicBezTo>
                  <a:pt x="4124" y="17018"/>
                  <a:pt x="4110" y="16084"/>
                  <a:pt x="3562" y="15455"/>
                </a:cubicBezTo>
                <a:cubicBezTo>
                  <a:pt x="3551" y="15441"/>
                  <a:pt x="3540" y="15428"/>
                  <a:pt x="3528" y="15415"/>
                </a:cubicBezTo>
                <a:cubicBezTo>
                  <a:pt x="2718" y="14605"/>
                  <a:pt x="1515" y="14374"/>
                  <a:pt x="873" y="14309"/>
                </a:cubicBezTo>
                <a:cubicBezTo>
                  <a:pt x="448" y="14265"/>
                  <a:pt x="67" y="14575"/>
                  <a:pt x="23" y="15001"/>
                </a:cubicBezTo>
                <a:cubicBezTo>
                  <a:pt x="18" y="15053"/>
                  <a:pt x="18" y="15106"/>
                  <a:pt x="23" y="15159"/>
                </a:cubicBezTo>
                <a:cubicBezTo>
                  <a:pt x="90" y="15804"/>
                  <a:pt x="320" y="17008"/>
                  <a:pt x="1136" y="17827"/>
                </a:cubicBezTo>
                <a:cubicBezTo>
                  <a:pt x="1448" y="18119"/>
                  <a:pt x="1860" y="18281"/>
                  <a:pt x="2288" y="18279"/>
                </a:cubicBezTo>
                <a:lnTo>
                  <a:pt x="2354" y="18279"/>
                </a:lnTo>
                <a:cubicBezTo>
                  <a:pt x="2619" y="18270"/>
                  <a:pt x="2877" y="18198"/>
                  <a:pt x="3108" y="18070"/>
                </a:cubicBezTo>
                <a:cubicBezTo>
                  <a:pt x="3586" y="18953"/>
                  <a:pt x="3847" y="19937"/>
                  <a:pt x="3870" y="20941"/>
                </a:cubicBezTo>
                <a:lnTo>
                  <a:pt x="310" y="20941"/>
                </a:lnTo>
                <a:cubicBezTo>
                  <a:pt x="139" y="20941"/>
                  <a:pt x="0" y="21080"/>
                  <a:pt x="0" y="21251"/>
                </a:cubicBezTo>
                <a:cubicBezTo>
                  <a:pt x="0" y="21422"/>
                  <a:pt x="139" y="21561"/>
                  <a:pt x="310" y="21561"/>
                </a:cubicBezTo>
                <a:lnTo>
                  <a:pt x="21207" y="21561"/>
                </a:lnTo>
                <a:cubicBezTo>
                  <a:pt x="21378" y="21561"/>
                  <a:pt x="21516" y="21422"/>
                  <a:pt x="21516" y="21251"/>
                </a:cubicBezTo>
                <a:cubicBezTo>
                  <a:pt x="21516" y="21080"/>
                  <a:pt x="21378" y="20941"/>
                  <a:pt x="21207" y="20941"/>
                </a:cubicBezTo>
                <a:cubicBezTo>
                  <a:pt x="21207" y="20941"/>
                  <a:pt x="21214" y="20942"/>
                  <a:pt x="21214" y="20942"/>
                </a:cubicBezTo>
                <a:close/>
              </a:path>
            </a:pathLst>
          </a:custGeom>
          <a:solidFill>
            <a:srgbClr val="FFFFFF"/>
          </a:solidFill>
          <a:ln w="3175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D06D8BE-BD44-6335-CEC4-29FF91317895}"/>
              </a:ext>
            </a:extLst>
          </p:cNvPr>
          <p:cNvSpPr/>
          <p:nvPr/>
        </p:nvSpPr>
        <p:spPr>
          <a:xfrm>
            <a:off x="-1513389" y="1158872"/>
            <a:ext cx="1521824" cy="1665750"/>
          </a:xfrm>
          <a:prstGeom prst="rect">
            <a:avLst/>
          </a:prstGeom>
          <a:solidFill>
            <a:srgbClr val="00BCFF"/>
          </a:solidFill>
          <a:ln w="25400" cap="flat" cmpd="sng" algn="ctr">
            <a:noFill/>
            <a:prstDash val="solid"/>
          </a:ln>
          <a:effectLst/>
        </p:spPr>
        <p:txBody>
          <a:bodyPr wrap="square" lIns="144000" tIns="360000" rIns="72000" bIns="36000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consideration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opulate this slide with the actual measurement. Put the SMART objective and detail KPIs across funnel. 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A82CB3DB-738F-DF6E-9CBC-ADE05B78CC96}"/>
              </a:ext>
            </a:extLst>
          </p:cNvPr>
          <p:cNvSpPr/>
          <p:nvPr/>
        </p:nvSpPr>
        <p:spPr>
          <a:xfrm>
            <a:off x="-1317172" y="0"/>
            <a:ext cx="1317172" cy="772886"/>
          </a:xfrm>
          <a:prstGeom prst="rect">
            <a:avLst/>
          </a:prstGeom>
          <a:solidFill>
            <a:srgbClr val="FBB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1600">
                <a:solidFill>
                  <a:srgbClr val="C00000"/>
                </a:solidFill>
              </a:rPr>
              <a:t>SLIDE GLOBAL</a:t>
            </a:r>
          </a:p>
        </p:txBody>
      </p:sp>
    </p:spTree>
    <p:extLst>
      <p:ext uri="{BB962C8B-B14F-4D97-AF65-F5344CB8AC3E}">
        <p14:creationId xmlns:p14="http://schemas.microsoft.com/office/powerpoint/2010/main" val="78447449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795E3FA1-4563-266D-92E9-E3FF157609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>
                <a:latin typeface="+mn-lt"/>
              </a:rPr>
              <a:t>KPIs for Precision Marketing</a:t>
            </a:r>
            <a:endParaRPr lang="es-MX" sz="2400" b="1">
              <a:latin typeface="+mn-lt"/>
            </a:endParaRPr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74A7B9B1-E377-B9B4-9F4F-3A6A027028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 sz="700">
                <a:latin typeface="+mn-lt"/>
              </a:rPr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DF7FFD3-0A02-AF25-EFEB-C3DD1E1282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z="700" smtClean="0">
                <a:latin typeface="+mn-lt"/>
              </a:rPr>
              <a:t>54</a:t>
            </a:fld>
            <a:endParaRPr lang="es-MX" sz="700">
              <a:latin typeface="+mn-lt"/>
            </a:endParaRP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E38D342-8169-6C1D-822D-A0591A6F0F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MX" sz="1400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34D7EE88-0726-D69A-4F72-E815D4B5D016}"/>
              </a:ext>
            </a:extLst>
          </p:cNvPr>
          <p:cNvSpPr/>
          <p:nvPr/>
        </p:nvSpPr>
        <p:spPr>
          <a:xfrm>
            <a:off x="2807642" y="2152037"/>
            <a:ext cx="1929677" cy="741340"/>
          </a:xfrm>
          <a:prstGeom prst="rect">
            <a:avLst/>
          </a:prstGeom>
          <a:solidFill>
            <a:srgbClr val="89D328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>
              <a:solidFill>
                <a:schemeClr val="bg1"/>
              </a:solidFill>
            </a:endParaRPr>
          </a:p>
          <a:p>
            <a:pPr algn="ctr"/>
            <a:r>
              <a:rPr lang="en-GB" sz="1100">
                <a:solidFill>
                  <a:schemeClr val="bg1"/>
                </a:solidFill>
              </a:rPr>
              <a:t>Reach &amp; Frequency / Views</a:t>
            </a:r>
          </a:p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18C29F0A-59A2-1361-E023-D196441BE0FB}"/>
              </a:ext>
            </a:extLst>
          </p:cNvPr>
          <p:cNvSpPr/>
          <p:nvPr/>
        </p:nvSpPr>
        <p:spPr>
          <a:xfrm>
            <a:off x="5007052" y="2168079"/>
            <a:ext cx="1929677" cy="741340"/>
          </a:xfrm>
          <a:prstGeom prst="rect">
            <a:avLst/>
          </a:prstGeom>
          <a:solidFill>
            <a:srgbClr val="89D328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</a:rPr>
              <a:t>VTR</a:t>
            </a:r>
          </a:p>
          <a:p>
            <a:pPr algn="ctr"/>
            <a:r>
              <a:rPr lang="en-GB" sz="1100">
                <a:solidFill>
                  <a:schemeClr val="bg1"/>
                </a:solidFill>
              </a:rPr>
              <a:t>Impressions</a:t>
            </a:r>
          </a:p>
        </p:txBody>
      </p:sp>
      <p:sp>
        <p:nvSpPr>
          <p:cNvPr id="9" name="Rectangle 12">
            <a:extLst>
              <a:ext uri="{FF2B5EF4-FFF2-40B4-BE49-F238E27FC236}">
                <a16:creationId xmlns:a16="http://schemas.microsoft.com/office/drawing/2014/main" id="{9F6B42E2-BAED-3EFB-6B0D-E0025D62A1F6}"/>
              </a:ext>
            </a:extLst>
          </p:cNvPr>
          <p:cNvSpPr/>
          <p:nvPr/>
        </p:nvSpPr>
        <p:spPr>
          <a:xfrm>
            <a:off x="7143668" y="2152038"/>
            <a:ext cx="1929677" cy="741339"/>
          </a:xfrm>
          <a:prstGeom prst="rect">
            <a:avLst/>
          </a:prstGeom>
          <a:solidFill>
            <a:srgbClr val="89D328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</a:rPr>
              <a:t>CPR / CPM</a:t>
            </a:r>
          </a:p>
        </p:txBody>
      </p:sp>
      <p:sp>
        <p:nvSpPr>
          <p:cNvPr id="10" name="Rectangle 13">
            <a:extLst>
              <a:ext uri="{FF2B5EF4-FFF2-40B4-BE49-F238E27FC236}">
                <a16:creationId xmlns:a16="http://schemas.microsoft.com/office/drawing/2014/main" id="{E2BF0714-BC34-464C-22A3-EA6723BD86DE}"/>
              </a:ext>
            </a:extLst>
          </p:cNvPr>
          <p:cNvSpPr/>
          <p:nvPr/>
        </p:nvSpPr>
        <p:spPr>
          <a:xfrm>
            <a:off x="7143668" y="3312957"/>
            <a:ext cx="1929677" cy="74134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</a:rPr>
              <a:t>CPV*</a:t>
            </a:r>
          </a:p>
        </p:txBody>
      </p:sp>
      <p:sp>
        <p:nvSpPr>
          <p:cNvPr id="11" name="Rectangle 14">
            <a:extLst>
              <a:ext uri="{FF2B5EF4-FFF2-40B4-BE49-F238E27FC236}">
                <a16:creationId xmlns:a16="http://schemas.microsoft.com/office/drawing/2014/main" id="{6DF936FF-F661-DD4F-9411-0F1354EE1199}"/>
              </a:ext>
            </a:extLst>
          </p:cNvPr>
          <p:cNvSpPr/>
          <p:nvPr/>
        </p:nvSpPr>
        <p:spPr>
          <a:xfrm>
            <a:off x="7143667" y="4517791"/>
            <a:ext cx="1929677" cy="71906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</a:rPr>
              <a:t>CPC</a:t>
            </a:r>
            <a:endParaRPr lang="en-GB" sz="800">
              <a:solidFill>
                <a:schemeClr val="bg1"/>
              </a:solidFill>
            </a:endParaRPr>
          </a:p>
          <a:p>
            <a:pPr algn="ctr"/>
            <a:r>
              <a:rPr lang="en-GB" sz="1100">
                <a:solidFill>
                  <a:schemeClr val="bg1"/>
                </a:solidFill>
              </a:rPr>
              <a:t>CPA</a:t>
            </a:r>
            <a:r>
              <a:rPr lang="en-GB" sz="1000">
                <a:solidFill>
                  <a:schemeClr val="bg1"/>
                </a:solidFill>
              </a:rPr>
              <a:t>(action)</a:t>
            </a: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12" name="Rectangle 15">
            <a:extLst>
              <a:ext uri="{FF2B5EF4-FFF2-40B4-BE49-F238E27FC236}">
                <a16:creationId xmlns:a16="http://schemas.microsoft.com/office/drawing/2014/main" id="{41EE0F80-594F-AEA1-1957-5D2309D1DB48}"/>
              </a:ext>
            </a:extLst>
          </p:cNvPr>
          <p:cNvSpPr/>
          <p:nvPr/>
        </p:nvSpPr>
        <p:spPr>
          <a:xfrm>
            <a:off x="5007051" y="3312957"/>
            <a:ext cx="1929677" cy="74134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</a:rPr>
              <a:t>VTR*</a:t>
            </a:r>
          </a:p>
        </p:txBody>
      </p:sp>
      <p:sp>
        <p:nvSpPr>
          <p:cNvPr id="13" name="Rectangle 16">
            <a:extLst>
              <a:ext uri="{FF2B5EF4-FFF2-40B4-BE49-F238E27FC236}">
                <a16:creationId xmlns:a16="http://schemas.microsoft.com/office/drawing/2014/main" id="{2E9A0FB3-6104-C221-68E6-D981979781FB}"/>
              </a:ext>
            </a:extLst>
          </p:cNvPr>
          <p:cNvSpPr/>
          <p:nvPr/>
        </p:nvSpPr>
        <p:spPr>
          <a:xfrm>
            <a:off x="5007050" y="4517790"/>
            <a:ext cx="1929677" cy="71907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</a:rPr>
              <a:t>CTR </a:t>
            </a: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B004A934-39E3-A357-17A7-F88A7901E85A}"/>
              </a:ext>
            </a:extLst>
          </p:cNvPr>
          <p:cNvSpPr/>
          <p:nvPr/>
        </p:nvSpPr>
        <p:spPr>
          <a:xfrm>
            <a:off x="2807641" y="3332260"/>
            <a:ext cx="1929677" cy="74134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</a:rPr>
              <a:t>Views*</a:t>
            </a:r>
          </a:p>
        </p:txBody>
      </p:sp>
      <p:sp>
        <p:nvSpPr>
          <p:cNvPr id="15" name="Rectangle 19">
            <a:extLst>
              <a:ext uri="{FF2B5EF4-FFF2-40B4-BE49-F238E27FC236}">
                <a16:creationId xmlns:a16="http://schemas.microsoft.com/office/drawing/2014/main" id="{1419D3A7-98C3-1A9C-94E6-F49C638F2CA4}"/>
              </a:ext>
            </a:extLst>
          </p:cNvPr>
          <p:cNvSpPr/>
          <p:nvPr/>
        </p:nvSpPr>
        <p:spPr>
          <a:xfrm>
            <a:off x="836848" y="1507368"/>
            <a:ext cx="1774480" cy="390052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</a:rPr>
              <a:t>Campaign Goal</a:t>
            </a:r>
          </a:p>
        </p:txBody>
      </p:sp>
      <p:sp>
        <p:nvSpPr>
          <p:cNvPr id="16" name="Rectangle 20">
            <a:extLst>
              <a:ext uri="{FF2B5EF4-FFF2-40B4-BE49-F238E27FC236}">
                <a16:creationId xmlns:a16="http://schemas.microsoft.com/office/drawing/2014/main" id="{044C8A7F-6D4E-4B64-FA7A-8B8F0B13E3BF}"/>
              </a:ext>
            </a:extLst>
          </p:cNvPr>
          <p:cNvSpPr/>
          <p:nvPr/>
        </p:nvSpPr>
        <p:spPr>
          <a:xfrm>
            <a:off x="2818266" y="1507368"/>
            <a:ext cx="1929676" cy="390052"/>
          </a:xfrm>
          <a:prstGeom prst="rect">
            <a:avLst/>
          </a:prstGeom>
          <a:solidFill>
            <a:schemeClr val="accent5">
              <a:lumMod val="90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</a:rPr>
              <a:t>Sufficiency</a:t>
            </a:r>
          </a:p>
        </p:txBody>
      </p:sp>
      <p:sp>
        <p:nvSpPr>
          <p:cNvPr id="17" name="Rectangle 21">
            <a:extLst>
              <a:ext uri="{FF2B5EF4-FFF2-40B4-BE49-F238E27FC236}">
                <a16:creationId xmlns:a16="http://schemas.microsoft.com/office/drawing/2014/main" id="{4CD46484-B3B0-F946-7368-EE2417059EF4}"/>
              </a:ext>
            </a:extLst>
          </p:cNvPr>
          <p:cNvSpPr/>
          <p:nvPr/>
        </p:nvSpPr>
        <p:spPr>
          <a:xfrm>
            <a:off x="4998858" y="1507368"/>
            <a:ext cx="1929676" cy="390052"/>
          </a:xfrm>
          <a:prstGeom prst="rect">
            <a:avLst/>
          </a:prstGeom>
          <a:solidFill>
            <a:schemeClr val="accent5">
              <a:lumMod val="90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</a:rPr>
              <a:t>Effectiveness</a:t>
            </a:r>
          </a:p>
        </p:txBody>
      </p:sp>
      <p:sp>
        <p:nvSpPr>
          <p:cNvPr id="18" name="Rectangle 23">
            <a:extLst>
              <a:ext uri="{FF2B5EF4-FFF2-40B4-BE49-F238E27FC236}">
                <a16:creationId xmlns:a16="http://schemas.microsoft.com/office/drawing/2014/main" id="{2404D956-C830-401C-367E-5CBDB0E2EC7E}"/>
              </a:ext>
            </a:extLst>
          </p:cNvPr>
          <p:cNvSpPr/>
          <p:nvPr/>
        </p:nvSpPr>
        <p:spPr>
          <a:xfrm>
            <a:off x="7127931" y="1507368"/>
            <a:ext cx="1929676" cy="390052"/>
          </a:xfrm>
          <a:prstGeom prst="rect">
            <a:avLst/>
          </a:prstGeom>
          <a:solidFill>
            <a:schemeClr val="accent5">
              <a:lumMod val="90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</a:rPr>
              <a:t>Efficiency</a:t>
            </a:r>
          </a:p>
        </p:txBody>
      </p:sp>
      <p:sp>
        <p:nvSpPr>
          <p:cNvPr id="19" name="Oval 3">
            <a:extLst>
              <a:ext uri="{FF2B5EF4-FFF2-40B4-BE49-F238E27FC236}">
                <a16:creationId xmlns:a16="http://schemas.microsoft.com/office/drawing/2014/main" id="{EF1EFA4F-671D-CF33-52F5-9FDD76E508D9}"/>
              </a:ext>
            </a:extLst>
          </p:cNvPr>
          <p:cNvSpPr/>
          <p:nvPr/>
        </p:nvSpPr>
        <p:spPr>
          <a:xfrm>
            <a:off x="569916" y="1370131"/>
            <a:ext cx="391558" cy="391558"/>
          </a:xfrm>
          <a:prstGeom prst="ellipse">
            <a:avLst/>
          </a:prstGeom>
          <a:solidFill>
            <a:srgbClr val="1B3548"/>
          </a:solidFill>
          <a:ln>
            <a:solidFill>
              <a:srgbClr val="1B354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/>
              <a:t>0</a:t>
            </a:r>
          </a:p>
        </p:txBody>
      </p:sp>
      <p:sp>
        <p:nvSpPr>
          <p:cNvPr id="20" name="Oval 24">
            <a:extLst>
              <a:ext uri="{FF2B5EF4-FFF2-40B4-BE49-F238E27FC236}">
                <a16:creationId xmlns:a16="http://schemas.microsoft.com/office/drawing/2014/main" id="{C57A9F9E-FDC2-FF0A-121A-B5025EED88F5}"/>
              </a:ext>
            </a:extLst>
          </p:cNvPr>
          <p:cNvSpPr/>
          <p:nvPr/>
        </p:nvSpPr>
        <p:spPr>
          <a:xfrm>
            <a:off x="2706211" y="1360929"/>
            <a:ext cx="391558" cy="39155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/>
              <a:t>1</a:t>
            </a:r>
          </a:p>
        </p:txBody>
      </p:sp>
      <p:sp>
        <p:nvSpPr>
          <p:cNvPr id="21" name="Oval 25">
            <a:extLst>
              <a:ext uri="{FF2B5EF4-FFF2-40B4-BE49-F238E27FC236}">
                <a16:creationId xmlns:a16="http://schemas.microsoft.com/office/drawing/2014/main" id="{71DB4978-D43B-D386-4348-36737A9AD415}"/>
              </a:ext>
            </a:extLst>
          </p:cNvPr>
          <p:cNvSpPr/>
          <p:nvPr/>
        </p:nvSpPr>
        <p:spPr>
          <a:xfrm>
            <a:off x="4906710" y="1360929"/>
            <a:ext cx="391558" cy="39155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/>
              <a:t>2</a:t>
            </a:r>
          </a:p>
        </p:txBody>
      </p:sp>
      <p:sp>
        <p:nvSpPr>
          <p:cNvPr id="22" name="Oval 26">
            <a:extLst>
              <a:ext uri="{FF2B5EF4-FFF2-40B4-BE49-F238E27FC236}">
                <a16:creationId xmlns:a16="http://schemas.microsoft.com/office/drawing/2014/main" id="{CFFA9812-0475-8C40-29BC-56D441269D7D}"/>
              </a:ext>
            </a:extLst>
          </p:cNvPr>
          <p:cNvSpPr/>
          <p:nvPr/>
        </p:nvSpPr>
        <p:spPr>
          <a:xfrm>
            <a:off x="7060022" y="1360929"/>
            <a:ext cx="391558" cy="39155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/>
              <a:t>3</a:t>
            </a:r>
          </a:p>
        </p:txBody>
      </p:sp>
      <p:sp>
        <p:nvSpPr>
          <p:cNvPr id="23" name="TextBox 5">
            <a:extLst>
              <a:ext uri="{FF2B5EF4-FFF2-40B4-BE49-F238E27FC236}">
                <a16:creationId xmlns:a16="http://schemas.microsoft.com/office/drawing/2014/main" id="{5B58AB35-8E5F-28EF-F93F-058880D3F93A}"/>
              </a:ext>
            </a:extLst>
          </p:cNvPr>
          <p:cNvSpPr txBox="1"/>
          <p:nvPr/>
        </p:nvSpPr>
        <p:spPr>
          <a:xfrm>
            <a:off x="3024879" y="1239326"/>
            <a:ext cx="39643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/>
              <a:t>Optimisation Priority </a:t>
            </a:r>
          </a:p>
        </p:txBody>
      </p:sp>
      <p:sp>
        <p:nvSpPr>
          <p:cNvPr id="24" name="Rectangle 30">
            <a:extLst>
              <a:ext uri="{FF2B5EF4-FFF2-40B4-BE49-F238E27FC236}">
                <a16:creationId xmlns:a16="http://schemas.microsoft.com/office/drawing/2014/main" id="{5D5366F0-1BF2-F158-2D2F-5DF835B8D01F}"/>
              </a:ext>
            </a:extLst>
          </p:cNvPr>
          <p:cNvSpPr/>
          <p:nvPr/>
        </p:nvSpPr>
        <p:spPr>
          <a:xfrm>
            <a:off x="2818265" y="4522663"/>
            <a:ext cx="1929677" cy="70762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bg1"/>
                </a:solidFill>
              </a:rPr>
              <a:t>Clicks</a:t>
            </a:r>
          </a:p>
        </p:txBody>
      </p:sp>
      <p:sp>
        <p:nvSpPr>
          <p:cNvPr id="25" name="Forma livre: Forma 24">
            <a:extLst>
              <a:ext uri="{FF2B5EF4-FFF2-40B4-BE49-F238E27FC236}">
                <a16:creationId xmlns:a16="http://schemas.microsoft.com/office/drawing/2014/main" id="{873C36DD-CE2F-7A2D-30BD-61B7A8081F71}"/>
              </a:ext>
            </a:extLst>
          </p:cNvPr>
          <p:cNvSpPr/>
          <p:nvPr/>
        </p:nvSpPr>
        <p:spPr>
          <a:xfrm>
            <a:off x="431511" y="2192287"/>
            <a:ext cx="2257198" cy="829447"/>
          </a:xfrm>
          <a:custGeom>
            <a:avLst/>
            <a:gdLst>
              <a:gd name="connsiteX0" fmla="*/ 2999732 w 4588100"/>
              <a:gd name="connsiteY0" fmla="*/ 713398 h 758459"/>
              <a:gd name="connsiteX1" fmla="*/ 2977771 w 4588100"/>
              <a:gd name="connsiteY1" fmla="*/ 722890 h 758459"/>
              <a:gd name="connsiteX2" fmla="*/ 2762152 w 4588100"/>
              <a:gd name="connsiteY2" fmla="*/ 735959 h 758459"/>
              <a:gd name="connsiteX3" fmla="*/ 2543821 w 4588100"/>
              <a:gd name="connsiteY3" fmla="*/ 745633 h 758459"/>
              <a:gd name="connsiteX4" fmla="*/ 2296996 w 4588100"/>
              <a:gd name="connsiteY4" fmla="*/ 743515 h 758459"/>
              <a:gd name="connsiteX5" fmla="*/ 2148749 w 4588100"/>
              <a:gd name="connsiteY5" fmla="*/ 748079 h 758459"/>
              <a:gd name="connsiteX6" fmla="*/ 2019080 w 4588100"/>
              <a:gd name="connsiteY6" fmla="*/ 758373 h 758459"/>
              <a:gd name="connsiteX7" fmla="*/ 1997586 w 4588100"/>
              <a:gd name="connsiteY7" fmla="*/ 755817 h 758459"/>
              <a:gd name="connsiteX8" fmla="*/ 1997031 w 4588100"/>
              <a:gd name="connsiteY8" fmla="*/ 744282 h 758459"/>
              <a:gd name="connsiteX9" fmla="*/ 2020130 w 4588100"/>
              <a:gd name="connsiteY9" fmla="*/ 737127 h 758459"/>
              <a:gd name="connsiteX10" fmla="*/ 2266926 w 4588100"/>
              <a:gd name="connsiteY10" fmla="*/ 726467 h 758459"/>
              <a:gd name="connsiteX11" fmla="*/ 2542596 w 4588100"/>
              <a:gd name="connsiteY11" fmla="*/ 723693 h 758459"/>
              <a:gd name="connsiteX12" fmla="*/ 2766090 w 4588100"/>
              <a:gd name="connsiteY12" fmla="*/ 717779 h 758459"/>
              <a:gd name="connsiteX13" fmla="*/ 2857085 w 4588100"/>
              <a:gd name="connsiteY13" fmla="*/ 716720 h 758459"/>
              <a:gd name="connsiteX14" fmla="*/ 2999732 w 4588100"/>
              <a:gd name="connsiteY14" fmla="*/ 713398 h 758459"/>
              <a:gd name="connsiteX15" fmla="*/ 3416328 w 4588100"/>
              <a:gd name="connsiteY15" fmla="*/ 693101 h 758459"/>
              <a:gd name="connsiteX16" fmla="*/ 3441789 w 4588100"/>
              <a:gd name="connsiteY16" fmla="*/ 693101 h 758459"/>
              <a:gd name="connsiteX17" fmla="*/ 3441819 w 4588100"/>
              <a:gd name="connsiteY17" fmla="*/ 694306 h 758459"/>
              <a:gd name="connsiteX18" fmla="*/ 3416504 w 4588100"/>
              <a:gd name="connsiteY18" fmla="*/ 695985 h 758459"/>
              <a:gd name="connsiteX19" fmla="*/ 3416328 w 4588100"/>
              <a:gd name="connsiteY19" fmla="*/ 693101 h 758459"/>
              <a:gd name="connsiteX20" fmla="*/ 4276382 w 4588100"/>
              <a:gd name="connsiteY20" fmla="*/ 685836 h 758459"/>
              <a:gd name="connsiteX21" fmla="*/ 4301347 w 4588100"/>
              <a:gd name="connsiteY21" fmla="*/ 685836 h 758459"/>
              <a:gd name="connsiteX22" fmla="*/ 4301377 w 4588100"/>
              <a:gd name="connsiteY22" fmla="*/ 687661 h 758459"/>
              <a:gd name="connsiteX23" fmla="*/ 4276762 w 4588100"/>
              <a:gd name="connsiteY23" fmla="*/ 687661 h 758459"/>
              <a:gd name="connsiteX24" fmla="*/ 4276382 w 4588100"/>
              <a:gd name="connsiteY24" fmla="*/ 685836 h 758459"/>
              <a:gd name="connsiteX25" fmla="*/ 3787310 w 4588100"/>
              <a:gd name="connsiteY25" fmla="*/ 679922 h 758459"/>
              <a:gd name="connsiteX26" fmla="*/ 3787660 w 4588100"/>
              <a:gd name="connsiteY26" fmla="*/ 680908 h 758459"/>
              <a:gd name="connsiteX27" fmla="*/ 3775032 w 4588100"/>
              <a:gd name="connsiteY27" fmla="*/ 681638 h 758459"/>
              <a:gd name="connsiteX28" fmla="*/ 3775002 w 4588100"/>
              <a:gd name="connsiteY28" fmla="*/ 679958 h 758459"/>
              <a:gd name="connsiteX29" fmla="*/ 3787310 w 4588100"/>
              <a:gd name="connsiteY29" fmla="*/ 679922 h 758459"/>
              <a:gd name="connsiteX30" fmla="*/ 3654433 w 4588100"/>
              <a:gd name="connsiteY30" fmla="*/ 678754 h 758459"/>
              <a:gd name="connsiteX31" fmla="*/ 3726793 w 4588100"/>
              <a:gd name="connsiteY31" fmla="*/ 678754 h 758459"/>
              <a:gd name="connsiteX32" fmla="*/ 3726034 w 4588100"/>
              <a:gd name="connsiteY32" fmla="*/ 682441 h 758459"/>
              <a:gd name="connsiteX33" fmla="*/ 3654463 w 4588100"/>
              <a:gd name="connsiteY33" fmla="*/ 682441 h 758459"/>
              <a:gd name="connsiteX34" fmla="*/ 3654433 w 4588100"/>
              <a:gd name="connsiteY34" fmla="*/ 678754 h 758459"/>
              <a:gd name="connsiteX35" fmla="*/ 4039772 w 4588100"/>
              <a:gd name="connsiteY35" fmla="*/ 672060 h 758459"/>
              <a:gd name="connsiteX36" fmla="*/ 4251476 w 4588100"/>
              <a:gd name="connsiteY36" fmla="*/ 686676 h 758459"/>
              <a:gd name="connsiteX37" fmla="*/ 4251126 w 4588100"/>
              <a:gd name="connsiteY37" fmla="*/ 693137 h 758459"/>
              <a:gd name="connsiteX38" fmla="*/ 3827850 w 4588100"/>
              <a:gd name="connsiteY38" fmla="*/ 683099 h 758459"/>
              <a:gd name="connsiteX39" fmla="*/ 4039772 w 4588100"/>
              <a:gd name="connsiteY39" fmla="*/ 672060 h 758459"/>
              <a:gd name="connsiteX40" fmla="*/ 3036893 w 4588100"/>
              <a:gd name="connsiteY40" fmla="*/ 45960 h 758459"/>
              <a:gd name="connsiteX41" fmla="*/ 2975963 w 4588100"/>
              <a:gd name="connsiteY41" fmla="*/ 51006 h 758459"/>
              <a:gd name="connsiteX42" fmla="*/ 2975846 w 4588100"/>
              <a:gd name="connsiteY42" fmla="*/ 58819 h 758459"/>
              <a:gd name="connsiteX43" fmla="*/ 3018573 w 4588100"/>
              <a:gd name="connsiteY43" fmla="*/ 62469 h 758459"/>
              <a:gd name="connsiteX44" fmla="*/ 3057334 w 4588100"/>
              <a:gd name="connsiteY44" fmla="*/ 51189 h 758459"/>
              <a:gd name="connsiteX45" fmla="*/ 3036893 w 4588100"/>
              <a:gd name="connsiteY45" fmla="*/ 45960 h 758459"/>
              <a:gd name="connsiteX46" fmla="*/ 4186251 w 4588100"/>
              <a:gd name="connsiteY46" fmla="*/ 43062 h 758459"/>
              <a:gd name="connsiteX47" fmla="*/ 4176024 w 4588100"/>
              <a:gd name="connsiteY47" fmla="*/ 46297 h 758459"/>
              <a:gd name="connsiteX48" fmla="*/ 4173925 w 4588100"/>
              <a:gd name="connsiteY48" fmla="*/ 53051 h 758459"/>
              <a:gd name="connsiteX49" fmla="*/ 4200261 w 4588100"/>
              <a:gd name="connsiteY49" fmla="*/ 49108 h 758459"/>
              <a:gd name="connsiteX50" fmla="*/ 4186251 w 4588100"/>
              <a:gd name="connsiteY50" fmla="*/ 43062 h 758459"/>
              <a:gd name="connsiteX51" fmla="*/ 3102832 w 4588100"/>
              <a:gd name="connsiteY51" fmla="*/ 37171 h 758459"/>
              <a:gd name="connsiteX52" fmla="*/ 3081016 w 4588100"/>
              <a:gd name="connsiteY52" fmla="*/ 44399 h 758459"/>
              <a:gd name="connsiteX53" fmla="*/ 3081483 w 4588100"/>
              <a:gd name="connsiteY53" fmla="*/ 49072 h 758459"/>
              <a:gd name="connsiteX54" fmla="*/ 3093236 w 4588100"/>
              <a:gd name="connsiteY54" fmla="*/ 48853 h 758459"/>
              <a:gd name="connsiteX55" fmla="*/ 3104465 w 4588100"/>
              <a:gd name="connsiteY55" fmla="*/ 42647 h 758459"/>
              <a:gd name="connsiteX56" fmla="*/ 3102832 w 4588100"/>
              <a:gd name="connsiteY56" fmla="*/ 37171 h 758459"/>
              <a:gd name="connsiteX57" fmla="*/ 3306492 w 4588100"/>
              <a:gd name="connsiteY57" fmla="*/ 33593 h 758459"/>
              <a:gd name="connsiteX58" fmla="*/ 3294680 w 4588100"/>
              <a:gd name="connsiteY58" fmla="*/ 35857 h 758459"/>
              <a:gd name="connsiteX59" fmla="*/ 3294797 w 4588100"/>
              <a:gd name="connsiteY59" fmla="*/ 40894 h 758459"/>
              <a:gd name="connsiteX60" fmla="*/ 3305092 w 4588100"/>
              <a:gd name="connsiteY60" fmla="*/ 43450 h 758459"/>
              <a:gd name="connsiteX61" fmla="*/ 3306492 w 4588100"/>
              <a:gd name="connsiteY61" fmla="*/ 33593 h 758459"/>
              <a:gd name="connsiteX62" fmla="*/ 3595199 w 4588100"/>
              <a:gd name="connsiteY62" fmla="*/ 31440 h 758459"/>
              <a:gd name="connsiteX63" fmla="*/ 3591145 w 4588100"/>
              <a:gd name="connsiteY63" fmla="*/ 40091 h 758459"/>
              <a:gd name="connsiteX64" fmla="*/ 3594907 w 4588100"/>
              <a:gd name="connsiteY64" fmla="*/ 43048 h 758459"/>
              <a:gd name="connsiteX65" fmla="*/ 3600595 w 4588100"/>
              <a:gd name="connsiteY65" fmla="*/ 38521 h 758459"/>
              <a:gd name="connsiteX66" fmla="*/ 3595199 w 4588100"/>
              <a:gd name="connsiteY66" fmla="*/ 31440 h 758459"/>
              <a:gd name="connsiteX67" fmla="*/ 3620339 w 4588100"/>
              <a:gd name="connsiteY67" fmla="*/ 26949 h 758459"/>
              <a:gd name="connsiteX68" fmla="*/ 3619085 w 4588100"/>
              <a:gd name="connsiteY68" fmla="*/ 31038 h 758459"/>
              <a:gd name="connsiteX69" fmla="*/ 3632006 w 4588100"/>
              <a:gd name="connsiteY69" fmla="*/ 37353 h 758459"/>
              <a:gd name="connsiteX70" fmla="*/ 3633230 w 4588100"/>
              <a:gd name="connsiteY70" fmla="*/ 33374 h 758459"/>
              <a:gd name="connsiteX71" fmla="*/ 3620339 w 4588100"/>
              <a:gd name="connsiteY71" fmla="*/ 26949 h 758459"/>
              <a:gd name="connsiteX72" fmla="*/ 3256135 w 4588100"/>
              <a:gd name="connsiteY72" fmla="*/ 26939 h 758459"/>
              <a:gd name="connsiteX73" fmla="*/ 3191494 w 4588100"/>
              <a:gd name="connsiteY73" fmla="*/ 37463 h 758459"/>
              <a:gd name="connsiteX74" fmla="*/ 3215409 w 4588100"/>
              <a:gd name="connsiteY74" fmla="*/ 45385 h 758459"/>
              <a:gd name="connsiteX75" fmla="*/ 3238421 w 4588100"/>
              <a:gd name="connsiteY75" fmla="*/ 53452 h 758459"/>
              <a:gd name="connsiteX76" fmla="*/ 3239995 w 4588100"/>
              <a:gd name="connsiteY76" fmla="*/ 33922 h 758459"/>
              <a:gd name="connsiteX77" fmla="*/ 3275840 w 4588100"/>
              <a:gd name="connsiteY77" fmla="*/ 51006 h 758459"/>
              <a:gd name="connsiteX78" fmla="*/ 3277910 w 4588100"/>
              <a:gd name="connsiteY78" fmla="*/ 36258 h 758459"/>
              <a:gd name="connsiteX79" fmla="*/ 3256135 w 4588100"/>
              <a:gd name="connsiteY79" fmla="*/ 26939 h 758459"/>
              <a:gd name="connsiteX80" fmla="*/ 4516471 w 4588100"/>
              <a:gd name="connsiteY80" fmla="*/ 21291 h 758459"/>
              <a:gd name="connsiteX81" fmla="*/ 4538607 w 4588100"/>
              <a:gd name="connsiteY81" fmla="*/ 33812 h 758459"/>
              <a:gd name="connsiteX82" fmla="*/ 4516471 w 4588100"/>
              <a:gd name="connsiteY82" fmla="*/ 21291 h 758459"/>
              <a:gd name="connsiteX83" fmla="*/ 4489551 w 4588100"/>
              <a:gd name="connsiteY83" fmla="*/ 21181 h 758459"/>
              <a:gd name="connsiteX84" fmla="*/ 4489988 w 4588100"/>
              <a:gd name="connsiteY84" fmla="*/ 26365 h 758459"/>
              <a:gd name="connsiteX85" fmla="*/ 4516120 w 4588100"/>
              <a:gd name="connsiteY85" fmla="*/ 21181 h 758459"/>
              <a:gd name="connsiteX86" fmla="*/ 4489551 w 4588100"/>
              <a:gd name="connsiteY86" fmla="*/ 21181 h 758459"/>
              <a:gd name="connsiteX87" fmla="*/ 3321804 w 4588100"/>
              <a:gd name="connsiteY87" fmla="*/ 21035 h 758459"/>
              <a:gd name="connsiteX88" fmla="*/ 3305675 w 4588100"/>
              <a:gd name="connsiteY88" fmla="*/ 43596 h 758459"/>
              <a:gd name="connsiteX89" fmla="*/ 3306142 w 4588100"/>
              <a:gd name="connsiteY89" fmla="*/ 43705 h 758459"/>
              <a:gd name="connsiteX90" fmla="*/ 3303955 w 4588100"/>
              <a:gd name="connsiteY90" fmla="*/ 48597 h 758459"/>
              <a:gd name="connsiteX91" fmla="*/ 3305442 w 4588100"/>
              <a:gd name="connsiteY91" fmla="*/ 50678 h 758459"/>
              <a:gd name="connsiteX92" fmla="*/ 3369898 w 4588100"/>
              <a:gd name="connsiteY92" fmla="*/ 42720 h 758459"/>
              <a:gd name="connsiteX93" fmla="*/ 3371122 w 4588100"/>
              <a:gd name="connsiteY93" fmla="*/ 37682 h 758459"/>
              <a:gd name="connsiteX94" fmla="*/ 3321804 w 4588100"/>
              <a:gd name="connsiteY94" fmla="*/ 21035 h 758459"/>
              <a:gd name="connsiteX95" fmla="*/ 3413033 w 4588100"/>
              <a:gd name="connsiteY95" fmla="*/ 20013 h 758459"/>
              <a:gd name="connsiteX96" fmla="*/ 3410816 w 4588100"/>
              <a:gd name="connsiteY96" fmla="*/ 27168 h 758459"/>
              <a:gd name="connsiteX97" fmla="*/ 3424495 w 4588100"/>
              <a:gd name="connsiteY97" fmla="*/ 29979 h 758459"/>
              <a:gd name="connsiteX98" fmla="*/ 3425049 w 4588100"/>
              <a:gd name="connsiteY98" fmla="*/ 26876 h 758459"/>
              <a:gd name="connsiteX99" fmla="*/ 3413033 w 4588100"/>
              <a:gd name="connsiteY99" fmla="*/ 20013 h 758459"/>
              <a:gd name="connsiteX100" fmla="*/ 4443353 w 4588100"/>
              <a:gd name="connsiteY100" fmla="*/ 19758 h 758459"/>
              <a:gd name="connsiteX101" fmla="*/ 4441778 w 4588100"/>
              <a:gd name="connsiteY101" fmla="*/ 25671 h 758459"/>
              <a:gd name="connsiteX102" fmla="*/ 4453357 w 4588100"/>
              <a:gd name="connsiteY102" fmla="*/ 29614 h 758459"/>
              <a:gd name="connsiteX103" fmla="*/ 4454203 w 4588100"/>
              <a:gd name="connsiteY103" fmla="*/ 25927 h 758459"/>
              <a:gd name="connsiteX104" fmla="*/ 4443353 w 4588100"/>
              <a:gd name="connsiteY104" fmla="*/ 19758 h 758459"/>
              <a:gd name="connsiteX105" fmla="*/ 3942848 w 4588100"/>
              <a:gd name="connsiteY105" fmla="*/ 592 h 758459"/>
              <a:gd name="connsiteX106" fmla="*/ 4085671 w 4588100"/>
              <a:gd name="connsiteY106" fmla="*/ 6251 h 758459"/>
              <a:gd name="connsiteX107" fmla="*/ 4264483 w 4588100"/>
              <a:gd name="connsiteY107" fmla="*/ 5265 h 758459"/>
              <a:gd name="connsiteX108" fmla="*/ 4529158 w 4588100"/>
              <a:gd name="connsiteY108" fmla="*/ 10011 h 758459"/>
              <a:gd name="connsiteX109" fmla="*/ 4568443 w 4588100"/>
              <a:gd name="connsiteY109" fmla="*/ 22715 h 758459"/>
              <a:gd name="connsiteX110" fmla="*/ 4539657 w 4588100"/>
              <a:gd name="connsiteY110" fmla="*/ 33265 h 758459"/>
              <a:gd name="connsiteX111" fmla="*/ 4568385 w 4588100"/>
              <a:gd name="connsiteY111" fmla="*/ 22751 h 758459"/>
              <a:gd name="connsiteX112" fmla="*/ 4571564 w 4588100"/>
              <a:gd name="connsiteY112" fmla="*/ 52101 h 758459"/>
              <a:gd name="connsiteX113" fmla="*/ 4587517 w 4588100"/>
              <a:gd name="connsiteY113" fmla="*/ 76195 h 758459"/>
              <a:gd name="connsiteX114" fmla="*/ 4570193 w 4588100"/>
              <a:gd name="connsiteY114" fmla="*/ 102771 h 758459"/>
              <a:gd name="connsiteX115" fmla="*/ 4581976 w 4588100"/>
              <a:gd name="connsiteY115" fmla="*/ 156835 h 758459"/>
              <a:gd name="connsiteX116" fmla="*/ 4588100 w 4588100"/>
              <a:gd name="connsiteY116" fmla="*/ 216522 h 758459"/>
              <a:gd name="connsiteX117" fmla="*/ 4582326 w 4588100"/>
              <a:gd name="connsiteY117" fmla="*/ 282670 h 758459"/>
              <a:gd name="connsiteX118" fmla="*/ 4559110 w 4588100"/>
              <a:gd name="connsiteY118" fmla="*/ 327061 h 758459"/>
              <a:gd name="connsiteX119" fmla="*/ 4576434 w 4588100"/>
              <a:gd name="connsiteY119" fmla="*/ 356849 h 758459"/>
              <a:gd name="connsiteX120" fmla="*/ 4581713 w 4588100"/>
              <a:gd name="connsiteY120" fmla="*/ 394595 h 758459"/>
              <a:gd name="connsiteX121" fmla="*/ 4561648 w 4588100"/>
              <a:gd name="connsiteY121" fmla="*/ 438292 h 758459"/>
              <a:gd name="connsiteX122" fmla="*/ 4565147 w 4588100"/>
              <a:gd name="connsiteY122" fmla="*/ 441724 h 758459"/>
              <a:gd name="connsiteX123" fmla="*/ 4535778 w 4588100"/>
              <a:gd name="connsiteY123" fmla="*/ 458590 h 758459"/>
              <a:gd name="connsiteX124" fmla="*/ 4557681 w 4588100"/>
              <a:gd name="connsiteY124" fmla="*/ 491773 h 758459"/>
              <a:gd name="connsiteX125" fmla="*/ 4542165 w 4588100"/>
              <a:gd name="connsiteY125" fmla="*/ 536492 h 758459"/>
              <a:gd name="connsiteX126" fmla="*/ 4527641 w 4588100"/>
              <a:gd name="connsiteY126" fmla="*/ 569347 h 758459"/>
              <a:gd name="connsiteX127" fmla="*/ 4513554 w 4588100"/>
              <a:gd name="connsiteY127" fmla="*/ 575699 h 758459"/>
              <a:gd name="connsiteX128" fmla="*/ 4462806 w 4588100"/>
              <a:gd name="connsiteY128" fmla="*/ 645680 h 758459"/>
              <a:gd name="connsiteX129" fmla="*/ 4235143 w 4588100"/>
              <a:gd name="connsiteY129" fmla="*/ 658566 h 758459"/>
              <a:gd name="connsiteX130" fmla="*/ 3896913 w 4588100"/>
              <a:gd name="connsiteY130" fmla="*/ 655390 h 758459"/>
              <a:gd name="connsiteX131" fmla="*/ 3693923 w 4588100"/>
              <a:gd name="connsiteY131" fmla="*/ 652470 h 758459"/>
              <a:gd name="connsiteX132" fmla="*/ 3587266 w 4588100"/>
              <a:gd name="connsiteY132" fmla="*/ 656412 h 758459"/>
              <a:gd name="connsiteX133" fmla="*/ 3512457 w 4588100"/>
              <a:gd name="connsiteY133" fmla="*/ 651521 h 758459"/>
              <a:gd name="connsiteX134" fmla="*/ 3450685 w 4588100"/>
              <a:gd name="connsiteY134" fmla="*/ 652835 h 758459"/>
              <a:gd name="connsiteX135" fmla="*/ 3386143 w 4588100"/>
              <a:gd name="connsiteY135" fmla="*/ 657763 h 758459"/>
              <a:gd name="connsiteX136" fmla="*/ 3235825 w 4588100"/>
              <a:gd name="connsiteY136" fmla="*/ 665393 h 758459"/>
              <a:gd name="connsiteX137" fmla="*/ 3028664 w 4588100"/>
              <a:gd name="connsiteY137" fmla="*/ 679740 h 758459"/>
              <a:gd name="connsiteX138" fmla="*/ 2978063 w 4588100"/>
              <a:gd name="connsiteY138" fmla="*/ 690691 h 758459"/>
              <a:gd name="connsiteX139" fmla="*/ 2819520 w 4588100"/>
              <a:gd name="connsiteY139" fmla="*/ 700694 h 758459"/>
              <a:gd name="connsiteX140" fmla="*/ 2702597 w 4588100"/>
              <a:gd name="connsiteY140" fmla="*/ 707009 h 758459"/>
              <a:gd name="connsiteX141" fmla="*/ 2573249 w 4588100"/>
              <a:gd name="connsiteY141" fmla="*/ 704308 h 758459"/>
              <a:gd name="connsiteX142" fmla="*/ 2503778 w 4588100"/>
              <a:gd name="connsiteY142" fmla="*/ 710185 h 758459"/>
              <a:gd name="connsiteX143" fmla="*/ 2496019 w 4588100"/>
              <a:gd name="connsiteY143" fmla="*/ 710368 h 758459"/>
              <a:gd name="connsiteX144" fmla="*/ 2377930 w 4588100"/>
              <a:gd name="connsiteY144" fmla="*/ 706206 h 758459"/>
              <a:gd name="connsiteX145" fmla="*/ 2246278 w 4588100"/>
              <a:gd name="connsiteY145" fmla="*/ 714821 h 758459"/>
              <a:gd name="connsiteX146" fmla="*/ 2171031 w 4588100"/>
              <a:gd name="connsiteY146" fmla="*/ 715442 h 758459"/>
              <a:gd name="connsiteX147" fmla="*/ 2036492 w 4588100"/>
              <a:gd name="connsiteY147" fmla="*/ 719421 h 758459"/>
              <a:gd name="connsiteX148" fmla="*/ 1860655 w 4588100"/>
              <a:gd name="connsiteY148" fmla="*/ 723802 h 758459"/>
              <a:gd name="connsiteX149" fmla="*/ 1757031 w 4588100"/>
              <a:gd name="connsiteY149" fmla="*/ 727744 h 758459"/>
              <a:gd name="connsiteX150" fmla="*/ 1655769 w 4588100"/>
              <a:gd name="connsiteY150" fmla="*/ 731650 h 758459"/>
              <a:gd name="connsiteX151" fmla="*/ 1593618 w 4588100"/>
              <a:gd name="connsiteY151" fmla="*/ 733147 h 758459"/>
              <a:gd name="connsiteX152" fmla="*/ 1545349 w 4588100"/>
              <a:gd name="connsiteY152" fmla="*/ 725152 h 758459"/>
              <a:gd name="connsiteX153" fmla="*/ 1523359 w 4588100"/>
              <a:gd name="connsiteY153" fmla="*/ 719640 h 758459"/>
              <a:gd name="connsiteX154" fmla="*/ 1421660 w 4588100"/>
              <a:gd name="connsiteY154" fmla="*/ 703797 h 758459"/>
              <a:gd name="connsiteX155" fmla="*/ 1362483 w 4588100"/>
              <a:gd name="connsiteY155" fmla="*/ 681930 h 758459"/>
              <a:gd name="connsiteX156" fmla="*/ 1319144 w 4588100"/>
              <a:gd name="connsiteY156" fmla="*/ 676053 h 758459"/>
              <a:gd name="connsiteX157" fmla="*/ 1228061 w 4588100"/>
              <a:gd name="connsiteY157" fmla="*/ 678061 h 758459"/>
              <a:gd name="connsiteX158" fmla="*/ 1012501 w 4588100"/>
              <a:gd name="connsiteY158" fmla="*/ 691750 h 758459"/>
              <a:gd name="connsiteX159" fmla="*/ 994564 w 4588100"/>
              <a:gd name="connsiteY159" fmla="*/ 692809 h 758459"/>
              <a:gd name="connsiteX160" fmla="*/ 918297 w 4588100"/>
              <a:gd name="connsiteY160" fmla="*/ 695145 h 758459"/>
              <a:gd name="connsiteX161" fmla="*/ 910626 w 4588100"/>
              <a:gd name="connsiteY161" fmla="*/ 696605 h 758459"/>
              <a:gd name="connsiteX162" fmla="*/ 776787 w 4588100"/>
              <a:gd name="connsiteY162" fmla="*/ 685982 h 758459"/>
              <a:gd name="connsiteX163" fmla="*/ 764304 w 4588100"/>
              <a:gd name="connsiteY163" fmla="*/ 685179 h 758459"/>
              <a:gd name="connsiteX164" fmla="*/ 721140 w 4588100"/>
              <a:gd name="connsiteY164" fmla="*/ 691130 h 758459"/>
              <a:gd name="connsiteX165" fmla="*/ 633615 w 4588100"/>
              <a:gd name="connsiteY165" fmla="*/ 698248 h 758459"/>
              <a:gd name="connsiteX166" fmla="*/ 579572 w 4588100"/>
              <a:gd name="connsiteY166" fmla="*/ 680360 h 758459"/>
              <a:gd name="connsiteX167" fmla="*/ 487322 w 4588100"/>
              <a:gd name="connsiteY167" fmla="*/ 644913 h 758459"/>
              <a:gd name="connsiteX168" fmla="*/ 402772 w 4588100"/>
              <a:gd name="connsiteY168" fmla="*/ 632940 h 758459"/>
              <a:gd name="connsiteX169" fmla="*/ 325368 w 4588100"/>
              <a:gd name="connsiteY169" fmla="*/ 636846 h 758459"/>
              <a:gd name="connsiteX170" fmla="*/ 302240 w 4588100"/>
              <a:gd name="connsiteY170" fmla="*/ 637539 h 758459"/>
              <a:gd name="connsiteX171" fmla="*/ 212877 w 4588100"/>
              <a:gd name="connsiteY171" fmla="*/ 623631 h 758459"/>
              <a:gd name="connsiteX172" fmla="*/ 162217 w 4588100"/>
              <a:gd name="connsiteY172" fmla="*/ 601874 h 758459"/>
              <a:gd name="connsiteX173" fmla="*/ 90121 w 4588100"/>
              <a:gd name="connsiteY173" fmla="*/ 542954 h 758459"/>
              <a:gd name="connsiteX174" fmla="*/ 27474 w 4588100"/>
              <a:gd name="connsiteY174" fmla="*/ 492649 h 758459"/>
              <a:gd name="connsiteX175" fmla="*/ 0 w 4588100"/>
              <a:gd name="connsiteY175" fmla="*/ 448295 h 758459"/>
              <a:gd name="connsiteX176" fmla="*/ 22924 w 4588100"/>
              <a:gd name="connsiteY176" fmla="*/ 435773 h 758459"/>
              <a:gd name="connsiteX177" fmla="*/ 79680 w 4588100"/>
              <a:gd name="connsiteY177" fmla="*/ 401933 h 758459"/>
              <a:gd name="connsiteX178" fmla="*/ 92745 w 4588100"/>
              <a:gd name="connsiteY178" fmla="*/ 379008 h 758459"/>
              <a:gd name="connsiteX179" fmla="*/ 119811 w 4588100"/>
              <a:gd name="connsiteY179" fmla="*/ 355279 h 758459"/>
              <a:gd name="connsiteX180" fmla="*/ 127627 w 4588100"/>
              <a:gd name="connsiteY180" fmla="*/ 355425 h 758459"/>
              <a:gd name="connsiteX181" fmla="*/ 161897 w 4588100"/>
              <a:gd name="connsiteY181" fmla="*/ 325272 h 758459"/>
              <a:gd name="connsiteX182" fmla="*/ 165280 w 4588100"/>
              <a:gd name="connsiteY182" fmla="*/ 313079 h 758459"/>
              <a:gd name="connsiteX183" fmla="*/ 322597 w 4588100"/>
              <a:gd name="connsiteY183" fmla="*/ 254634 h 758459"/>
              <a:gd name="connsiteX184" fmla="*/ 340038 w 4588100"/>
              <a:gd name="connsiteY184" fmla="*/ 227510 h 758459"/>
              <a:gd name="connsiteX185" fmla="*/ 377865 w 4588100"/>
              <a:gd name="connsiteY185" fmla="*/ 242149 h 758459"/>
              <a:gd name="connsiteX186" fmla="*/ 623436 w 4588100"/>
              <a:gd name="connsiteY186" fmla="*/ 188705 h 758459"/>
              <a:gd name="connsiteX187" fmla="*/ 731406 w 4588100"/>
              <a:gd name="connsiteY187" fmla="*/ 168517 h 758459"/>
              <a:gd name="connsiteX188" fmla="*/ 914360 w 4588100"/>
              <a:gd name="connsiteY188" fmla="*/ 143328 h 758459"/>
              <a:gd name="connsiteX189" fmla="*/ 1277759 w 4588100"/>
              <a:gd name="connsiteY189" fmla="*/ 120038 h 758459"/>
              <a:gd name="connsiteX190" fmla="*/ 1604642 w 4588100"/>
              <a:gd name="connsiteY190" fmla="*/ 104268 h 758459"/>
              <a:gd name="connsiteX191" fmla="*/ 1895332 w 4588100"/>
              <a:gd name="connsiteY191" fmla="*/ 82109 h 758459"/>
              <a:gd name="connsiteX192" fmla="*/ 2102960 w 4588100"/>
              <a:gd name="connsiteY192" fmla="*/ 69770 h 758459"/>
              <a:gd name="connsiteX193" fmla="*/ 2302216 w 4588100"/>
              <a:gd name="connsiteY193" fmla="*/ 58453 h 758459"/>
              <a:gd name="connsiteX194" fmla="*/ 2538659 w 4588100"/>
              <a:gd name="connsiteY194" fmla="*/ 57212 h 758459"/>
              <a:gd name="connsiteX195" fmla="*/ 2699447 w 4588100"/>
              <a:gd name="connsiteY195" fmla="*/ 50167 h 758459"/>
              <a:gd name="connsiteX196" fmla="*/ 2953651 w 4588100"/>
              <a:gd name="connsiteY196" fmla="*/ 39945 h 758459"/>
              <a:gd name="connsiteX197" fmla="*/ 3096182 w 4588100"/>
              <a:gd name="connsiteY197" fmla="*/ 29286 h 758459"/>
              <a:gd name="connsiteX198" fmla="*/ 3246791 w 4588100"/>
              <a:gd name="connsiteY198" fmla="*/ 20670 h 758459"/>
              <a:gd name="connsiteX199" fmla="*/ 3387075 w 4588100"/>
              <a:gd name="connsiteY199" fmla="*/ 14245 h 758459"/>
              <a:gd name="connsiteX200" fmla="*/ 3527040 w 4588100"/>
              <a:gd name="connsiteY200" fmla="*/ 6835 h 758459"/>
              <a:gd name="connsiteX201" fmla="*/ 3628155 w 4588100"/>
              <a:gd name="connsiteY201" fmla="*/ 702 h 758459"/>
              <a:gd name="connsiteX202" fmla="*/ 3942848 w 4588100"/>
              <a:gd name="connsiteY202" fmla="*/ 592 h 758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</a:cxnLst>
            <a:rect l="l" t="t" r="r" b="b"/>
            <a:pathLst>
              <a:path w="4588100" h="758459">
                <a:moveTo>
                  <a:pt x="2999732" y="713398"/>
                </a:moveTo>
                <a:cubicBezTo>
                  <a:pt x="2988912" y="718217"/>
                  <a:pt x="2983429" y="722524"/>
                  <a:pt x="2977771" y="722890"/>
                </a:cubicBezTo>
                <a:cubicBezTo>
                  <a:pt x="2905908" y="727599"/>
                  <a:pt x="2834045" y="732162"/>
                  <a:pt x="2762152" y="735959"/>
                </a:cubicBezTo>
                <a:cubicBezTo>
                  <a:pt x="2689385" y="739791"/>
                  <a:pt x="2616618" y="744610"/>
                  <a:pt x="2543821" y="745633"/>
                </a:cubicBezTo>
                <a:cubicBezTo>
                  <a:pt x="2461575" y="746764"/>
                  <a:pt x="2379271" y="743479"/>
                  <a:pt x="2296996" y="743515"/>
                </a:cubicBezTo>
                <a:cubicBezTo>
                  <a:pt x="2247590" y="743552"/>
                  <a:pt x="2198125" y="745413"/>
                  <a:pt x="2148749" y="748079"/>
                </a:cubicBezTo>
                <a:cubicBezTo>
                  <a:pt x="2105497" y="750415"/>
                  <a:pt x="2062303" y="755197"/>
                  <a:pt x="2019080" y="758373"/>
                </a:cubicBezTo>
                <a:cubicBezTo>
                  <a:pt x="2011964" y="758920"/>
                  <a:pt x="2004760" y="756730"/>
                  <a:pt x="1997586" y="755817"/>
                </a:cubicBezTo>
                <a:cubicBezTo>
                  <a:pt x="1997411" y="751984"/>
                  <a:pt x="1997206" y="748115"/>
                  <a:pt x="1997031" y="744282"/>
                </a:cubicBezTo>
                <a:cubicBezTo>
                  <a:pt x="2004731" y="741799"/>
                  <a:pt x="2012372" y="737492"/>
                  <a:pt x="2020130" y="737127"/>
                </a:cubicBezTo>
                <a:cubicBezTo>
                  <a:pt x="2102376" y="733111"/>
                  <a:pt x="2184651" y="728438"/>
                  <a:pt x="2266926" y="726467"/>
                </a:cubicBezTo>
                <a:cubicBezTo>
                  <a:pt x="2358797" y="724277"/>
                  <a:pt x="2450697" y="725189"/>
                  <a:pt x="2542596" y="723693"/>
                </a:cubicBezTo>
                <a:cubicBezTo>
                  <a:pt x="2617113" y="722488"/>
                  <a:pt x="2691602" y="719604"/>
                  <a:pt x="2766090" y="717779"/>
                </a:cubicBezTo>
                <a:cubicBezTo>
                  <a:pt x="2796392" y="717012"/>
                  <a:pt x="2826753" y="717304"/>
                  <a:pt x="2857085" y="716720"/>
                </a:cubicBezTo>
                <a:cubicBezTo>
                  <a:pt x="2902554" y="715844"/>
                  <a:pt x="2948022" y="714603"/>
                  <a:pt x="2999732" y="713398"/>
                </a:cubicBezTo>
                <a:close/>
                <a:moveTo>
                  <a:pt x="3416328" y="693101"/>
                </a:moveTo>
                <a:cubicBezTo>
                  <a:pt x="3424845" y="693101"/>
                  <a:pt x="3433332" y="693101"/>
                  <a:pt x="3441789" y="693101"/>
                </a:cubicBezTo>
                <a:cubicBezTo>
                  <a:pt x="3441789" y="693503"/>
                  <a:pt x="3441819" y="693904"/>
                  <a:pt x="3441819" y="694306"/>
                </a:cubicBezTo>
                <a:cubicBezTo>
                  <a:pt x="3433390" y="694853"/>
                  <a:pt x="3424932" y="695438"/>
                  <a:pt x="3416504" y="695985"/>
                </a:cubicBezTo>
                <a:cubicBezTo>
                  <a:pt x="3416445" y="695036"/>
                  <a:pt x="3416387" y="694050"/>
                  <a:pt x="3416328" y="693101"/>
                </a:cubicBezTo>
                <a:close/>
                <a:moveTo>
                  <a:pt x="4276382" y="685836"/>
                </a:moveTo>
                <a:cubicBezTo>
                  <a:pt x="4284723" y="685836"/>
                  <a:pt x="4293035" y="685836"/>
                  <a:pt x="4301347" y="685836"/>
                </a:cubicBezTo>
                <a:cubicBezTo>
                  <a:pt x="4301377" y="686457"/>
                  <a:pt x="4301377" y="687041"/>
                  <a:pt x="4301377" y="687661"/>
                </a:cubicBezTo>
                <a:cubicBezTo>
                  <a:pt x="4293181" y="687661"/>
                  <a:pt x="4284957" y="687661"/>
                  <a:pt x="4276762" y="687661"/>
                </a:cubicBezTo>
                <a:cubicBezTo>
                  <a:pt x="4276645" y="687041"/>
                  <a:pt x="4276499" y="686457"/>
                  <a:pt x="4276382" y="685836"/>
                </a:cubicBezTo>
                <a:close/>
                <a:moveTo>
                  <a:pt x="3787310" y="679922"/>
                </a:moveTo>
                <a:cubicBezTo>
                  <a:pt x="3787427" y="680251"/>
                  <a:pt x="3787544" y="680579"/>
                  <a:pt x="3787660" y="680908"/>
                </a:cubicBezTo>
                <a:cubicBezTo>
                  <a:pt x="3783460" y="681163"/>
                  <a:pt x="3779231" y="681382"/>
                  <a:pt x="3775032" y="681638"/>
                </a:cubicBezTo>
                <a:cubicBezTo>
                  <a:pt x="3775002" y="681090"/>
                  <a:pt x="3775002" y="680506"/>
                  <a:pt x="3775002" y="679958"/>
                </a:cubicBezTo>
                <a:cubicBezTo>
                  <a:pt x="3779085" y="679958"/>
                  <a:pt x="3783198" y="679958"/>
                  <a:pt x="3787310" y="679922"/>
                </a:cubicBezTo>
                <a:close/>
                <a:moveTo>
                  <a:pt x="3654433" y="678754"/>
                </a:moveTo>
                <a:cubicBezTo>
                  <a:pt x="3678553" y="678754"/>
                  <a:pt x="3702673" y="678754"/>
                  <a:pt x="3726793" y="678754"/>
                </a:cubicBezTo>
                <a:cubicBezTo>
                  <a:pt x="3726559" y="679959"/>
                  <a:pt x="3726297" y="681200"/>
                  <a:pt x="3726034" y="682441"/>
                </a:cubicBezTo>
                <a:cubicBezTo>
                  <a:pt x="3702177" y="682441"/>
                  <a:pt x="3678320" y="682441"/>
                  <a:pt x="3654463" y="682441"/>
                </a:cubicBezTo>
                <a:cubicBezTo>
                  <a:pt x="3654433" y="681200"/>
                  <a:pt x="3654433" y="679959"/>
                  <a:pt x="3654433" y="678754"/>
                </a:cubicBezTo>
                <a:close/>
                <a:moveTo>
                  <a:pt x="4039772" y="672060"/>
                </a:moveTo>
                <a:cubicBezTo>
                  <a:pt x="4110396" y="670084"/>
                  <a:pt x="4180983" y="672384"/>
                  <a:pt x="4251476" y="686676"/>
                </a:cubicBezTo>
                <a:cubicBezTo>
                  <a:pt x="4251359" y="688829"/>
                  <a:pt x="4251242" y="690983"/>
                  <a:pt x="4251126" y="693137"/>
                </a:cubicBezTo>
                <a:cubicBezTo>
                  <a:pt x="4110024" y="689779"/>
                  <a:pt x="3968952" y="686457"/>
                  <a:pt x="3827850" y="683099"/>
                </a:cubicBezTo>
                <a:cubicBezTo>
                  <a:pt x="3898488" y="680288"/>
                  <a:pt x="3969149" y="674036"/>
                  <a:pt x="4039772" y="672060"/>
                </a:cubicBezTo>
                <a:close/>
                <a:moveTo>
                  <a:pt x="3036893" y="45960"/>
                </a:moveTo>
                <a:cubicBezTo>
                  <a:pt x="3016566" y="45147"/>
                  <a:pt x="2996503" y="54894"/>
                  <a:pt x="2975963" y="51006"/>
                </a:cubicBezTo>
                <a:cubicBezTo>
                  <a:pt x="2975933" y="53635"/>
                  <a:pt x="2975875" y="56226"/>
                  <a:pt x="2975846" y="58819"/>
                </a:cubicBezTo>
                <a:cubicBezTo>
                  <a:pt x="2990079" y="60023"/>
                  <a:pt x="3004340" y="61265"/>
                  <a:pt x="3018573" y="62469"/>
                </a:cubicBezTo>
                <a:cubicBezTo>
                  <a:pt x="3028752" y="42281"/>
                  <a:pt x="3043859" y="53416"/>
                  <a:pt x="3057334" y="51189"/>
                </a:cubicBezTo>
                <a:cubicBezTo>
                  <a:pt x="3050473" y="47675"/>
                  <a:pt x="3043668" y="46231"/>
                  <a:pt x="3036893" y="45960"/>
                </a:cubicBezTo>
                <a:close/>
                <a:moveTo>
                  <a:pt x="4186251" y="43062"/>
                </a:moveTo>
                <a:cubicBezTo>
                  <a:pt x="4182988" y="42701"/>
                  <a:pt x="4180356" y="43888"/>
                  <a:pt x="4176024" y="46297"/>
                </a:cubicBezTo>
                <a:cubicBezTo>
                  <a:pt x="4175150" y="46772"/>
                  <a:pt x="4175033" y="49327"/>
                  <a:pt x="4173925" y="53051"/>
                </a:cubicBezTo>
                <a:cubicBezTo>
                  <a:pt x="4181128" y="51955"/>
                  <a:pt x="4187516" y="51006"/>
                  <a:pt x="4200261" y="49108"/>
                </a:cubicBezTo>
                <a:cubicBezTo>
                  <a:pt x="4193407" y="45330"/>
                  <a:pt x="4189514" y="43422"/>
                  <a:pt x="4186251" y="43062"/>
                </a:cubicBezTo>
                <a:close/>
                <a:moveTo>
                  <a:pt x="3102832" y="37171"/>
                </a:moveTo>
                <a:cubicBezTo>
                  <a:pt x="3095569" y="39580"/>
                  <a:pt x="3088278" y="41989"/>
                  <a:pt x="3081016" y="44399"/>
                </a:cubicBezTo>
                <a:cubicBezTo>
                  <a:pt x="3081162" y="45969"/>
                  <a:pt x="3081337" y="47502"/>
                  <a:pt x="3081483" y="49072"/>
                </a:cubicBezTo>
                <a:cubicBezTo>
                  <a:pt x="3085420" y="49072"/>
                  <a:pt x="3089503" y="49911"/>
                  <a:pt x="3093236" y="48853"/>
                </a:cubicBezTo>
                <a:cubicBezTo>
                  <a:pt x="3097173" y="47721"/>
                  <a:pt x="3100761" y="44800"/>
                  <a:pt x="3104465" y="42647"/>
                </a:cubicBezTo>
                <a:cubicBezTo>
                  <a:pt x="3103940" y="40821"/>
                  <a:pt x="3103386" y="38996"/>
                  <a:pt x="3102832" y="37171"/>
                </a:cubicBezTo>
                <a:close/>
                <a:moveTo>
                  <a:pt x="3306492" y="33593"/>
                </a:moveTo>
                <a:cubicBezTo>
                  <a:pt x="3302555" y="34360"/>
                  <a:pt x="3298617" y="35090"/>
                  <a:pt x="3294680" y="35857"/>
                </a:cubicBezTo>
                <a:cubicBezTo>
                  <a:pt x="3294709" y="37536"/>
                  <a:pt x="3294768" y="39215"/>
                  <a:pt x="3294797" y="40894"/>
                </a:cubicBezTo>
                <a:cubicBezTo>
                  <a:pt x="3298239" y="41734"/>
                  <a:pt x="3301651" y="42610"/>
                  <a:pt x="3305092" y="43450"/>
                </a:cubicBezTo>
                <a:cubicBezTo>
                  <a:pt x="3305559" y="40164"/>
                  <a:pt x="3306026" y="36879"/>
                  <a:pt x="3306492" y="33593"/>
                </a:cubicBezTo>
                <a:close/>
                <a:moveTo>
                  <a:pt x="3595199" y="31440"/>
                </a:moveTo>
                <a:cubicBezTo>
                  <a:pt x="3593332" y="35200"/>
                  <a:pt x="3591932" y="37499"/>
                  <a:pt x="3591145" y="40091"/>
                </a:cubicBezTo>
                <a:cubicBezTo>
                  <a:pt x="3591028" y="40493"/>
                  <a:pt x="3593915" y="43413"/>
                  <a:pt x="3594907" y="43048"/>
                </a:cubicBezTo>
                <a:cubicBezTo>
                  <a:pt x="3596978" y="42281"/>
                  <a:pt x="3598728" y="40091"/>
                  <a:pt x="3600595" y="38521"/>
                </a:cubicBezTo>
                <a:cubicBezTo>
                  <a:pt x="3599078" y="36514"/>
                  <a:pt x="3597561" y="34543"/>
                  <a:pt x="3595199" y="31440"/>
                </a:cubicBezTo>
                <a:close/>
                <a:moveTo>
                  <a:pt x="3620339" y="26949"/>
                </a:moveTo>
                <a:cubicBezTo>
                  <a:pt x="3619931" y="28300"/>
                  <a:pt x="3619494" y="29687"/>
                  <a:pt x="3619085" y="31038"/>
                </a:cubicBezTo>
                <a:cubicBezTo>
                  <a:pt x="3623402" y="33155"/>
                  <a:pt x="3627689" y="35236"/>
                  <a:pt x="3632006" y="37353"/>
                </a:cubicBezTo>
                <a:cubicBezTo>
                  <a:pt x="3632413" y="36039"/>
                  <a:pt x="3632822" y="34725"/>
                  <a:pt x="3633230" y="33374"/>
                </a:cubicBezTo>
                <a:cubicBezTo>
                  <a:pt x="3628943" y="31221"/>
                  <a:pt x="3624627" y="29103"/>
                  <a:pt x="3620339" y="26949"/>
                </a:cubicBezTo>
                <a:close/>
                <a:moveTo>
                  <a:pt x="3256135" y="26939"/>
                </a:moveTo>
                <a:cubicBezTo>
                  <a:pt x="3234646" y="23835"/>
                  <a:pt x="3213784" y="36368"/>
                  <a:pt x="3191494" y="37463"/>
                </a:cubicBezTo>
                <a:cubicBezTo>
                  <a:pt x="3198756" y="51627"/>
                  <a:pt x="3207738" y="44180"/>
                  <a:pt x="3215409" y="45385"/>
                </a:cubicBezTo>
                <a:cubicBezTo>
                  <a:pt x="3223225" y="46626"/>
                  <a:pt x="3230779" y="50641"/>
                  <a:pt x="3238421" y="53452"/>
                </a:cubicBezTo>
                <a:cubicBezTo>
                  <a:pt x="3238741" y="49473"/>
                  <a:pt x="3239208" y="43888"/>
                  <a:pt x="3239995" y="33922"/>
                </a:cubicBezTo>
                <a:cubicBezTo>
                  <a:pt x="3253295" y="40274"/>
                  <a:pt x="3264524" y="45604"/>
                  <a:pt x="3275840" y="51006"/>
                </a:cubicBezTo>
                <a:cubicBezTo>
                  <a:pt x="3276685" y="45166"/>
                  <a:pt x="3277269" y="41004"/>
                  <a:pt x="3277910" y="36258"/>
                </a:cubicBezTo>
                <a:cubicBezTo>
                  <a:pt x="3270532" y="30746"/>
                  <a:pt x="3263299" y="27974"/>
                  <a:pt x="3256135" y="26939"/>
                </a:cubicBezTo>
                <a:close/>
                <a:moveTo>
                  <a:pt x="4516471" y="21291"/>
                </a:moveTo>
                <a:cubicBezTo>
                  <a:pt x="4522070" y="30600"/>
                  <a:pt x="4526707" y="42647"/>
                  <a:pt x="4538607" y="33812"/>
                </a:cubicBezTo>
                <a:cubicBezTo>
                  <a:pt x="4531228" y="29578"/>
                  <a:pt x="4523849" y="25452"/>
                  <a:pt x="4516471" y="21291"/>
                </a:cubicBezTo>
                <a:close/>
                <a:moveTo>
                  <a:pt x="4489551" y="21181"/>
                </a:moveTo>
                <a:cubicBezTo>
                  <a:pt x="4489697" y="22934"/>
                  <a:pt x="4489843" y="24649"/>
                  <a:pt x="4489988" y="26365"/>
                </a:cubicBezTo>
                <a:cubicBezTo>
                  <a:pt x="4498709" y="24649"/>
                  <a:pt x="4507400" y="22897"/>
                  <a:pt x="4516120" y="21181"/>
                </a:cubicBezTo>
                <a:cubicBezTo>
                  <a:pt x="4507254" y="21181"/>
                  <a:pt x="4498388" y="21181"/>
                  <a:pt x="4489551" y="21181"/>
                </a:cubicBezTo>
                <a:close/>
                <a:moveTo>
                  <a:pt x="3321804" y="21035"/>
                </a:moveTo>
                <a:cubicBezTo>
                  <a:pt x="3316117" y="28994"/>
                  <a:pt x="3310896" y="36295"/>
                  <a:pt x="3305675" y="43596"/>
                </a:cubicBezTo>
                <a:cubicBezTo>
                  <a:pt x="3305821" y="43632"/>
                  <a:pt x="3305996" y="43669"/>
                  <a:pt x="3306142" y="43705"/>
                </a:cubicBezTo>
                <a:cubicBezTo>
                  <a:pt x="3305384" y="45312"/>
                  <a:pt x="3304480" y="46881"/>
                  <a:pt x="3303955" y="48597"/>
                </a:cubicBezTo>
                <a:cubicBezTo>
                  <a:pt x="3303809" y="48999"/>
                  <a:pt x="3304830" y="50532"/>
                  <a:pt x="3305442" y="50678"/>
                </a:cubicBezTo>
                <a:cubicBezTo>
                  <a:pt x="3327579" y="56482"/>
                  <a:pt x="3348694" y="48889"/>
                  <a:pt x="3369898" y="42720"/>
                </a:cubicBezTo>
                <a:cubicBezTo>
                  <a:pt x="3370568" y="42537"/>
                  <a:pt x="3370714" y="39361"/>
                  <a:pt x="3371122" y="37682"/>
                </a:cubicBezTo>
                <a:cubicBezTo>
                  <a:pt x="3355373" y="32024"/>
                  <a:pt x="3335307" y="50532"/>
                  <a:pt x="3321804" y="21035"/>
                </a:cubicBezTo>
                <a:close/>
                <a:moveTo>
                  <a:pt x="3413033" y="20013"/>
                </a:moveTo>
                <a:cubicBezTo>
                  <a:pt x="3412304" y="22386"/>
                  <a:pt x="3411545" y="24795"/>
                  <a:pt x="3410816" y="27168"/>
                </a:cubicBezTo>
                <a:cubicBezTo>
                  <a:pt x="3415395" y="28117"/>
                  <a:pt x="3419945" y="29030"/>
                  <a:pt x="3424495" y="29979"/>
                </a:cubicBezTo>
                <a:cubicBezTo>
                  <a:pt x="3424699" y="28957"/>
                  <a:pt x="3424874" y="27935"/>
                  <a:pt x="3425049" y="26876"/>
                </a:cubicBezTo>
                <a:cubicBezTo>
                  <a:pt x="3421053" y="24576"/>
                  <a:pt x="3417028" y="22313"/>
                  <a:pt x="3413033" y="20013"/>
                </a:cubicBezTo>
                <a:close/>
                <a:moveTo>
                  <a:pt x="4443353" y="19758"/>
                </a:moveTo>
                <a:cubicBezTo>
                  <a:pt x="4442828" y="21729"/>
                  <a:pt x="4442303" y="23700"/>
                  <a:pt x="4441778" y="25671"/>
                </a:cubicBezTo>
                <a:cubicBezTo>
                  <a:pt x="4445628" y="26986"/>
                  <a:pt x="4449507" y="28300"/>
                  <a:pt x="4453357" y="29614"/>
                </a:cubicBezTo>
                <a:cubicBezTo>
                  <a:pt x="4453649" y="28409"/>
                  <a:pt x="4453940" y="27168"/>
                  <a:pt x="4454203" y="25927"/>
                </a:cubicBezTo>
                <a:cubicBezTo>
                  <a:pt x="4450586" y="23883"/>
                  <a:pt x="4446970" y="21802"/>
                  <a:pt x="4443353" y="19758"/>
                </a:cubicBezTo>
                <a:close/>
                <a:moveTo>
                  <a:pt x="3942848" y="592"/>
                </a:moveTo>
                <a:cubicBezTo>
                  <a:pt x="3990446" y="994"/>
                  <a:pt x="4038044" y="5667"/>
                  <a:pt x="4085671" y="6251"/>
                </a:cubicBezTo>
                <a:cubicBezTo>
                  <a:pt x="4145255" y="7017"/>
                  <a:pt x="4204898" y="4791"/>
                  <a:pt x="4264483" y="5265"/>
                </a:cubicBezTo>
                <a:cubicBezTo>
                  <a:pt x="4352708" y="5995"/>
                  <a:pt x="4440962" y="7455"/>
                  <a:pt x="4529158" y="10011"/>
                </a:cubicBezTo>
                <a:cubicBezTo>
                  <a:pt x="4542369" y="10376"/>
                  <a:pt x="4555406" y="18298"/>
                  <a:pt x="4568443" y="22715"/>
                </a:cubicBezTo>
                <a:cubicBezTo>
                  <a:pt x="4557827" y="22350"/>
                  <a:pt x="4543944" y="9281"/>
                  <a:pt x="4539657" y="33265"/>
                </a:cubicBezTo>
                <a:cubicBezTo>
                  <a:pt x="4549223" y="29760"/>
                  <a:pt x="4558818" y="26255"/>
                  <a:pt x="4568385" y="22751"/>
                </a:cubicBezTo>
                <a:cubicBezTo>
                  <a:pt x="4582180" y="33703"/>
                  <a:pt x="4582180" y="33703"/>
                  <a:pt x="4571564" y="52101"/>
                </a:cubicBezTo>
                <a:cubicBezTo>
                  <a:pt x="4577484" y="60425"/>
                  <a:pt x="4587954" y="68821"/>
                  <a:pt x="4587517" y="76195"/>
                </a:cubicBezTo>
                <a:cubicBezTo>
                  <a:pt x="4586992" y="84993"/>
                  <a:pt x="4577105" y="92915"/>
                  <a:pt x="4570193" y="102771"/>
                </a:cubicBezTo>
                <a:cubicBezTo>
                  <a:pt x="4584134" y="115840"/>
                  <a:pt x="4586351" y="133071"/>
                  <a:pt x="4581976" y="156835"/>
                </a:cubicBezTo>
                <a:cubicBezTo>
                  <a:pt x="4578709" y="174723"/>
                  <a:pt x="4585563" y="195495"/>
                  <a:pt x="4588100" y="216522"/>
                </a:cubicBezTo>
                <a:cubicBezTo>
                  <a:pt x="4556310" y="247077"/>
                  <a:pt x="4559081" y="254670"/>
                  <a:pt x="4582326" y="282670"/>
                </a:cubicBezTo>
                <a:cubicBezTo>
                  <a:pt x="4584659" y="305887"/>
                  <a:pt x="4569639" y="315525"/>
                  <a:pt x="4559110" y="327061"/>
                </a:cubicBezTo>
                <a:cubicBezTo>
                  <a:pt x="4559664" y="342940"/>
                  <a:pt x="4577951" y="338815"/>
                  <a:pt x="4576434" y="356849"/>
                </a:cubicBezTo>
                <a:cubicBezTo>
                  <a:pt x="4575443" y="368567"/>
                  <a:pt x="4579613" y="380979"/>
                  <a:pt x="4581713" y="394595"/>
                </a:cubicBezTo>
                <a:cubicBezTo>
                  <a:pt x="4575676" y="407737"/>
                  <a:pt x="4568676" y="422997"/>
                  <a:pt x="4561648" y="438292"/>
                </a:cubicBezTo>
                <a:cubicBezTo>
                  <a:pt x="4562814" y="439424"/>
                  <a:pt x="4563981" y="440593"/>
                  <a:pt x="4565147" y="441724"/>
                </a:cubicBezTo>
                <a:cubicBezTo>
                  <a:pt x="4555931" y="447017"/>
                  <a:pt x="4546686" y="452311"/>
                  <a:pt x="4535778" y="458590"/>
                </a:cubicBezTo>
                <a:cubicBezTo>
                  <a:pt x="4543856" y="470819"/>
                  <a:pt x="4550769" y="481296"/>
                  <a:pt x="4557681" y="491773"/>
                </a:cubicBezTo>
                <a:cubicBezTo>
                  <a:pt x="4546336" y="503564"/>
                  <a:pt x="4535545" y="513348"/>
                  <a:pt x="4542165" y="536492"/>
                </a:cubicBezTo>
                <a:cubicBezTo>
                  <a:pt x="4545607" y="548576"/>
                  <a:pt x="4538374" y="562557"/>
                  <a:pt x="4527641" y="569347"/>
                </a:cubicBezTo>
                <a:cubicBezTo>
                  <a:pt x="4523091" y="572195"/>
                  <a:pt x="4518016" y="573728"/>
                  <a:pt x="4513554" y="575699"/>
                </a:cubicBezTo>
                <a:cubicBezTo>
                  <a:pt x="4512446" y="608627"/>
                  <a:pt x="4487859" y="638196"/>
                  <a:pt x="4462806" y="645680"/>
                </a:cubicBezTo>
                <a:cubicBezTo>
                  <a:pt x="4387443" y="668167"/>
                  <a:pt x="4311001" y="657216"/>
                  <a:pt x="4235143" y="658566"/>
                </a:cubicBezTo>
                <a:cubicBezTo>
                  <a:pt x="4122448" y="660574"/>
                  <a:pt x="4009666" y="656850"/>
                  <a:pt x="3896913" y="655390"/>
                </a:cubicBezTo>
                <a:cubicBezTo>
                  <a:pt x="3829250" y="654514"/>
                  <a:pt x="3761586" y="652579"/>
                  <a:pt x="3693923" y="652470"/>
                </a:cubicBezTo>
                <a:cubicBezTo>
                  <a:pt x="3658371" y="652397"/>
                  <a:pt x="3622818" y="656339"/>
                  <a:pt x="3587266" y="656412"/>
                </a:cubicBezTo>
                <a:cubicBezTo>
                  <a:pt x="3562330" y="656485"/>
                  <a:pt x="3537422" y="652360"/>
                  <a:pt x="3512457" y="651521"/>
                </a:cubicBezTo>
                <a:cubicBezTo>
                  <a:pt x="3491896" y="650827"/>
                  <a:pt x="3471247" y="651740"/>
                  <a:pt x="3450685" y="652835"/>
                </a:cubicBezTo>
                <a:cubicBezTo>
                  <a:pt x="3429161" y="653967"/>
                  <a:pt x="3407667" y="656595"/>
                  <a:pt x="3386143" y="657763"/>
                </a:cubicBezTo>
                <a:cubicBezTo>
                  <a:pt x="3336037" y="660538"/>
                  <a:pt x="3285902" y="662327"/>
                  <a:pt x="3235825" y="665393"/>
                </a:cubicBezTo>
                <a:cubicBezTo>
                  <a:pt x="3166762" y="669627"/>
                  <a:pt x="3097669" y="674154"/>
                  <a:pt x="3028664" y="679740"/>
                </a:cubicBezTo>
                <a:cubicBezTo>
                  <a:pt x="3011661" y="681090"/>
                  <a:pt x="2995037" y="689304"/>
                  <a:pt x="2978063" y="690691"/>
                </a:cubicBezTo>
                <a:cubicBezTo>
                  <a:pt x="2925273" y="694999"/>
                  <a:pt x="2872368" y="697554"/>
                  <a:pt x="2819520" y="700694"/>
                </a:cubicBezTo>
                <a:cubicBezTo>
                  <a:pt x="2780556" y="702994"/>
                  <a:pt x="2741591" y="706571"/>
                  <a:pt x="2702597" y="707009"/>
                </a:cubicBezTo>
                <a:cubicBezTo>
                  <a:pt x="2659491" y="707484"/>
                  <a:pt x="2616355" y="704198"/>
                  <a:pt x="2573249" y="704308"/>
                </a:cubicBezTo>
                <a:cubicBezTo>
                  <a:pt x="2550092" y="704381"/>
                  <a:pt x="2526935" y="708141"/>
                  <a:pt x="2503778" y="710185"/>
                </a:cubicBezTo>
                <a:cubicBezTo>
                  <a:pt x="2501211" y="710441"/>
                  <a:pt x="2498411" y="711244"/>
                  <a:pt x="2496019" y="710368"/>
                </a:cubicBezTo>
                <a:cubicBezTo>
                  <a:pt x="2457026" y="696167"/>
                  <a:pt x="2417127" y="706462"/>
                  <a:pt x="2377930" y="706206"/>
                </a:cubicBezTo>
                <a:cubicBezTo>
                  <a:pt x="2334269" y="705951"/>
                  <a:pt x="2290113" y="703979"/>
                  <a:pt x="2246278" y="714821"/>
                </a:cubicBezTo>
                <a:cubicBezTo>
                  <a:pt x="2222041" y="720845"/>
                  <a:pt x="2195792" y="719312"/>
                  <a:pt x="2171031" y="715442"/>
                </a:cubicBezTo>
                <a:cubicBezTo>
                  <a:pt x="2125825" y="708433"/>
                  <a:pt x="2081202" y="716793"/>
                  <a:pt x="2036492" y="719421"/>
                </a:cubicBezTo>
                <a:cubicBezTo>
                  <a:pt x="1977870" y="722853"/>
                  <a:pt x="1919481" y="727416"/>
                  <a:pt x="1860655" y="723802"/>
                </a:cubicBezTo>
                <a:cubicBezTo>
                  <a:pt x="1826240" y="721685"/>
                  <a:pt x="1791592" y="726284"/>
                  <a:pt x="1757031" y="727744"/>
                </a:cubicBezTo>
                <a:cubicBezTo>
                  <a:pt x="1723287" y="729131"/>
                  <a:pt x="1689543" y="730555"/>
                  <a:pt x="1655769" y="731650"/>
                </a:cubicBezTo>
                <a:cubicBezTo>
                  <a:pt x="1635062" y="732344"/>
                  <a:pt x="1614209" y="730957"/>
                  <a:pt x="1593618" y="733147"/>
                </a:cubicBezTo>
                <a:cubicBezTo>
                  <a:pt x="1576731" y="734973"/>
                  <a:pt x="1561040" y="732709"/>
                  <a:pt x="1545349" y="725152"/>
                </a:cubicBezTo>
                <a:cubicBezTo>
                  <a:pt x="1538408" y="721794"/>
                  <a:pt x="1530388" y="718435"/>
                  <a:pt x="1523359" y="719640"/>
                </a:cubicBezTo>
                <a:cubicBezTo>
                  <a:pt x="1488273" y="725773"/>
                  <a:pt x="1455812" y="707082"/>
                  <a:pt x="1421660" y="703797"/>
                </a:cubicBezTo>
                <a:cubicBezTo>
                  <a:pt x="1401623" y="701862"/>
                  <a:pt x="1382491" y="687953"/>
                  <a:pt x="1362483" y="681930"/>
                </a:cubicBezTo>
                <a:cubicBezTo>
                  <a:pt x="1348455" y="677695"/>
                  <a:pt x="1333639" y="676199"/>
                  <a:pt x="1319144" y="676053"/>
                </a:cubicBezTo>
                <a:cubicBezTo>
                  <a:pt x="1288783" y="675761"/>
                  <a:pt x="1258393" y="676345"/>
                  <a:pt x="1228061" y="678061"/>
                </a:cubicBezTo>
                <a:cubicBezTo>
                  <a:pt x="1156168" y="682149"/>
                  <a:pt x="1084335" y="687114"/>
                  <a:pt x="1012501" y="691750"/>
                </a:cubicBezTo>
                <a:cubicBezTo>
                  <a:pt x="1006463" y="692115"/>
                  <a:pt x="999522" y="695473"/>
                  <a:pt x="994564" y="692809"/>
                </a:cubicBezTo>
                <a:cubicBezTo>
                  <a:pt x="968607" y="678900"/>
                  <a:pt x="943583" y="689961"/>
                  <a:pt x="918297" y="695145"/>
                </a:cubicBezTo>
                <a:cubicBezTo>
                  <a:pt x="915730" y="695656"/>
                  <a:pt x="913018" y="697153"/>
                  <a:pt x="910626" y="696605"/>
                </a:cubicBezTo>
                <a:cubicBezTo>
                  <a:pt x="866383" y="686237"/>
                  <a:pt x="820681" y="704344"/>
                  <a:pt x="776787" y="685982"/>
                </a:cubicBezTo>
                <a:cubicBezTo>
                  <a:pt x="772908" y="684339"/>
                  <a:pt x="767221" y="682879"/>
                  <a:pt x="764304" y="685179"/>
                </a:cubicBezTo>
                <a:cubicBezTo>
                  <a:pt x="750422" y="696021"/>
                  <a:pt x="735664" y="690363"/>
                  <a:pt x="721140" y="691130"/>
                </a:cubicBezTo>
                <a:cubicBezTo>
                  <a:pt x="691945" y="692699"/>
                  <a:pt x="662780" y="695984"/>
                  <a:pt x="633615" y="698248"/>
                </a:cubicBezTo>
                <a:cubicBezTo>
                  <a:pt x="614074" y="699781"/>
                  <a:pt x="596779" y="693867"/>
                  <a:pt x="579572" y="680360"/>
                </a:cubicBezTo>
                <a:cubicBezTo>
                  <a:pt x="551777" y="658530"/>
                  <a:pt x="521008" y="646629"/>
                  <a:pt x="487322" y="644913"/>
                </a:cubicBezTo>
                <a:cubicBezTo>
                  <a:pt x="459061" y="643490"/>
                  <a:pt x="431033" y="634583"/>
                  <a:pt x="402772" y="632940"/>
                </a:cubicBezTo>
                <a:cubicBezTo>
                  <a:pt x="377077" y="631479"/>
                  <a:pt x="351179" y="635349"/>
                  <a:pt x="325368" y="636846"/>
                </a:cubicBezTo>
                <a:cubicBezTo>
                  <a:pt x="317610" y="637284"/>
                  <a:pt x="309181" y="640314"/>
                  <a:pt x="302240" y="637539"/>
                </a:cubicBezTo>
                <a:cubicBezTo>
                  <a:pt x="272987" y="625857"/>
                  <a:pt x="242188" y="631589"/>
                  <a:pt x="212877" y="623631"/>
                </a:cubicBezTo>
                <a:cubicBezTo>
                  <a:pt x="195553" y="618922"/>
                  <a:pt x="178725" y="610343"/>
                  <a:pt x="162217" y="601874"/>
                </a:cubicBezTo>
                <a:cubicBezTo>
                  <a:pt x="135239" y="588075"/>
                  <a:pt x="113336" y="564346"/>
                  <a:pt x="90121" y="542954"/>
                </a:cubicBezTo>
                <a:cubicBezTo>
                  <a:pt x="70172" y="524591"/>
                  <a:pt x="47190" y="511340"/>
                  <a:pt x="27474" y="492649"/>
                </a:cubicBezTo>
                <a:cubicBezTo>
                  <a:pt x="17033" y="482720"/>
                  <a:pt x="10675" y="466037"/>
                  <a:pt x="0" y="448295"/>
                </a:cubicBezTo>
                <a:cubicBezTo>
                  <a:pt x="9800" y="442783"/>
                  <a:pt x="16099" y="437161"/>
                  <a:pt x="22924" y="435773"/>
                </a:cubicBezTo>
                <a:cubicBezTo>
                  <a:pt x="44623" y="431357"/>
                  <a:pt x="64689" y="423289"/>
                  <a:pt x="79680" y="401933"/>
                </a:cubicBezTo>
                <a:cubicBezTo>
                  <a:pt x="84638" y="394851"/>
                  <a:pt x="90587" y="387550"/>
                  <a:pt x="92745" y="379008"/>
                </a:cubicBezTo>
                <a:cubicBezTo>
                  <a:pt x="97150" y="361412"/>
                  <a:pt x="105928" y="354549"/>
                  <a:pt x="119811" y="355279"/>
                </a:cubicBezTo>
                <a:cubicBezTo>
                  <a:pt x="122407" y="355425"/>
                  <a:pt x="125032" y="355498"/>
                  <a:pt x="127627" y="355425"/>
                </a:cubicBezTo>
                <a:cubicBezTo>
                  <a:pt x="150259" y="354805"/>
                  <a:pt x="153759" y="351738"/>
                  <a:pt x="161897" y="325272"/>
                </a:cubicBezTo>
                <a:cubicBezTo>
                  <a:pt x="163442" y="320270"/>
                  <a:pt x="164725" y="315123"/>
                  <a:pt x="165280" y="313079"/>
                </a:cubicBezTo>
                <a:cubicBezTo>
                  <a:pt x="215065" y="276026"/>
                  <a:pt x="269370" y="267630"/>
                  <a:pt x="322597" y="254634"/>
                </a:cubicBezTo>
                <a:cubicBezTo>
                  <a:pt x="334117" y="251823"/>
                  <a:pt x="342779" y="247953"/>
                  <a:pt x="340038" y="227510"/>
                </a:cubicBezTo>
                <a:cubicBezTo>
                  <a:pt x="350887" y="245580"/>
                  <a:pt x="361999" y="245945"/>
                  <a:pt x="377865" y="242149"/>
                </a:cubicBezTo>
                <a:cubicBezTo>
                  <a:pt x="459469" y="222655"/>
                  <a:pt x="541482" y="205862"/>
                  <a:pt x="623436" y="188705"/>
                </a:cubicBezTo>
                <a:cubicBezTo>
                  <a:pt x="659310" y="181185"/>
                  <a:pt x="695300" y="173993"/>
                  <a:pt x="731406" y="168517"/>
                </a:cubicBezTo>
                <a:cubicBezTo>
                  <a:pt x="792303" y="159281"/>
                  <a:pt x="853287" y="150484"/>
                  <a:pt x="914360" y="143328"/>
                </a:cubicBezTo>
                <a:cubicBezTo>
                  <a:pt x="1035220" y="129201"/>
                  <a:pt x="1156373" y="123068"/>
                  <a:pt x="1277759" y="120038"/>
                </a:cubicBezTo>
                <a:cubicBezTo>
                  <a:pt x="1386778" y="117337"/>
                  <a:pt x="1495739" y="111021"/>
                  <a:pt x="1604642" y="104268"/>
                </a:cubicBezTo>
                <a:cubicBezTo>
                  <a:pt x="1701588" y="98244"/>
                  <a:pt x="1798416" y="89009"/>
                  <a:pt x="1895332" y="82109"/>
                </a:cubicBezTo>
                <a:cubicBezTo>
                  <a:pt x="1964512" y="77181"/>
                  <a:pt x="2033750" y="73859"/>
                  <a:pt x="2102960" y="69770"/>
                </a:cubicBezTo>
                <a:cubicBezTo>
                  <a:pt x="2169369" y="65864"/>
                  <a:pt x="2235749" y="60206"/>
                  <a:pt x="2302216" y="58453"/>
                </a:cubicBezTo>
                <a:cubicBezTo>
                  <a:pt x="2381021" y="56372"/>
                  <a:pt x="2459855" y="58526"/>
                  <a:pt x="2538659" y="57212"/>
                </a:cubicBezTo>
                <a:cubicBezTo>
                  <a:pt x="2592265" y="56336"/>
                  <a:pt x="2645841" y="52393"/>
                  <a:pt x="2699447" y="50167"/>
                </a:cubicBezTo>
                <a:cubicBezTo>
                  <a:pt x="2784172" y="46699"/>
                  <a:pt x="2868926" y="44107"/>
                  <a:pt x="2953651" y="39945"/>
                </a:cubicBezTo>
                <a:cubicBezTo>
                  <a:pt x="3001191" y="37609"/>
                  <a:pt x="3048642" y="32462"/>
                  <a:pt x="3096182" y="29286"/>
                </a:cubicBezTo>
                <a:cubicBezTo>
                  <a:pt x="3146375" y="25963"/>
                  <a:pt x="3196568" y="23262"/>
                  <a:pt x="3246791" y="20670"/>
                </a:cubicBezTo>
                <a:cubicBezTo>
                  <a:pt x="3293543" y="18261"/>
                  <a:pt x="3340324" y="16545"/>
                  <a:pt x="3387075" y="14245"/>
                </a:cubicBezTo>
                <a:cubicBezTo>
                  <a:pt x="3433740" y="11945"/>
                  <a:pt x="3480375" y="9500"/>
                  <a:pt x="3527040" y="6835"/>
                </a:cubicBezTo>
                <a:cubicBezTo>
                  <a:pt x="3560755" y="4900"/>
                  <a:pt x="3594441" y="957"/>
                  <a:pt x="3628155" y="702"/>
                </a:cubicBezTo>
                <a:cubicBezTo>
                  <a:pt x="3733034" y="-138"/>
                  <a:pt x="3837941" y="-284"/>
                  <a:pt x="3942848" y="592"/>
                </a:cubicBezTo>
                <a:close/>
              </a:path>
            </a:pathLst>
          </a:custGeom>
          <a:solidFill>
            <a:schemeClr val="accent1"/>
          </a:solidFill>
          <a:ln w="7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Awareness</a:t>
            </a:r>
            <a:endParaRPr kumimoji="0" lang="pt-PT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1100">
                <a:solidFill>
                  <a:schemeClr val="bg1"/>
                </a:solidFill>
              </a:rPr>
              <a:t>Maximize </a:t>
            </a:r>
            <a:r>
              <a:rPr lang="pt-PT" sz="1100" err="1">
                <a:solidFill>
                  <a:schemeClr val="bg1"/>
                </a:solidFill>
              </a:rPr>
              <a:t>Reach</a:t>
            </a:r>
            <a:endParaRPr kumimoji="0" lang="pt-PT" sz="11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6" name="Forma livre: Forma 24">
            <a:extLst>
              <a:ext uri="{FF2B5EF4-FFF2-40B4-BE49-F238E27FC236}">
                <a16:creationId xmlns:a16="http://schemas.microsoft.com/office/drawing/2014/main" id="{96324349-70E3-771E-6FBC-387543519917}"/>
              </a:ext>
            </a:extLst>
          </p:cNvPr>
          <p:cNvSpPr/>
          <p:nvPr/>
        </p:nvSpPr>
        <p:spPr>
          <a:xfrm>
            <a:off x="431511" y="3378052"/>
            <a:ext cx="2257198" cy="799863"/>
          </a:xfrm>
          <a:custGeom>
            <a:avLst/>
            <a:gdLst>
              <a:gd name="connsiteX0" fmla="*/ 2999732 w 4588100"/>
              <a:gd name="connsiteY0" fmla="*/ 713398 h 758459"/>
              <a:gd name="connsiteX1" fmla="*/ 2977771 w 4588100"/>
              <a:gd name="connsiteY1" fmla="*/ 722890 h 758459"/>
              <a:gd name="connsiteX2" fmla="*/ 2762152 w 4588100"/>
              <a:gd name="connsiteY2" fmla="*/ 735959 h 758459"/>
              <a:gd name="connsiteX3" fmla="*/ 2543821 w 4588100"/>
              <a:gd name="connsiteY3" fmla="*/ 745633 h 758459"/>
              <a:gd name="connsiteX4" fmla="*/ 2296996 w 4588100"/>
              <a:gd name="connsiteY4" fmla="*/ 743515 h 758459"/>
              <a:gd name="connsiteX5" fmla="*/ 2148749 w 4588100"/>
              <a:gd name="connsiteY5" fmla="*/ 748079 h 758459"/>
              <a:gd name="connsiteX6" fmla="*/ 2019080 w 4588100"/>
              <a:gd name="connsiteY6" fmla="*/ 758373 h 758459"/>
              <a:gd name="connsiteX7" fmla="*/ 1997586 w 4588100"/>
              <a:gd name="connsiteY7" fmla="*/ 755817 h 758459"/>
              <a:gd name="connsiteX8" fmla="*/ 1997031 w 4588100"/>
              <a:gd name="connsiteY8" fmla="*/ 744282 h 758459"/>
              <a:gd name="connsiteX9" fmla="*/ 2020130 w 4588100"/>
              <a:gd name="connsiteY9" fmla="*/ 737127 h 758459"/>
              <a:gd name="connsiteX10" fmla="*/ 2266926 w 4588100"/>
              <a:gd name="connsiteY10" fmla="*/ 726467 h 758459"/>
              <a:gd name="connsiteX11" fmla="*/ 2542596 w 4588100"/>
              <a:gd name="connsiteY11" fmla="*/ 723693 h 758459"/>
              <a:gd name="connsiteX12" fmla="*/ 2766090 w 4588100"/>
              <a:gd name="connsiteY12" fmla="*/ 717779 h 758459"/>
              <a:gd name="connsiteX13" fmla="*/ 2857085 w 4588100"/>
              <a:gd name="connsiteY13" fmla="*/ 716720 h 758459"/>
              <a:gd name="connsiteX14" fmla="*/ 2999732 w 4588100"/>
              <a:gd name="connsiteY14" fmla="*/ 713398 h 758459"/>
              <a:gd name="connsiteX15" fmla="*/ 3416328 w 4588100"/>
              <a:gd name="connsiteY15" fmla="*/ 693101 h 758459"/>
              <a:gd name="connsiteX16" fmla="*/ 3441789 w 4588100"/>
              <a:gd name="connsiteY16" fmla="*/ 693101 h 758459"/>
              <a:gd name="connsiteX17" fmla="*/ 3441819 w 4588100"/>
              <a:gd name="connsiteY17" fmla="*/ 694306 h 758459"/>
              <a:gd name="connsiteX18" fmla="*/ 3416504 w 4588100"/>
              <a:gd name="connsiteY18" fmla="*/ 695985 h 758459"/>
              <a:gd name="connsiteX19" fmla="*/ 3416328 w 4588100"/>
              <a:gd name="connsiteY19" fmla="*/ 693101 h 758459"/>
              <a:gd name="connsiteX20" fmla="*/ 4276382 w 4588100"/>
              <a:gd name="connsiteY20" fmla="*/ 685836 h 758459"/>
              <a:gd name="connsiteX21" fmla="*/ 4301347 w 4588100"/>
              <a:gd name="connsiteY21" fmla="*/ 685836 h 758459"/>
              <a:gd name="connsiteX22" fmla="*/ 4301377 w 4588100"/>
              <a:gd name="connsiteY22" fmla="*/ 687661 h 758459"/>
              <a:gd name="connsiteX23" fmla="*/ 4276762 w 4588100"/>
              <a:gd name="connsiteY23" fmla="*/ 687661 h 758459"/>
              <a:gd name="connsiteX24" fmla="*/ 4276382 w 4588100"/>
              <a:gd name="connsiteY24" fmla="*/ 685836 h 758459"/>
              <a:gd name="connsiteX25" fmla="*/ 3787310 w 4588100"/>
              <a:gd name="connsiteY25" fmla="*/ 679922 h 758459"/>
              <a:gd name="connsiteX26" fmla="*/ 3787660 w 4588100"/>
              <a:gd name="connsiteY26" fmla="*/ 680908 h 758459"/>
              <a:gd name="connsiteX27" fmla="*/ 3775032 w 4588100"/>
              <a:gd name="connsiteY27" fmla="*/ 681638 h 758459"/>
              <a:gd name="connsiteX28" fmla="*/ 3775002 w 4588100"/>
              <a:gd name="connsiteY28" fmla="*/ 679958 h 758459"/>
              <a:gd name="connsiteX29" fmla="*/ 3787310 w 4588100"/>
              <a:gd name="connsiteY29" fmla="*/ 679922 h 758459"/>
              <a:gd name="connsiteX30" fmla="*/ 3654433 w 4588100"/>
              <a:gd name="connsiteY30" fmla="*/ 678754 h 758459"/>
              <a:gd name="connsiteX31" fmla="*/ 3726793 w 4588100"/>
              <a:gd name="connsiteY31" fmla="*/ 678754 h 758459"/>
              <a:gd name="connsiteX32" fmla="*/ 3726034 w 4588100"/>
              <a:gd name="connsiteY32" fmla="*/ 682441 h 758459"/>
              <a:gd name="connsiteX33" fmla="*/ 3654463 w 4588100"/>
              <a:gd name="connsiteY33" fmla="*/ 682441 h 758459"/>
              <a:gd name="connsiteX34" fmla="*/ 3654433 w 4588100"/>
              <a:gd name="connsiteY34" fmla="*/ 678754 h 758459"/>
              <a:gd name="connsiteX35" fmla="*/ 4039772 w 4588100"/>
              <a:gd name="connsiteY35" fmla="*/ 672060 h 758459"/>
              <a:gd name="connsiteX36" fmla="*/ 4251476 w 4588100"/>
              <a:gd name="connsiteY36" fmla="*/ 686676 h 758459"/>
              <a:gd name="connsiteX37" fmla="*/ 4251126 w 4588100"/>
              <a:gd name="connsiteY37" fmla="*/ 693137 h 758459"/>
              <a:gd name="connsiteX38" fmla="*/ 3827850 w 4588100"/>
              <a:gd name="connsiteY38" fmla="*/ 683099 h 758459"/>
              <a:gd name="connsiteX39" fmla="*/ 4039772 w 4588100"/>
              <a:gd name="connsiteY39" fmla="*/ 672060 h 758459"/>
              <a:gd name="connsiteX40" fmla="*/ 3036893 w 4588100"/>
              <a:gd name="connsiteY40" fmla="*/ 45960 h 758459"/>
              <a:gd name="connsiteX41" fmla="*/ 2975963 w 4588100"/>
              <a:gd name="connsiteY41" fmla="*/ 51006 h 758459"/>
              <a:gd name="connsiteX42" fmla="*/ 2975846 w 4588100"/>
              <a:gd name="connsiteY42" fmla="*/ 58819 h 758459"/>
              <a:gd name="connsiteX43" fmla="*/ 3018573 w 4588100"/>
              <a:gd name="connsiteY43" fmla="*/ 62469 h 758459"/>
              <a:gd name="connsiteX44" fmla="*/ 3057334 w 4588100"/>
              <a:gd name="connsiteY44" fmla="*/ 51189 h 758459"/>
              <a:gd name="connsiteX45" fmla="*/ 3036893 w 4588100"/>
              <a:gd name="connsiteY45" fmla="*/ 45960 h 758459"/>
              <a:gd name="connsiteX46" fmla="*/ 4186251 w 4588100"/>
              <a:gd name="connsiteY46" fmla="*/ 43062 h 758459"/>
              <a:gd name="connsiteX47" fmla="*/ 4176024 w 4588100"/>
              <a:gd name="connsiteY47" fmla="*/ 46297 h 758459"/>
              <a:gd name="connsiteX48" fmla="*/ 4173925 w 4588100"/>
              <a:gd name="connsiteY48" fmla="*/ 53051 h 758459"/>
              <a:gd name="connsiteX49" fmla="*/ 4200261 w 4588100"/>
              <a:gd name="connsiteY49" fmla="*/ 49108 h 758459"/>
              <a:gd name="connsiteX50" fmla="*/ 4186251 w 4588100"/>
              <a:gd name="connsiteY50" fmla="*/ 43062 h 758459"/>
              <a:gd name="connsiteX51" fmla="*/ 3102832 w 4588100"/>
              <a:gd name="connsiteY51" fmla="*/ 37171 h 758459"/>
              <a:gd name="connsiteX52" fmla="*/ 3081016 w 4588100"/>
              <a:gd name="connsiteY52" fmla="*/ 44399 h 758459"/>
              <a:gd name="connsiteX53" fmla="*/ 3081483 w 4588100"/>
              <a:gd name="connsiteY53" fmla="*/ 49072 h 758459"/>
              <a:gd name="connsiteX54" fmla="*/ 3093236 w 4588100"/>
              <a:gd name="connsiteY54" fmla="*/ 48853 h 758459"/>
              <a:gd name="connsiteX55" fmla="*/ 3104465 w 4588100"/>
              <a:gd name="connsiteY55" fmla="*/ 42647 h 758459"/>
              <a:gd name="connsiteX56" fmla="*/ 3102832 w 4588100"/>
              <a:gd name="connsiteY56" fmla="*/ 37171 h 758459"/>
              <a:gd name="connsiteX57" fmla="*/ 3306492 w 4588100"/>
              <a:gd name="connsiteY57" fmla="*/ 33593 h 758459"/>
              <a:gd name="connsiteX58" fmla="*/ 3294680 w 4588100"/>
              <a:gd name="connsiteY58" fmla="*/ 35857 h 758459"/>
              <a:gd name="connsiteX59" fmla="*/ 3294797 w 4588100"/>
              <a:gd name="connsiteY59" fmla="*/ 40894 h 758459"/>
              <a:gd name="connsiteX60" fmla="*/ 3305092 w 4588100"/>
              <a:gd name="connsiteY60" fmla="*/ 43450 h 758459"/>
              <a:gd name="connsiteX61" fmla="*/ 3306492 w 4588100"/>
              <a:gd name="connsiteY61" fmla="*/ 33593 h 758459"/>
              <a:gd name="connsiteX62" fmla="*/ 3595199 w 4588100"/>
              <a:gd name="connsiteY62" fmla="*/ 31440 h 758459"/>
              <a:gd name="connsiteX63" fmla="*/ 3591145 w 4588100"/>
              <a:gd name="connsiteY63" fmla="*/ 40091 h 758459"/>
              <a:gd name="connsiteX64" fmla="*/ 3594907 w 4588100"/>
              <a:gd name="connsiteY64" fmla="*/ 43048 h 758459"/>
              <a:gd name="connsiteX65" fmla="*/ 3600595 w 4588100"/>
              <a:gd name="connsiteY65" fmla="*/ 38521 h 758459"/>
              <a:gd name="connsiteX66" fmla="*/ 3595199 w 4588100"/>
              <a:gd name="connsiteY66" fmla="*/ 31440 h 758459"/>
              <a:gd name="connsiteX67" fmla="*/ 3620339 w 4588100"/>
              <a:gd name="connsiteY67" fmla="*/ 26949 h 758459"/>
              <a:gd name="connsiteX68" fmla="*/ 3619085 w 4588100"/>
              <a:gd name="connsiteY68" fmla="*/ 31038 h 758459"/>
              <a:gd name="connsiteX69" fmla="*/ 3632006 w 4588100"/>
              <a:gd name="connsiteY69" fmla="*/ 37353 h 758459"/>
              <a:gd name="connsiteX70" fmla="*/ 3633230 w 4588100"/>
              <a:gd name="connsiteY70" fmla="*/ 33374 h 758459"/>
              <a:gd name="connsiteX71" fmla="*/ 3620339 w 4588100"/>
              <a:gd name="connsiteY71" fmla="*/ 26949 h 758459"/>
              <a:gd name="connsiteX72" fmla="*/ 3256135 w 4588100"/>
              <a:gd name="connsiteY72" fmla="*/ 26939 h 758459"/>
              <a:gd name="connsiteX73" fmla="*/ 3191494 w 4588100"/>
              <a:gd name="connsiteY73" fmla="*/ 37463 h 758459"/>
              <a:gd name="connsiteX74" fmla="*/ 3215409 w 4588100"/>
              <a:gd name="connsiteY74" fmla="*/ 45385 h 758459"/>
              <a:gd name="connsiteX75" fmla="*/ 3238421 w 4588100"/>
              <a:gd name="connsiteY75" fmla="*/ 53452 h 758459"/>
              <a:gd name="connsiteX76" fmla="*/ 3239995 w 4588100"/>
              <a:gd name="connsiteY76" fmla="*/ 33922 h 758459"/>
              <a:gd name="connsiteX77" fmla="*/ 3275840 w 4588100"/>
              <a:gd name="connsiteY77" fmla="*/ 51006 h 758459"/>
              <a:gd name="connsiteX78" fmla="*/ 3277910 w 4588100"/>
              <a:gd name="connsiteY78" fmla="*/ 36258 h 758459"/>
              <a:gd name="connsiteX79" fmla="*/ 3256135 w 4588100"/>
              <a:gd name="connsiteY79" fmla="*/ 26939 h 758459"/>
              <a:gd name="connsiteX80" fmla="*/ 4516471 w 4588100"/>
              <a:gd name="connsiteY80" fmla="*/ 21291 h 758459"/>
              <a:gd name="connsiteX81" fmla="*/ 4538607 w 4588100"/>
              <a:gd name="connsiteY81" fmla="*/ 33812 h 758459"/>
              <a:gd name="connsiteX82" fmla="*/ 4516471 w 4588100"/>
              <a:gd name="connsiteY82" fmla="*/ 21291 h 758459"/>
              <a:gd name="connsiteX83" fmla="*/ 4489551 w 4588100"/>
              <a:gd name="connsiteY83" fmla="*/ 21181 h 758459"/>
              <a:gd name="connsiteX84" fmla="*/ 4489988 w 4588100"/>
              <a:gd name="connsiteY84" fmla="*/ 26365 h 758459"/>
              <a:gd name="connsiteX85" fmla="*/ 4516120 w 4588100"/>
              <a:gd name="connsiteY85" fmla="*/ 21181 h 758459"/>
              <a:gd name="connsiteX86" fmla="*/ 4489551 w 4588100"/>
              <a:gd name="connsiteY86" fmla="*/ 21181 h 758459"/>
              <a:gd name="connsiteX87" fmla="*/ 3321804 w 4588100"/>
              <a:gd name="connsiteY87" fmla="*/ 21035 h 758459"/>
              <a:gd name="connsiteX88" fmla="*/ 3305675 w 4588100"/>
              <a:gd name="connsiteY88" fmla="*/ 43596 h 758459"/>
              <a:gd name="connsiteX89" fmla="*/ 3306142 w 4588100"/>
              <a:gd name="connsiteY89" fmla="*/ 43705 h 758459"/>
              <a:gd name="connsiteX90" fmla="*/ 3303955 w 4588100"/>
              <a:gd name="connsiteY90" fmla="*/ 48597 h 758459"/>
              <a:gd name="connsiteX91" fmla="*/ 3305442 w 4588100"/>
              <a:gd name="connsiteY91" fmla="*/ 50678 h 758459"/>
              <a:gd name="connsiteX92" fmla="*/ 3369898 w 4588100"/>
              <a:gd name="connsiteY92" fmla="*/ 42720 h 758459"/>
              <a:gd name="connsiteX93" fmla="*/ 3371122 w 4588100"/>
              <a:gd name="connsiteY93" fmla="*/ 37682 h 758459"/>
              <a:gd name="connsiteX94" fmla="*/ 3321804 w 4588100"/>
              <a:gd name="connsiteY94" fmla="*/ 21035 h 758459"/>
              <a:gd name="connsiteX95" fmla="*/ 3413033 w 4588100"/>
              <a:gd name="connsiteY95" fmla="*/ 20013 h 758459"/>
              <a:gd name="connsiteX96" fmla="*/ 3410816 w 4588100"/>
              <a:gd name="connsiteY96" fmla="*/ 27168 h 758459"/>
              <a:gd name="connsiteX97" fmla="*/ 3424495 w 4588100"/>
              <a:gd name="connsiteY97" fmla="*/ 29979 h 758459"/>
              <a:gd name="connsiteX98" fmla="*/ 3425049 w 4588100"/>
              <a:gd name="connsiteY98" fmla="*/ 26876 h 758459"/>
              <a:gd name="connsiteX99" fmla="*/ 3413033 w 4588100"/>
              <a:gd name="connsiteY99" fmla="*/ 20013 h 758459"/>
              <a:gd name="connsiteX100" fmla="*/ 4443353 w 4588100"/>
              <a:gd name="connsiteY100" fmla="*/ 19758 h 758459"/>
              <a:gd name="connsiteX101" fmla="*/ 4441778 w 4588100"/>
              <a:gd name="connsiteY101" fmla="*/ 25671 h 758459"/>
              <a:gd name="connsiteX102" fmla="*/ 4453357 w 4588100"/>
              <a:gd name="connsiteY102" fmla="*/ 29614 h 758459"/>
              <a:gd name="connsiteX103" fmla="*/ 4454203 w 4588100"/>
              <a:gd name="connsiteY103" fmla="*/ 25927 h 758459"/>
              <a:gd name="connsiteX104" fmla="*/ 4443353 w 4588100"/>
              <a:gd name="connsiteY104" fmla="*/ 19758 h 758459"/>
              <a:gd name="connsiteX105" fmla="*/ 3942848 w 4588100"/>
              <a:gd name="connsiteY105" fmla="*/ 592 h 758459"/>
              <a:gd name="connsiteX106" fmla="*/ 4085671 w 4588100"/>
              <a:gd name="connsiteY106" fmla="*/ 6251 h 758459"/>
              <a:gd name="connsiteX107" fmla="*/ 4264483 w 4588100"/>
              <a:gd name="connsiteY107" fmla="*/ 5265 h 758459"/>
              <a:gd name="connsiteX108" fmla="*/ 4529158 w 4588100"/>
              <a:gd name="connsiteY108" fmla="*/ 10011 h 758459"/>
              <a:gd name="connsiteX109" fmla="*/ 4568443 w 4588100"/>
              <a:gd name="connsiteY109" fmla="*/ 22715 h 758459"/>
              <a:gd name="connsiteX110" fmla="*/ 4539657 w 4588100"/>
              <a:gd name="connsiteY110" fmla="*/ 33265 h 758459"/>
              <a:gd name="connsiteX111" fmla="*/ 4568385 w 4588100"/>
              <a:gd name="connsiteY111" fmla="*/ 22751 h 758459"/>
              <a:gd name="connsiteX112" fmla="*/ 4571564 w 4588100"/>
              <a:gd name="connsiteY112" fmla="*/ 52101 h 758459"/>
              <a:gd name="connsiteX113" fmla="*/ 4587517 w 4588100"/>
              <a:gd name="connsiteY113" fmla="*/ 76195 h 758459"/>
              <a:gd name="connsiteX114" fmla="*/ 4570193 w 4588100"/>
              <a:gd name="connsiteY114" fmla="*/ 102771 h 758459"/>
              <a:gd name="connsiteX115" fmla="*/ 4581976 w 4588100"/>
              <a:gd name="connsiteY115" fmla="*/ 156835 h 758459"/>
              <a:gd name="connsiteX116" fmla="*/ 4588100 w 4588100"/>
              <a:gd name="connsiteY116" fmla="*/ 216522 h 758459"/>
              <a:gd name="connsiteX117" fmla="*/ 4582326 w 4588100"/>
              <a:gd name="connsiteY117" fmla="*/ 282670 h 758459"/>
              <a:gd name="connsiteX118" fmla="*/ 4559110 w 4588100"/>
              <a:gd name="connsiteY118" fmla="*/ 327061 h 758459"/>
              <a:gd name="connsiteX119" fmla="*/ 4576434 w 4588100"/>
              <a:gd name="connsiteY119" fmla="*/ 356849 h 758459"/>
              <a:gd name="connsiteX120" fmla="*/ 4581713 w 4588100"/>
              <a:gd name="connsiteY120" fmla="*/ 394595 h 758459"/>
              <a:gd name="connsiteX121" fmla="*/ 4561648 w 4588100"/>
              <a:gd name="connsiteY121" fmla="*/ 438292 h 758459"/>
              <a:gd name="connsiteX122" fmla="*/ 4565147 w 4588100"/>
              <a:gd name="connsiteY122" fmla="*/ 441724 h 758459"/>
              <a:gd name="connsiteX123" fmla="*/ 4535778 w 4588100"/>
              <a:gd name="connsiteY123" fmla="*/ 458590 h 758459"/>
              <a:gd name="connsiteX124" fmla="*/ 4557681 w 4588100"/>
              <a:gd name="connsiteY124" fmla="*/ 491773 h 758459"/>
              <a:gd name="connsiteX125" fmla="*/ 4542165 w 4588100"/>
              <a:gd name="connsiteY125" fmla="*/ 536492 h 758459"/>
              <a:gd name="connsiteX126" fmla="*/ 4527641 w 4588100"/>
              <a:gd name="connsiteY126" fmla="*/ 569347 h 758459"/>
              <a:gd name="connsiteX127" fmla="*/ 4513554 w 4588100"/>
              <a:gd name="connsiteY127" fmla="*/ 575699 h 758459"/>
              <a:gd name="connsiteX128" fmla="*/ 4462806 w 4588100"/>
              <a:gd name="connsiteY128" fmla="*/ 645680 h 758459"/>
              <a:gd name="connsiteX129" fmla="*/ 4235143 w 4588100"/>
              <a:gd name="connsiteY129" fmla="*/ 658566 h 758459"/>
              <a:gd name="connsiteX130" fmla="*/ 3896913 w 4588100"/>
              <a:gd name="connsiteY130" fmla="*/ 655390 h 758459"/>
              <a:gd name="connsiteX131" fmla="*/ 3693923 w 4588100"/>
              <a:gd name="connsiteY131" fmla="*/ 652470 h 758459"/>
              <a:gd name="connsiteX132" fmla="*/ 3587266 w 4588100"/>
              <a:gd name="connsiteY132" fmla="*/ 656412 h 758459"/>
              <a:gd name="connsiteX133" fmla="*/ 3512457 w 4588100"/>
              <a:gd name="connsiteY133" fmla="*/ 651521 h 758459"/>
              <a:gd name="connsiteX134" fmla="*/ 3450685 w 4588100"/>
              <a:gd name="connsiteY134" fmla="*/ 652835 h 758459"/>
              <a:gd name="connsiteX135" fmla="*/ 3386143 w 4588100"/>
              <a:gd name="connsiteY135" fmla="*/ 657763 h 758459"/>
              <a:gd name="connsiteX136" fmla="*/ 3235825 w 4588100"/>
              <a:gd name="connsiteY136" fmla="*/ 665393 h 758459"/>
              <a:gd name="connsiteX137" fmla="*/ 3028664 w 4588100"/>
              <a:gd name="connsiteY137" fmla="*/ 679740 h 758459"/>
              <a:gd name="connsiteX138" fmla="*/ 2978063 w 4588100"/>
              <a:gd name="connsiteY138" fmla="*/ 690691 h 758459"/>
              <a:gd name="connsiteX139" fmla="*/ 2819520 w 4588100"/>
              <a:gd name="connsiteY139" fmla="*/ 700694 h 758459"/>
              <a:gd name="connsiteX140" fmla="*/ 2702597 w 4588100"/>
              <a:gd name="connsiteY140" fmla="*/ 707009 h 758459"/>
              <a:gd name="connsiteX141" fmla="*/ 2573249 w 4588100"/>
              <a:gd name="connsiteY141" fmla="*/ 704308 h 758459"/>
              <a:gd name="connsiteX142" fmla="*/ 2503778 w 4588100"/>
              <a:gd name="connsiteY142" fmla="*/ 710185 h 758459"/>
              <a:gd name="connsiteX143" fmla="*/ 2496019 w 4588100"/>
              <a:gd name="connsiteY143" fmla="*/ 710368 h 758459"/>
              <a:gd name="connsiteX144" fmla="*/ 2377930 w 4588100"/>
              <a:gd name="connsiteY144" fmla="*/ 706206 h 758459"/>
              <a:gd name="connsiteX145" fmla="*/ 2246278 w 4588100"/>
              <a:gd name="connsiteY145" fmla="*/ 714821 h 758459"/>
              <a:gd name="connsiteX146" fmla="*/ 2171031 w 4588100"/>
              <a:gd name="connsiteY146" fmla="*/ 715442 h 758459"/>
              <a:gd name="connsiteX147" fmla="*/ 2036492 w 4588100"/>
              <a:gd name="connsiteY147" fmla="*/ 719421 h 758459"/>
              <a:gd name="connsiteX148" fmla="*/ 1860655 w 4588100"/>
              <a:gd name="connsiteY148" fmla="*/ 723802 h 758459"/>
              <a:gd name="connsiteX149" fmla="*/ 1757031 w 4588100"/>
              <a:gd name="connsiteY149" fmla="*/ 727744 h 758459"/>
              <a:gd name="connsiteX150" fmla="*/ 1655769 w 4588100"/>
              <a:gd name="connsiteY150" fmla="*/ 731650 h 758459"/>
              <a:gd name="connsiteX151" fmla="*/ 1593618 w 4588100"/>
              <a:gd name="connsiteY151" fmla="*/ 733147 h 758459"/>
              <a:gd name="connsiteX152" fmla="*/ 1545349 w 4588100"/>
              <a:gd name="connsiteY152" fmla="*/ 725152 h 758459"/>
              <a:gd name="connsiteX153" fmla="*/ 1523359 w 4588100"/>
              <a:gd name="connsiteY153" fmla="*/ 719640 h 758459"/>
              <a:gd name="connsiteX154" fmla="*/ 1421660 w 4588100"/>
              <a:gd name="connsiteY154" fmla="*/ 703797 h 758459"/>
              <a:gd name="connsiteX155" fmla="*/ 1362483 w 4588100"/>
              <a:gd name="connsiteY155" fmla="*/ 681930 h 758459"/>
              <a:gd name="connsiteX156" fmla="*/ 1319144 w 4588100"/>
              <a:gd name="connsiteY156" fmla="*/ 676053 h 758459"/>
              <a:gd name="connsiteX157" fmla="*/ 1228061 w 4588100"/>
              <a:gd name="connsiteY157" fmla="*/ 678061 h 758459"/>
              <a:gd name="connsiteX158" fmla="*/ 1012501 w 4588100"/>
              <a:gd name="connsiteY158" fmla="*/ 691750 h 758459"/>
              <a:gd name="connsiteX159" fmla="*/ 994564 w 4588100"/>
              <a:gd name="connsiteY159" fmla="*/ 692809 h 758459"/>
              <a:gd name="connsiteX160" fmla="*/ 918297 w 4588100"/>
              <a:gd name="connsiteY160" fmla="*/ 695145 h 758459"/>
              <a:gd name="connsiteX161" fmla="*/ 910626 w 4588100"/>
              <a:gd name="connsiteY161" fmla="*/ 696605 h 758459"/>
              <a:gd name="connsiteX162" fmla="*/ 776787 w 4588100"/>
              <a:gd name="connsiteY162" fmla="*/ 685982 h 758459"/>
              <a:gd name="connsiteX163" fmla="*/ 764304 w 4588100"/>
              <a:gd name="connsiteY163" fmla="*/ 685179 h 758459"/>
              <a:gd name="connsiteX164" fmla="*/ 721140 w 4588100"/>
              <a:gd name="connsiteY164" fmla="*/ 691130 h 758459"/>
              <a:gd name="connsiteX165" fmla="*/ 633615 w 4588100"/>
              <a:gd name="connsiteY165" fmla="*/ 698248 h 758459"/>
              <a:gd name="connsiteX166" fmla="*/ 579572 w 4588100"/>
              <a:gd name="connsiteY166" fmla="*/ 680360 h 758459"/>
              <a:gd name="connsiteX167" fmla="*/ 487322 w 4588100"/>
              <a:gd name="connsiteY167" fmla="*/ 644913 h 758459"/>
              <a:gd name="connsiteX168" fmla="*/ 402772 w 4588100"/>
              <a:gd name="connsiteY168" fmla="*/ 632940 h 758459"/>
              <a:gd name="connsiteX169" fmla="*/ 325368 w 4588100"/>
              <a:gd name="connsiteY169" fmla="*/ 636846 h 758459"/>
              <a:gd name="connsiteX170" fmla="*/ 302240 w 4588100"/>
              <a:gd name="connsiteY170" fmla="*/ 637539 h 758459"/>
              <a:gd name="connsiteX171" fmla="*/ 212877 w 4588100"/>
              <a:gd name="connsiteY171" fmla="*/ 623631 h 758459"/>
              <a:gd name="connsiteX172" fmla="*/ 162217 w 4588100"/>
              <a:gd name="connsiteY172" fmla="*/ 601874 h 758459"/>
              <a:gd name="connsiteX173" fmla="*/ 90121 w 4588100"/>
              <a:gd name="connsiteY173" fmla="*/ 542954 h 758459"/>
              <a:gd name="connsiteX174" fmla="*/ 27474 w 4588100"/>
              <a:gd name="connsiteY174" fmla="*/ 492649 h 758459"/>
              <a:gd name="connsiteX175" fmla="*/ 0 w 4588100"/>
              <a:gd name="connsiteY175" fmla="*/ 448295 h 758459"/>
              <a:gd name="connsiteX176" fmla="*/ 22924 w 4588100"/>
              <a:gd name="connsiteY176" fmla="*/ 435773 h 758459"/>
              <a:gd name="connsiteX177" fmla="*/ 79680 w 4588100"/>
              <a:gd name="connsiteY177" fmla="*/ 401933 h 758459"/>
              <a:gd name="connsiteX178" fmla="*/ 92745 w 4588100"/>
              <a:gd name="connsiteY178" fmla="*/ 379008 h 758459"/>
              <a:gd name="connsiteX179" fmla="*/ 119811 w 4588100"/>
              <a:gd name="connsiteY179" fmla="*/ 355279 h 758459"/>
              <a:gd name="connsiteX180" fmla="*/ 127627 w 4588100"/>
              <a:gd name="connsiteY180" fmla="*/ 355425 h 758459"/>
              <a:gd name="connsiteX181" fmla="*/ 161897 w 4588100"/>
              <a:gd name="connsiteY181" fmla="*/ 325272 h 758459"/>
              <a:gd name="connsiteX182" fmla="*/ 165280 w 4588100"/>
              <a:gd name="connsiteY182" fmla="*/ 313079 h 758459"/>
              <a:gd name="connsiteX183" fmla="*/ 322597 w 4588100"/>
              <a:gd name="connsiteY183" fmla="*/ 254634 h 758459"/>
              <a:gd name="connsiteX184" fmla="*/ 340038 w 4588100"/>
              <a:gd name="connsiteY184" fmla="*/ 227510 h 758459"/>
              <a:gd name="connsiteX185" fmla="*/ 377865 w 4588100"/>
              <a:gd name="connsiteY185" fmla="*/ 242149 h 758459"/>
              <a:gd name="connsiteX186" fmla="*/ 623436 w 4588100"/>
              <a:gd name="connsiteY186" fmla="*/ 188705 h 758459"/>
              <a:gd name="connsiteX187" fmla="*/ 731406 w 4588100"/>
              <a:gd name="connsiteY187" fmla="*/ 168517 h 758459"/>
              <a:gd name="connsiteX188" fmla="*/ 914360 w 4588100"/>
              <a:gd name="connsiteY188" fmla="*/ 143328 h 758459"/>
              <a:gd name="connsiteX189" fmla="*/ 1277759 w 4588100"/>
              <a:gd name="connsiteY189" fmla="*/ 120038 h 758459"/>
              <a:gd name="connsiteX190" fmla="*/ 1604642 w 4588100"/>
              <a:gd name="connsiteY190" fmla="*/ 104268 h 758459"/>
              <a:gd name="connsiteX191" fmla="*/ 1895332 w 4588100"/>
              <a:gd name="connsiteY191" fmla="*/ 82109 h 758459"/>
              <a:gd name="connsiteX192" fmla="*/ 2102960 w 4588100"/>
              <a:gd name="connsiteY192" fmla="*/ 69770 h 758459"/>
              <a:gd name="connsiteX193" fmla="*/ 2302216 w 4588100"/>
              <a:gd name="connsiteY193" fmla="*/ 58453 h 758459"/>
              <a:gd name="connsiteX194" fmla="*/ 2538659 w 4588100"/>
              <a:gd name="connsiteY194" fmla="*/ 57212 h 758459"/>
              <a:gd name="connsiteX195" fmla="*/ 2699447 w 4588100"/>
              <a:gd name="connsiteY195" fmla="*/ 50167 h 758459"/>
              <a:gd name="connsiteX196" fmla="*/ 2953651 w 4588100"/>
              <a:gd name="connsiteY196" fmla="*/ 39945 h 758459"/>
              <a:gd name="connsiteX197" fmla="*/ 3096182 w 4588100"/>
              <a:gd name="connsiteY197" fmla="*/ 29286 h 758459"/>
              <a:gd name="connsiteX198" fmla="*/ 3246791 w 4588100"/>
              <a:gd name="connsiteY198" fmla="*/ 20670 h 758459"/>
              <a:gd name="connsiteX199" fmla="*/ 3387075 w 4588100"/>
              <a:gd name="connsiteY199" fmla="*/ 14245 h 758459"/>
              <a:gd name="connsiteX200" fmla="*/ 3527040 w 4588100"/>
              <a:gd name="connsiteY200" fmla="*/ 6835 h 758459"/>
              <a:gd name="connsiteX201" fmla="*/ 3628155 w 4588100"/>
              <a:gd name="connsiteY201" fmla="*/ 702 h 758459"/>
              <a:gd name="connsiteX202" fmla="*/ 3942848 w 4588100"/>
              <a:gd name="connsiteY202" fmla="*/ 592 h 758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</a:cxnLst>
            <a:rect l="l" t="t" r="r" b="b"/>
            <a:pathLst>
              <a:path w="4588100" h="758459">
                <a:moveTo>
                  <a:pt x="2999732" y="713398"/>
                </a:moveTo>
                <a:cubicBezTo>
                  <a:pt x="2988912" y="718217"/>
                  <a:pt x="2983429" y="722524"/>
                  <a:pt x="2977771" y="722890"/>
                </a:cubicBezTo>
                <a:cubicBezTo>
                  <a:pt x="2905908" y="727599"/>
                  <a:pt x="2834045" y="732162"/>
                  <a:pt x="2762152" y="735959"/>
                </a:cubicBezTo>
                <a:cubicBezTo>
                  <a:pt x="2689385" y="739791"/>
                  <a:pt x="2616618" y="744610"/>
                  <a:pt x="2543821" y="745633"/>
                </a:cubicBezTo>
                <a:cubicBezTo>
                  <a:pt x="2461575" y="746764"/>
                  <a:pt x="2379271" y="743479"/>
                  <a:pt x="2296996" y="743515"/>
                </a:cubicBezTo>
                <a:cubicBezTo>
                  <a:pt x="2247590" y="743552"/>
                  <a:pt x="2198125" y="745413"/>
                  <a:pt x="2148749" y="748079"/>
                </a:cubicBezTo>
                <a:cubicBezTo>
                  <a:pt x="2105497" y="750415"/>
                  <a:pt x="2062303" y="755197"/>
                  <a:pt x="2019080" y="758373"/>
                </a:cubicBezTo>
                <a:cubicBezTo>
                  <a:pt x="2011964" y="758920"/>
                  <a:pt x="2004760" y="756730"/>
                  <a:pt x="1997586" y="755817"/>
                </a:cubicBezTo>
                <a:cubicBezTo>
                  <a:pt x="1997411" y="751984"/>
                  <a:pt x="1997206" y="748115"/>
                  <a:pt x="1997031" y="744282"/>
                </a:cubicBezTo>
                <a:cubicBezTo>
                  <a:pt x="2004731" y="741799"/>
                  <a:pt x="2012372" y="737492"/>
                  <a:pt x="2020130" y="737127"/>
                </a:cubicBezTo>
                <a:cubicBezTo>
                  <a:pt x="2102376" y="733111"/>
                  <a:pt x="2184651" y="728438"/>
                  <a:pt x="2266926" y="726467"/>
                </a:cubicBezTo>
                <a:cubicBezTo>
                  <a:pt x="2358797" y="724277"/>
                  <a:pt x="2450697" y="725189"/>
                  <a:pt x="2542596" y="723693"/>
                </a:cubicBezTo>
                <a:cubicBezTo>
                  <a:pt x="2617113" y="722488"/>
                  <a:pt x="2691602" y="719604"/>
                  <a:pt x="2766090" y="717779"/>
                </a:cubicBezTo>
                <a:cubicBezTo>
                  <a:pt x="2796392" y="717012"/>
                  <a:pt x="2826753" y="717304"/>
                  <a:pt x="2857085" y="716720"/>
                </a:cubicBezTo>
                <a:cubicBezTo>
                  <a:pt x="2902554" y="715844"/>
                  <a:pt x="2948022" y="714603"/>
                  <a:pt x="2999732" y="713398"/>
                </a:cubicBezTo>
                <a:close/>
                <a:moveTo>
                  <a:pt x="3416328" y="693101"/>
                </a:moveTo>
                <a:cubicBezTo>
                  <a:pt x="3424845" y="693101"/>
                  <a:pt x="3433332" y="693101"/>
                  <a:pt x="3441789" y="693101"/>
                </a:cubicBezTo>
                <a:cubicBezTo>
                  <a:pt x="3441789" y="693503"/>
                  <a:pt x="3441819" y="693904"/>
                  <a:pt x="3441819" y="694306"/>
                </a:cubicBezTo>
                <a:cubicBezTo>
                  <a:pt x="3433390" y="694853"/>
                  <a:pt x="3424932" y="695438"/>
                  <a:pt x="3416504" y="695985"/>
                </a:cubicBezTo>
                <a:cubicBezTo>
                  <a:pt x="3416445" y="695036"/>
                  <a:pt x="3416387" y="694050"/>
                  <a:pt x="3416328" y="693101"/>
                </a:cubicBezTo>
                <a:close/>
                <a:moveTo>
                  <a:pt x="4276382" y="685836"/>
                </a:moveTo>
                <a:cubicBezTo>
                  <a:pt x="4284723" y="685836"/>
                  <a:pt x="4293035" y="685836"/>
                  <a:pt x="4301347" y="685836"/>
                </a:cubicBezTo>
                <a:cubicBezTo>
                  <a:pt x="4301377" y="686457"/>
                  <a:pt x="4301377" y="687041"/>
                  <a:pt x="4301377" y="687661"/>
                </a:cubicBezTo>
                <a:cubicBezTo>
                  <a:pt x="4293181" y="687661"/>
                  <a:pt x="4284957" y="687661"/>
                  <a:pt x="4276762" y="687661"/>
                </a:cubicBezTo>
                <a:cubicBezTo>
                  <a:pt x="4276645" y="687041"/>
                  <a:pt x="4276499" y="686457"/>
                  <a:pt x="4276382" y="685836"/>
                </a:cubicBezTo>
                <a:close/>
                <a:moveTo>
                  <a:pt x="3787310" y="679922"/>
                </a:moveTo>
                <a:cubicBezTo>
                  <a:pt x="3787427" y="680251"/>
                  <a:pt x="3787544" y="680579"/>
                  <a:pt x="3787660" y="680908"/>
                </a:cubicBezTo>
                <a:cubicBezTo>
                  <a:pt x="3783460" y="681163"/>
                  <a:pt x="3779231" y="681382"/>
                  <a:pt x="3775032" y="681638"/>
                </a:cubicBezTo>
                <a:cubicBezTo>
                  <a:pt x="3775002" y="681090"/>
                  <a:pt x="3775002" y="680506"/>
                  <a:pt x="3775002" y="679958"/>
                </a:cubicBezTo>
                <a:cubicBezTo>
                  <a:pt x="3779085" y="679958"/>
                  <a:pt x="3783198" y="679958"/>
                  <a:pt x="3787310" y="679922"/>
                </a:cubicBezTo>
                <a:close/>
                <a:moveTo>
                  <a:pt x="3654433" y="678754"/>
                </a:moveTo>
                <a:cubicBezTo>
                  <a:pt x="3678553" y="678754"/>
                  <a:pt x="3702673" y="678754"/>
                  <a:pt x="3726793" y="678754"/>
                </a:cubicBezTo>
                <a:cubicBezTo>
                  <a:pt x="3726559" y="679959"/>
                  <a:pt x="3726297" y="681200"/>
                  <a:pt x="3726034" y="682441"/>
                </a:cubicBezTo>
                <a:cubicBezTo>
                  <a:pt x="3702177" y="682441"/>
                  <a:pt x="3678320" y="682441"/>
                  <a:pt x="3654463" y="682441"/>
                </a:cubicBezTo>
                <a:cubicBezTo>
                  <a:pt x="3654433" y="681200"/>
                  <a:pt x="3654433" y="679959"/>
                  <a:pt x="3654433" y="678754"/>
                </a:cubicBezTo>
                <a:close/>
                <a:moveTo>
                  <a:pt x="4039772" y="672060"/>
                </a:moveTo>
                <a:cubicBezTo>
                  <a:pt x="4110396" y="670084"/>
                  <a:pt x="4180983" y="672384"/>
                  <a:pt x="4251476" y="686676"/>
                </a:cubicBezTo>
                <a:cubicBezTo>
                  <a:pt x="4251359" y="688829"/>
                  <a:pt x="4251242" y="690983"/>
                  <a:pt x="4251126" y="693137"/>
                </a:cubicBezTo>
                <a:cubicBezTo>
                  <a:pt x="4110024" y="689779"/>
                  <a:pt x="3968952" y="686457"/>
                  <a:pt x="3827850" y="683099"/>
                </a:cubicBezTo>
                <a:cubicBezTo>
                  <a:pt x="3898488" y="680288"/>
                  <a:pt x="3969149" y="674036"/>
                  <a:pt x="4039772" y="672060"/>
                </a:cubicBezTo>
                <a:close/>
                <a:moveTo>
                  <a:pt x="3036893" y="45960"/>
                </a:moveTo>
                <a:cubicBezTo>
                  <a:pt x="3016566" y="45147"/>
                  <a:pt x="2996503" y="54894"/>
                  <a:pt x="2975963" y="51006"/>
                </a:cubicBezTo>
                <a:cubicBezTo>
                  <a:pt x="2975933" y="53635"/>
                  <a:pt x="2975875" y="56226"/>
                  <a:pt x="2975846" y="58819"/>
                </a:cubicBezTo>
                <a:cubicBezTo>
                  <a:pt x="2990079" y="60023"/>
                  <a:pt x="3004340" y="61265"/>
                  <a:pt x="3018573" y="62469"/>
                </a:cubicBezTo>
                <a:cubicBezTo>
                  <a:pt x="3028752" y="42281"/>
                  <a:pt x="3043859" y="53416"/>
                  <a:pt x="3057334" y="51189"/>
                </a:cubicBezTo>
                <a:cubicBezTo>
                  <a:pt x="3050473" y="47675"/>
                  <a:pt x="3043668" y="46231"/>
                  <a:pt x="3036893" y="45960"/>
                </a:cubicBezTo>
                <a:close/>
                <a:moveTo>
                  <a:pt x="4186251" y="43062"/>
                </a:moveTo>
                <a:cubicBezTo>
                  <a:pt x="4182988" y="42701"/>
                  <a:pt x="4180356" y="43888"/>
                  <a:pt x="4176024" y="46297"/>
                </a:cubicBezTo>
                <a:cubicBezTo>
                  <a:pt x="4175150" y="46772"/>
                  <a:pt x="4175033" y="49327"/>
                  <a:pt x="4173925" y="53051"/>
                </a:cubicBezTo>
                <a:cubicBezTo>
                  <a:pt x="4181128" y="51955"/>
                  <a:pt x="4187516" y="51006"/>
                  <a:pt x="4200261" y="49108"/>
                </a:cubicBezTo>
                <a:cubicBezTo>
                  <a:pt x="4193407" y="45330"/>
                  <a:pt x="4189514" y="43422"/>
                  <a:pt x="4186251" y="43062"/>
                </a:cubicBezTo>
                <a:close/>
                <a:moveTo>
                  <a:pt x="3102832" y="37171"/>
                </a:moveTo>
                <a:cubicBezTo>
                  <a:pt x="3095569" y="39580"/>
                  <a:pt x="3088278" y="41989"/>
                  <a:pt x="3081016" y="44399"/>
                </a:cubicBezTo>
                <a:cubicBezTo>
                  <a:pt x="3081162" y="45969"/>
                  <a:pt x="3081337" y="47502"/>
                  <a:pt x="3081483" y="49072"/>
                </a:cubicBezTo>
                <a:cubicBezTo>
                  <a:pt x="3085420" y="49072"/>
                  <a:pt x="3089503" y="49911"/>
                  <a:pt x="3093236" y="48853"/>
                </a:cubicBezTo>
                <a:cubicBezTo>
                  <a:pt x="3097173" y="47721"/>
                  <a:pt x="3100761" y="44800"/>
                  <a:pt x="3104465" y="42647"/>
                </a:cubicBezTo>
                <a:cubicBezTo>
                  <a:pt x="3103940" y="40821"/>
                  <a:pt x="3103386" y="38996"/>
                  <a:pt x="3102832" y="37171"/>
                </a:cubicBezTo>
                <a:close/>
                <a:moveTo>
                  <a:pt x="3306492" y="33593"/>
                </a:moveTo>
                <a:cubicBezTo>
                  <a:pt x="3302555" y="34360"/>
                  <a:pt x="3298617" y="35090"/>
                  <a:pt x="3294680" y="35857"/>
                </a:cubicBezTo>
                <a:cubicBezTo>
                  <a:pt x="3294709" y="37536"/>
                  <a:pt x="3294768" y="39215"/>
                  <a:pt x="3294797" y="40894"/>
                </a:cubicBezTo>
                <a:cubicBezTo>
                  <a:pt x="3298239" y="41734"/>
                  <a:pt x="3301651" y="42610"/>
                  <a:pt x="3305092" y="43450"/>
                </a:cubicBezTo>
                <a:cubicBezTo>
                  <a:pt x="3305559" y="40164"/>
                  <a:pt x="3306026" y="36879"/>
                  <a:pt x="3306492" y="33593"/>
                </a:cubicBezTo>
                <a:close/>
                <a:moveTo>
                  <a:pt x="3595199" y="31440"/>
                </a:moveTo>
                <a:cubicBezTo>
                  <a:pt x="3593332" y="35200"/>
                  <a:pt x="3591932" y="37499"/>
                  <a:pt x="3591145" y="40091"/>
                </a:cubicBezTo>
                <a:cubicBezTo>
                  <a:pt x="3591028" y="40493"/>
                  <a:pt x="3593915" y="43413"/>
                  <a:pt x="3594907" y="43048"/>
                </a:cubicBezTo>
                <a:cubicBezTo>
                  <a:pt x="3596978" y="42281"/>
                  <a:pt x="3598728" y="40091"/>
                  <a:pt x="3600595" y="38521"/>
                </a:cubicBezTo>
                <a:cubicBezTo>
                  <a:pt x="3599078" y="36514"/>
                  <a:pt x="3597561" y="34543"/>
                  <a:pt x="3595199" y="31440"/>
                </a:cubicBezTo>
                <a:close/>
                <a:moveTo>
                  <a:pt x="3620339" y="26949"/>
                </a:moveTo>
                <a:cubicBezTo>
                  <a:pt x="3619931" y="28300"/>
                  <a:pt x="3619494" y="29687"/>
                  <a:pt x="3619085" y="31038"/>
                </a:cubicBezTo>
                <a:cubicBezTo>
                  <a:pt x="3623402" y="33155"/>
                  <a:pt x="3627689" y="35236"/>
                  <a:pt x="3632006" y="37353"/>
                </a:cubicBezTo>
                <a:cubicBezTo>
                  <a:pt x="3632413" y="36039"/>
                  <a:pt x="3632822" y="34725"/>
                  <a:pt x="3633230" y="33374"/>
                </a:cubicBezTo>
                <a:cubicBezTo>
                  <a:pt x="3628943" y="31221"/>
                  <a:pt x="3624627" y="29103"/>
                  <a:pt x="3620339" y="26949"/>
                </a:cubicBezTo>
                <a:close/>
                <a:moveTo>
                  <a:pt x="3256135" y="26939"/>
                </a:moveTo>
                <a:cubicBezTo>
                  <a:pt x="3234646" y="23835"/>
                  <a:pt x="3213784" y="36368"/>
                  <a:pt x="3191494" y="37463"/>
                </a:cubicBezTo>
                <a:cubicBezTo>
                  <a:pt x="3198756" y="51627"/>
                  <a:pt x="3207738" y="44180"/>
                  <a:pt x="3215409" y="45385"/>
                </a:cubicBezTo>
                <a:cubicBezTo>
                  <a:pt x="3223225" y="46626"/>
                  <a:pt x="3230779" y="50641"/>
                  <a:pt x="3238421" y="53452"/>
                </a:cubicBezTo>
                <a:cubicBezTo>
                  <a:pt x="3238741" y="49473"/>
                  <a:pt x="3239208" y="43888"/>
                  <a:pt x="3239995" y="33922"/>
                </a:cubicBezTo>
                <a:cubicBezTo>
                  <a:pt x="3253295" y="40274"/>
                  <a:pt x="3264524" y="45604"/>
                  <a:pt x="3275840" y="51006"/>
                </a:cubicBezTo>
                <a:cubicBezTo>
                  <a:pt x="3276685" y="45166"/>
                  <a:pt x="3277269" y="41004"/>
                  <a:pt x="3277910" y="36258"/>
                </a:cubicBezTo>
                <a:cubicBezTo>
                  <a:pt x="3270532" y="30746"/>
                  <a:pt x="3263299" y="27974"/>
                  <a:pt x="3256135" y="26939"/>
                </a:cubicBezTo>
                <a:close/>
                <a:moveTo>
                  <a:pt x="4516471" y="21291"/>
                </a:moveTo>
                <a:cubicBezTo>
                  <a:pt x="4522070" y="30600"/>
                  <a:pt x="4526707" y="42647"/>
                  <a:pt x="4538607" y="33812"/>
                </a:cubicBezTo>
                <a:cubicBezTo>
                  <a:pt x="4531228" y="29578"/>
                  <a:pt x="4523849" y="25452"/>
                  <a:pt x="4516471" y="21291"/>
                </a:cubicBezTo>
                <a:close/>
                <a:moveTo>
                  <a:pt x="4489551" y="21181"/>
                </a:moveTo>
                <a:cubicBezTo>
                  <a:pt x="4489697" y="22934"/>
                  <a:pt x="4489843" y="24649"/>
                  <a:pt x="4489988" y="26365"/>
                </a:cubicBezTo>
                <a:cubicBezTo>
                  <a:pt x="4498709" y="24649"/>
                  <a:pt x="4507400" y="22897"/>
                  <a:pt x="4516120" y="21181"/>
                </a:cubicBezTo>
                <a:cubicBezTo>
                  <a:pt x="4507254" y="21181"/>
                  <a:pt x="4498388" y="21181"/>
                  <a:pt x="4489551" y="21181"/>
                </a:cubicBezTo>
                <a:close/>
                <a:moveTo>
                  <a:pt x="3321804" y="21035"/>
                </a:moveTo>
                <a:cubicBezTo>
                  <a:pt x="3316117" y="28994"/>
                  <a:pt x="3310896" y="36295"/>
                  <a:pt x="3305675" y="43596"/>
                </a:cubicBezTo>
                <a:cubicBezTo>
                  <a:pt x="3305821" y="43632"/>
                  <a:pt x="3305996" y="43669"/>
                  <a:pt x="3306142" y="43705"/>
                </a:cubicBezTo>
                <a:cubicBezTo>
                  <a:pt x="3305384" y="45312"/>
                  <a:pt x="3304480" y="46881"/>
                  <a:pt x="3303955" y="48597"/>
                </a:cubicBezTo>
                <a:cubicBezTo>
                  <a:pt x="3303809" y="48999"/>
                  <a:pt x="3304830" y="50532"/>
                  <a:pt x="3305442" y="50678"/>
                </a:cubicBezTo>
                <a:cubicBezTo>
                  <a:pt x="3327579" y="56482"/>
                  <a:pt x="3348694" y="48889"/>
                  <a:pt x="3369898" y="42720"/>
                </a:cubicBezTo>
                <a:cubicBezTo>
                  <a:pt x="3370568" y="42537"/>
                  <a:pt x="3370714" y="39361"/>
                  <a:pt x="3371122" y="37682"/>
                </a:cubicBezTo>
                <a:cubicBezTo>
                  <a:pt x="3355373" y="32024"/>
                  <a:pt x="3335307" y="50532"/>
                  <a:pt x="3321804" y="21035"/>
                </a:cubicBezTo>
                <a:close/>
                <a:moveTo>
                  <a:pt x="3413033" y="20013"/>
                </a:moveTo>
                <a:cubicBezTo>
                  <a:pt x="3412304" y="22386"/>
                  <a:pt x="3411545" y="24795"/>
                  <a:pt x="3410816" y="27168"/>
                </a:cubicBezTo>
                <a:cubicBezTo>
                  <a:pt x="3415395" y="28117"/>
                  <a:pt x="3419945" y="29030"/>
                  <a:pt x="3424495" y="29979"/>
                </a:cubicBezTo>
                <a:cubicBezTo>
                  <a:pt x="3424699" y="28957"/>
                  <a:pt x="3424874" y="27935"/>
                  <a:pt x="3425049" y="26876"/>
                </a:cubicBezTo>
                <a:cubicBezTo>
                  <a:pt x="3421053" y="24576"/>
                  <a:pt x="3417028" y="22313"/>
                  <a:pt x="3413033" y="20013"/>
                </a:cubicBezTo>
                <a:close/>
                <a:moveTo>
                  <a:pt x="4443353" y="19758"/>
                </a:moveTo>
                <a:cubicBezTo>
                  <a:pt x="4442828" y="21729"/>
                  <a:pt x="4442303" y="23700"/>
                  <a:pt x="4441778" y="25671"/>
                </a:cubicBezTo>
                <a:cubicBezTo>
                  <a:pt x="4445628" y="26986"/>
                  <a:pt x="4449507" y="28300"/>
                  <a:pt x="4453357" y="29614"/>
                </a:cubicBezTo>
                <a:cubicBezTo>
                  <a:pt x="4453649" y="28409"/>
                  <a:pt x="4453940" y="27168"/>
                  <a:pt x="4454203" y="25927"/>
                </a:cubicBezTo>
                <a:cubicBezTo>
                  <a:pt x="4450586" y="23883"/>
                  <a:pt x="4446970" y="21802"/>
                  <a:pt x="4443353" y="19758"/>
                </a:cubicBezTo>
                <a:close/>
                <a:moveTo>
                  <a:pt x="3942848" y="592"/>
                </a:moveTo>
                <a:cubicBezTo>
                  <a:pt x="3990446" y="994"/>
                  <a:pt x="4038044" y="5667"/>
                  <a:pt x="4085671" y="6251"/>
                </a:cubicBezTo>
                <a:cubicBezTo>
                  <a:pt x="4145255" y="7017"/>
                  <a:pt x="4204898" y="4791"/>
                  <a:pt x="4264483" y="5265"/>
                </a:cubicBezTo>
                <a:cubicBezTo>
                  <a:pt x="4352708" y="5995"/>
                  <a:pt x="4440962" y="7455"/>
                  <a:pt x="4529158" y="10011"/>
                </a:cubicBezTo>
                <a:cubicBezTo>
                  <a:pt x="4542369" y="10376"/>
                  <a:pt x="4555406" y="18298"/>
                  <a:pt x="4568443" y="22715"/>
                </a:cubicBezTo>
                <a:cubicBezTo>
                  <a:pt x="4557827" y="22350"/>
                  <a:pt x="4543944" y="9281"/>
                  <a:pt x="4539657" y="33265"/>
                </a:cubicBezTo>
                <a:cubicBezTo>
                  <a:pt x="4549223" y="29760"/>
                  <a:pt x="4558818" y="26255"/>
                  <a:pt x="4568385" y="22751"/>
                </a:cubicBezTo>
                <a:cubicBezTo>
                  <a:pt x="4582180" y="33703"/>
                  <a:pt x="4582180" y="33703"/>
                  <a:pt x="4571564" y="52101"/>
                </a:cubicBezTo>
                <a:cubicBezTo>
                  <a:pt x="4577484" y="60425"/>
                  <a:pt x="4587954" y="68821"/>
                  <a:pt x="4587517" y="76195"/>
                </a:cubicBezTo>
                <a:cubicBezTo>
                  <a:pt x="4586992" y="84993"/>
                  <a:pt x="4577105" y="92915"/>
                  <a:pt x="4570193" y="102771"/>
                </a:cubicBezTo>
                <a:cubicBezTo>
                  <a:pt x="4584134" y="115840"/>
                  <a:pt x="4586351" y="133071"/>
                  <a:pt x="4581976" y="156835"/>
                </a:cubicBezTo>
                <a:cubicBezTo>
                  <a:pt x="4578709" y="174723"/>
                  <a:pt x="4585563" y="195495"/>
                  <a:pt x="4588100" y="216522"/>
                </a:cubicBezTo>
                <a:cubicBezTo>
                  <a:pt x="4556310" y="247077"/>
                  <a:pt x="4559081" y="254670"/>
                  <a:pt x="4582326" y="282670"/>
                </a:cubicBezTo>
                <a:cubicBezTo>
                  <a:pt x="4584659" y="305887"/>
                  <a:pt x="4569639" y="315525"/>
                  <a:pt x="4559110" y="327061"/>
                </a:cubicBezTo>
                <a:cubicBezTo>
                  <a:pt x="4559664" y="342940"/>
                  <a:pt x="4577951" y="338815"/>
                  <a:pt x="4576434" y="356849"/>
                </a:cubicBezTo>
                <a:cubicBezTo>
                  <a:pt x="4575443" y="368567"/>
                  <a:pt x="4579613" y="380979"/>
                  <a:pt x="4581713" y="394595"/>
                </a:cubicBezTo>
                <a:cubicBezTo>
                  <a:pt x="4575676" y="407737"/>
                  <a:pt x="4568676" y="422997"/>
                  <a:pt x="4561648" y="438292"/>
                </a:cubicBezTo>
                <a:cubicBezTo>
                  <a:pt x="4562814" y="439424"/>
                  <a:pt x="4563981" y="440593"/>
                  <a:pt x="4565147" y="441724"/>
                </a:cubicBezTo>
                <a:cubicBezTo>
                  <a:pt x="4555931" y="447017"/>
                  <a:pt x="4546686" y="452311"/>
                  <a:pt x="4535778" y="458590"/>
                </a:cubicBezTo>
                <a:cubicBezTo>
                  <a:pt x="4543856" y="470819"/>
                  <a:pt x="4550769" y="481296"/>
                  <a:pt x="4557681" y="491773"/>
                </a:cubicBezTo>
                <a:cubicBezTo>
                  <a:pt x="4546336" y="503564"/>
                  <a:pt x="4535545" y="513348"/>
                  <a:pt x="4542165" y="536492"/>
                </a:cubicBezTo>
                <a:cubicBezTo>
                  <a:pt x="4545607" y="548576"/>
                  <a:pt x="4538374" y="562557"/>
                  <a:pt x="4527641" y="569347"/>
                </a:cubicBezTo>
                <a:cubicBezTo>
                  <a:pt x="4523091" y="572195"/>
                  <a:pt x="4518016" y="573728"/>
                  <a:pt x="4513554" y="575699"/>
                </a:cubicBezTo>
                <a:cubicBezTo>
                  <a:pt x="4512446" y="608627"/>
                  <a:pt x="4487859" y="638196"/>
                  <a:pt x="4462806" y="645680"/>
                </a:cubicBezTo>
                <a:cubicBezTo>
                  <a:pt x="4387443" y="668167"/>
                  <a:pt x="4311001" y="657216"/>
                  <a:pt x="4235143" y="658566"/>
                </a:cubicBezTo>
                <a:cubicBezTo>
                  <a:pt x="4122448" y="660574"/>
                  <a:pt x="4009666" y="656850"/>
                  <a:pt x="3896913" y="655390"/>
                </a:cubicBezTo>
                <a:cubicBezTo>
                  <a:pt x="3829250" y="654514"/>
                  <a:pt x="3761586" y="652579"/>
                  <a:pt x="3693923" y="652470"/>
                </a:cubicBezTo>
                <a:cubicBezTo>
                  <a:pt x="3658371" y="652397"/>
                  <a:pt x="3622818" y="656339"/>
                  <a:pt x="3587266" y="656412"/>
                </a:cubicBezTo>
                <a:cubicBezTo>
                  <a:pt x="3562330" y="656485"/>
                  <a:pt x="3537422" y="652360"/>
                  <a:pt x="3512457" y="651521"/>
                </a:cubicBezTo>
                <a:cubicBezTo>
                  <a:pt x="3491896" y="650827"/>
                  <a:pt x="3471247" y="651740"/>
                  <a:pt x="3450685" y="652835"/>
                </a:cubicBezTo>
                <a:cubicBezTo>
                  <a:pt x="3429161" y="653967"/>
                  <a:pt x="3407667" y="656595"/>
                  <a:pt x="3386143" y="657763"/>
                </a:cubicBezTo>
                <a:cubicBezTo>
                  <a:pt x="3336037" y="660538"/>
                  <a:pt x="3285902" y="662327"/>
                  <a:pt x="3235825" y="665393"/>
                </a:cubicBezTo>
                <a:cubicBezTo>
                  <a:pt x="3166762" y="669627"/>
                  <a:pt x="3097669" y="674154"/>
                  <a:pt x="3028664" y="679740"/>
                </a:cubicBezTo>
                <a:cubicBezTo>
                  <a:pt x="3011661" y="681090"/>
                  <a:pt x="2995037" y="689304"/>
                  <a:pt x="2978063" y="690691"/>
                </a:cubicBezTo>
                <a:cubicBezTo>
                  <a:pt x="2925273" y="694999"/>
                  <a:pt x="2872368" y="697554"/>
                  <a:pt x="2819520" y="700694"/>
                </a:cubicBezTo>
                <a:cubicBezTo>
                  <a:pt x="2780556" y="702994"/>
                  <a:pt x="2741591" y="706571"/>
                  <a:pt x="2702597" y="707009"/>
                </a:cubicBezTo>
                <a:cubicBezTo>
                  <a:pt x="2659491" y="707484"/>
                  <a:pt x="2616355" y="704198"/>
                  <a:pt x="2573249" y="704308"/>
                </a:cubicBezTo>
                <a:cubicBezTo>
                  <a:pt x="2550092" y="704381"/>
                  <a:pt x="2526935" y="708141"/>
                  <a:pt x="2503778" y="710185"/>
                </a:cubicBezTo>
                <a:cubicBezTo>
                  <a:pt x="2501211" y="710441"/>
                  <a:pt x="2498411" y="711244"/>
                  <a:pt x="2496019" y="710368"/>
                </a:cubicBezTo>
                <a:cubicBezTo>
                  <a:pt x="2457026" y="696167"/>
                  <a:pt x="2417127" y="706462"/>
                  <a:pt x="2377930" y="706206"/>
                </a:cubicBezTo>
                <a:cubicBezTo>
                  <a:pt x="2334269" y="705951"/>
                  <a:pt x="2290113" y="703979"/>
                  <a:pt x="2246278" y="714821"/>
                </a:cubicBezTo>
                <a:cubicBezTo>
                  <a:pt x="2222041" y="720845"/>
                  <a:pt x="2195792" y="719312"/>
                  <a:pt x="2171031" y="715442"/>
                </a:cubicBezTo>
                <a:cubicBezTo>
                  <a:pt x="2125825" y="708433"/>
                  <a:pt x="2081202" y="716793"/>
                  <a:pt x="2036492" y="719421"/>
                </a:cubicBezTo>
                <a:cubicBezTo>
                  <a:pt x="1977870" y="722853"/>
                  <a:pt x="1919481" y="727416"/>
                  <a:pt x="1860655" y="723802"/>
                </a:cubicBezTo>
                <a:cubicBezTo>
                  <a:pt x="1826240" y="721685"/>
                  <a:pt x="1791592" y="726284"/>
                  <a:pt x="1757031" y="727744"/>
                </a:cubicBezTo>
                <a:cubicBezTo>
                  <a:pt x="1723287" y="729131"/>
                  <a:pt x="1689543" y="730555"/>
                  <a:pt x="1655769" y="731650"/>
                </a:cubicBezTo>
                <a:cubicBezTo>
                  <a:pt x="1635062" y="732344"/>
                  <a:pt x="1614209" y="730957"/>
                  <a:pt x="1593618" y="733147"/>
                </a:cubicBezTo>
                <a:cubicBezTo>
                  <a:pt x="1576731" y="734973"/>
                  <a:pt x="1561040" y="732709"/>
                  <a:pt x="1545349" y="725152"/>
                </a:cubicBezTo>
                <a:cubicBezTo>
                  <a:pt x="1538408" y="721794"/>
                  <a:pt x="1530388" y="718435"/>
                  <a:pt x="1523359" y="719640"/>
                </a:cubicBezTo>
                <a:cubicBezTo>
                  <a:pt x="1488273" y="725773"/>
                  <a:pt x="1455812" y="707082"/>
                  <a:pt x="1421660" y="703797"/>
                </a:cubicBezTo>
                <a:cubicBezTo>
                  <a:pt x="1401623" y="701862"/>
                  <a:pt x="1382491" y="687953"/>
                  <a:pt x="1362483" y="681930"/>
                </a:cubicBezTo>
                <a:cubicBezTo>
                  <a:pt x="1348455" y="677695"/>
                  <a:pt x="1333639" y="676199"/>
                  <a:pt x="1319144" y="676053"/>
                </a:cubicBezTo>
                <a:cubicBezTo>
                  <a:pt x="1288783" y="675761"/>
                  <a:pt x="1258393" y="676345"/>
                  <a:pt x="1228061" y="678061"/>
                </a:cubicBezTo>
                <a:cubicBezTo>
                  <a:pt x="1156168" y="682149"/>
                  <a:pt x="1084335" y="687114"/>
                  <a:pt x="1012501" y="691750"/>
                </a:cubicBezTo>
                <a:cubicBezTo>
                  <a:pt x="1006463" y="692115"/>
                  <a:pt x="999522" y="695473"/>
                  <a:pt x="994564" y="692809"/>
                </a:cubicBezTo>
                <a:cubicBezTo>
                  <a:pt x="968607" y="678900"/>
                  <a:pt x="943583" y="689961"/>
                  <a:pt x="918297" y="695145"/>
                </a:cubicBezTo>
                <a:cubicBezTo>
                  <a:pt x="915730" y="695656"/>
                  <a:pt x="913018" y="697153"/>
                  <a:pt x="910626" y="696605"/>
                </a:cubicBezTo>
                <a:cubicBezTo>
                  <a:pt x="866383" y="686237"/>
                  <a:pt x="820681" y="704344"/>
                  <a:pt x="776787" y="685982"/>
                </a:cubicBezTo>
                <a:cubicBezTo>
                  <a:pt x="772908" y="684339"/>
                  <a:pt x="767221" y="682879"/>
                  <a:pt x="764304" y="685179"/>
                </a:cubicBezTo>
                <a:cubicBezTo>
                  <a:pt x="750422" y="696021"/>
                  <a:pt x="735664" y="690363"/>
                  <a:pt x="721140" y="691130"/>
                </a:cubicBezTo>
                <a:cubicBezTo>
                  <a:pt x="691945" y="692699"/>
                  <a:pt x="662780" y="695984"/>
                  <a:pt x="633615" y="698248"/>
                </a:cubicBezTo>
                <a:cubicBezTo>
                  <a:pt x="614074" y="699781"/>
                  <a:pt x="596779" y="693867"/>
                  <a:pt x="579572" y="680360"/>
                </a:cubicBezTo>
                <a:cubicBezTo>
                  <a:pt x="551777" y="658530"/>
                  <a:pt x="521008" y="646629"/>
                  <a:pt x="487322" y="644913"/>
                </a:cubicBezTo>
                <a:cubicBezTo>
                  <a:pt x="459061" y="643490"/>
                  <a:pt x="431033" y="634583"/>
                  <a:pt x="402772" y="632940"/>
                </a:cubicBezTo>
                <a:cubicBezTo>
                  <a:pt x="377077" y="631479"/>
                  <a:pt x="351179" y="635349"/>
                  <a:pt x="325368" y="636846"/>
                </a:cubicBezTo>
                <a:cubicBezTo>
                  <a:pt x="317610" y="637284"/>
                  <a:pt x="309181" y="640314"/>
                  <a:pt x="302240" y="637539"/>
                </a:cubicBezTo>
                <a:cubicBezTo>
                  <a:pt x="272987" y="625857"/>
                  <a:pt x="242188" y="631589"/>
                  <a:pt x="212877" y="623631"/>
                </a:cubicBezTo>
                <a:cubicBezTo>
                  <a:pt x="195553" y="618922"/>
                  <a:pt x="178725" y="610343"/>
                  <a:pt x="162217" y="601874"/>
                </a:cubicBezTo>
                <a:cubicBezTo>
                  <a:pt x="135239" y="588075"/>
                  <a:pt x="113336" y="564346"/>
                  <a:pt x="90121" y="542954"/>
                </a:cubicBezTo>
                <a:cubicBezTo>
                  <a:pt x="70172" y="524591"/>
                  <a:pt x="47190" y="511340"/>
                  <a:pt x="27474" y="492649"/>
                </a:cubicBezTo>
                <a:cubicBezTo>
                  <a:pt x="17033" y="482720"/>
                  <a:pt x="10675" y="466037"/>
                  <a:pt x="0" y="448295"/>
                </a:cubicBezTo>
                <a:cubicBezTo>
                  <a:pt x="9800" y="442783"/>
                  <a:pt x="16099" y="437161"/>
                  <a:pt x="22924" y="435773"/>
                </a:cubicBezTo>
                <a:cubicBezTo>
                  <a:pt x="44623" y="431357"/>
                  <a:pt x="64689" y="423289"/>
                  <a:pt x="79680" y="401933"/>
                </a:cubicBezTo>
                <a:cubicBezTo>
                  <a:pt x="84638" y="394851"/>
                  <a:pt x="90587" y="387550"/>
                  <a:pt x="92745" y="379008"/>
                </a:cubicBezTo>
                <a:cubicBezTo>
                  <a:pt x="97150" y="361412"/>
                  <a:pt x="105928" y="354549"/>
                  <a:pt x="119811" y="355279"/>
                </a:cubicBezTo>
                <a:cubicBezTo>
                  <a:pt x="122407" y="355425"/>
                  <a:pt x="125032" y="355498"/>
                  <a:pt x="127627" y="355425"/>
                </a:cubicBezTo>
                <a:cubicBezTo>
                  <a:pt x="150259" y="354805"/>
                  <a:pt x="153759" y="351738"/>
                  <a:pt x="161897" y="325272"/>
                </a:cubicBezTo>
                <a:cubicBezTo>
                  <a:pt x="163442" y="320270"/>
                  <a:pt x="164725" y="315123"/>
                  <a:pt x="165280" y="313079"/>
                </a:cubicBezTo>
                <a:cubicBezTo>
                  <a:pt x="215065" y="276026"/>
                  <a:pt x="269370" y="267630"/>
                  <a:pt x="322597" y="254634"/>
                </a:cubicBezTo>
                <a:cubicBezTo>
                  <a:pt x="334117" y="251823"/>
                  <a:pt x="342779" y="247953"/>
                  <a:pt x="340038" y="227510"/>
                </a:cubicBezTo>
                <a:cubicBezTo>
                  <a:pt x="350887" y="245580"/>
                  <a:pt x="361999" y="245945"/>
                  <a:pt x="377865" y="242149"/>
                </a:cubicBezTo>
                <a:cubicBezTo>
                  <a:pt x="459469" y="222655"/>
                  <a:pt x="541482" y="205862"/>
                  <a:pt x="623436" y="188705"/>
                </a:cubicBezTo>
                <a:cubicBezTo>
                  <a:pt x="659310" y="181185"/>
                  <a:pt x="695300" y="173993"/>
                  <a:pt x="731406" y="168517"/>
                </a:cubicBezTo>
                <a:cubicBezTo>
                  <a:pt x="792303" y="159281"/>
                  <a:pt x="853287" y="150484"/>
                  <a:pt x="914360" y="143328"/>
                </a:cubicBezTo>
                <a:cubicBezTo>
                  <a:pt x="1035220" y="129201"/>
                  <a:pt x="1156373" y="123068"/>
                  <a:pt x="1277759" y="120038"/>
                </a:cubicBezTo>
                <a:cubicBezTo>
                  <a:pt x="1386778" y="117337"/>
                  <a:pt x="1495739" y="111021"/>
                  <a:pt x="1604642" y="104268"/>
                </a:cubicBezTo>
                <a:cubicBezTo>
                  <a:pt x="1701588" y="98244"/>
                  <a:pt x="1798416" y="89009"/>
                  <a:pt x="1895332" y="82109"/>
                </a:cubicBezTo>
                <a:cubicBezTo>
                  <a:pt x="1964512" y="77181"/>
                  <a:pt x="2033750" y="73859"/>
                  <a:pt x="2102960" y="69770"/>
                </a:cubicBezTo>
                <a:cubicBezTo>
                  <a:pt x="2169369" y="65864"/>
                  <a:pt x="2235749" y="60206"/>
                  <a:pt x="2302216" y="58453"/>
                </a:cubicBezTo>
                <a:cubicBezTo>
                  <a:pt x="2381021" y="56372"/>
                  <a:pt x="2459855" y="58526"/>
                  <a:pt x="2538659" y="57212"/>
                </a:cubicBezTo>
                <a:cubicBezTo>
                  <a:pt x="2592265" y="56336"/>
                  <a:pt x="2645841" y="52393"/>
                  <a:pt x="2699447" y="50167"/>
                </a:cubicBezTo>
                <a:cubicBezTo>
                  <a:pt x="2784172" y="46699"/>
                  <a:pt x="2868926" y="44107"/>
                  <a:pt x="2953651" y="39945"/>
                </a:cubicBezTo>
                <a:cubicBezTo>
                  <a:pt x="3001191" y="37609"/>
                  <a:pt x="3048642" y="32462"/>
                  <a:pt x="3096182" y="29286"/>
                </a:cubicBezTo>
                <a:cubicBezTo>
                  <a:pt x="3146375" y="25963"/>
                  <a:pt x="3196568" y="23262"/>
                  <a:pt x="3246791" y="20670"/>
                </a:cubicBezTo>
                <a:cubicBezTo>
                  <a:pt x="3293543" y="18261"/>
                  <a:pt x="3340324" y="16545"/>
                  <a:pt x="3387075" y="14245"/>
                </a:cubicBezTo>
                <a:cubicBezTo>
                  <a:pt x="3433740" y="11945"/>
                  <a:pt x="3480375" y="9500"/>
                  <a:pt x="3527040" y="6835"/>
                </a:cubicBezTo>
                <a:cubicBezTo>
                  <a:pt x="3560755" y="4900"/>
                  <a:pt x="3594441" y="957"/>
                  <a:pt x="3628155" y="702"/>
                </a:cubicBezTo>
                <a:cubicBezTo>
                  <a:pt x="3733034" y="-138"/>
                  <a:pt x="3837941" y="-284"/>
                  <a:pt x="3942848" y="592"/>
                </a:cubicBezTo>
                <a:close/>
              </a:path>
            </a:pathLst>
          </a:custGeom>
          <a:solidFill>
            <a:srgbClr val="0070C0"/>
          </a:solidFill>
          <a:ln w="7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Consideration</a:t>
            </a:r>
            <a:endParaRPr kumimoji="0" lang="pt-PT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1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Build</a:t>
            </a:r>
            <a:r>
              <a:rPr kumimoji="0" lang="pt-PT" sz="11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pt-PT" sz="11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credibility</a:t>
            </a:r>
            <a:endParaRPr kumimoji="0" lang="pt-PT" sz="11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Forma livre: Forma 24">
            <a:extLst>
              <a:ext uri="{FF2B5EF4-FFF2-40B4-BE49-F238E27FC236}">
                <a16:creationId xmlns:a16="http://schemas.microsoft.com/office/drawing/2014/main" id="{373D7A5C-5EC1-3839-2BA2-90F9C226FABD}"/>
              </a:ext>
            </a:extLst>
          </p:cNvPr>
          <p:cNvSpPr/>
          <p:nvPr/>
        </p:nvSpPr>
        <p:spPr>
          <a:xfrm>
            <a:off x="431513" y="4517791"/>
            <a:ext cx="2257198" cy="799864"/>
          </a:xfrm>
          <a:custGeom>
            <a:avLst/>
            <a:gdLst>
              <a:gd name="connsiteX0" fmla="*/ 2999732 w 4588100"/>
              <a:gd name="connsiteY0" fmla="*/ 713398 h 758459"/>
              <a:gd name="connsiteX1" fmla="*/ 2977771 w 4588100"/>
              <a:gd name="connsiteY1" fmla="*/ 722890 h 758459"/>
              <a:gd name="connsiteX2" fmla="*/ 2762152 w 4588100"/>
              <a:gd name="connsiteY2" fmla="*/ 735959 h 758459"/>
              <a:gd name="connsiteX3" fmla="*/ 2543821 w 4588100"/>
              <a:gd name="connsiteY3" fmla="*/ 745633 h 758459"/>
              <a:gd name="connsiteX4" fmla="*/ 2296996 w 4588100"/>
              <a:gd name="connsiteY4" fmla="*/ 743515 h 758459"/>
              <a:gd name="connsiteX5" fmla="*/ 2148749 w 4588100"/>
              <a:gd name="connsiteY5" fmla="*/ 748079 h 758459"/>
              <a:gd name="connsiteX6" fmla="*/ 2019080 w 4588100"/>
              <a:gd name="connsiteY6" fmla="*/ 758373 h 758459"/>
              <a:gd name="connsiteX7" fmla="*/ 1997586 w 4588100"/>
              <a:gd name="connsiteY7" fmla="*/ 755817 h 758459"/>
              <a:gd name="connsiteX8" fmla="*/ 1997031 w 4588100"/>
              <a:gd name="connsiteY8" fmla="*/ 744282 h 758459"/>
              <a:gd name="connsiteX9" fmla="*/ 2020130 w 4588100"/>
              <a:gd name="connsiteY9" fmla="*/ 737127 h 758459"/>
              <a:gd name="connsiteX10" fmla="*/ 2266926 w 4588100"/>
              <a:gd name="connsiteY10" fmla="*/ 726467 h 758459"/>
              <a:gd name="connsiteX11" fmla="*/ 2542596 w 4588100"/>
              <a:gd name="connsiteY11" fmla="*/ 723693 h 758459"/>
              <a:gd name="connsiteX12" fmla="*/ 2766090 w 4588100"/>
              <a:gd name="connsiteY12" fmla="*/ 717779 h 758459"/>
              <a:gd name="connsiteX13" fmla="*/ 2857085 w 4588100"/>
              <a:gd name="connsiteY13" fmla="*/ 716720 h 758459"/>
              <a:gd name="connsiteX14" fmla="*/ 2999732 w 4588100"/>
              <a:gd name="connsiteY14" fmla="*/ 713398 h 758459"/>
              <a:gd name="connsiteX15" fmla="*/ 3416328 w 4588100"/>
              <a:gd name="connsiteY15" fmla="*/ 693101 h 758459"/>
              <a:gd name="connsiteX16" fmla="*/ 3441789 w 4588100"/>
              <a:gd name="connsiteY16" fmla="*/ 693101 h 758459"/>
              <a:gd name="connsiteX17" fmla="*/ 3441819 w 4588100"/>
              <a:gd name="connsiteY17" fmla="*/ 694306 h 758459"/>
              <a:gd name="connsiteX18" fmla="*/ 3416504 w 4588100"/>
              <a:gd name="connsiteY18" fmla="*/ 695985 h 758459"/>
              <a:gd name="connsiteX19" fmla="*/ 3416328 w 4588100"/>
              <a:gd name="connsiteY19" fmla="*/ 693101 h 758459"/>
              <a:gd name="connsiteX20" fmla="*/ 4276382 w 4588100"/>
              <a:gd name="connsiteY20" fmla="*/ 685836 h 758459"/>
              <a:gd name="connsiteX21" fmla="*/ 4301347 w 4588100"/>
              <a:gd name="connsiteY21" fmla="*/ 685836 h 758459"/>
              <a:gd name="connsiteX22" fmla="*/ 4301377 w 4588100"/>
              <a:gd name="connsiteY22" fmla="*/ 687661 h 758459"/>
              <a:gd name="connsiteX23" fmla="*/ 4276762 w 4588100"/>
              <a:gd name="connsiteY23" fmla="*/ 687661 h 758459"/>
              <a:gd name="connsiteX24" fmla="*/ 4276382 w 4588100"/>
              <a:gd name="connsiteY24" fmla="*/ 685836 h 758459"/>
              <a:gd name="connsiteX25" fmla="*/ 3787310 w 4588100"/>
              <a:gd name="connsiteY25" fmla="*/ 679922 h 758459"/>
              <a:gd name="connsiteX26" fmla="*/ 3787660 w 4588100"/>
              <a:gd name="connsiteY26" fmla="*/ 680908 h 758459"/>
              <a:gd name="connsiteX27" fmla="*/ 3775032 w 4588100"/>
              <a:gd name="connsiteY27" fmla="*/ 681638 h 758459"/>
              <a:gd name="connsiteX28" fmla="*/ 3775002 w 4588100"/>
              <a:gd name="connsiteY28" fmla="*/ 679958 h 758459"/>
              <a:gd name="connsiteX29" fmla="*/ 3787310 w 4588100"/>
              <a:gd name="connsiteY29" fmla="*/ 679922 h 758459"/>
              <a:gd name="connsiteX30" fmla="*/ 3654433 w 4588100"/>
              <a:gd name="connsiteY30" fmla="*/ 678754 h 758459"/>
              <a:gd name="connsiteX31" fmla="*/ 3726793 w 4588100"/>
              <a:gd name="connsiteY31" fmla="*/ 678754 h 758459"/>
              <a:gd name="connsiteX32" fmla="*/ 3726034 w 4588100"/>
              <a:gd name="connsiteY32" fmla="*/ 682441 h 758459"/>
              <a:gd name="connsiteX33" fmla="*/ 3654463 w 4588100"/>
              <a:gd name="connsiteY33" fmla="*/ 682441 h 758459"/>
              <a:gd name="connsiteX34" fmla="*/ 3654433 w 4588100"/>
              <a:gd name="connsiteY34" fmla="*/ 678754 h 758459"/>
              <a:gd name="connsiteX35" fmla="*/ 4039772 w 4588100"/>
              <a:gd name="connsiteY35" fmla="*/ 672060 h 758459"/>
              <a:gd name="connsiteX36" fmla="*/ 4251476 w 4588100"/>
              <a:gd name="connsiteY36" fmla="*/ 686676 h 758459"/>
              <a:gd name="connsiteX37" fmla="*/ 4251126 w 4588100"/>
              <a:gd name="connsiteY37" fmla="*/ 693137 h 758459"/>
              <a:gd name="connsiteX38" fmla="*/ 3827850 w 4588100"/>
              <a:gd name="connsiteY38" fmla="*/ 683099 h 758459"/>
              <a:gd name="connsiteX39" fmla="*/ 4039772 w 4588100"/>
              <a:gd name="connsiteY39" fmla="*/ 672060 h 758459"/>
              <a:gd name="connsiteX40" fmla="*/ 3036893 w 4588100"/>
              <a:gd name="connsiteY40" fmla="*/ 45960 h 758459"/>
              <a:gd name="connsiteX41" fmla="*/ 2975963 w 4588100"/>
              <a:gd name="connsiteY41" fmla="*/ 51006 h 758459"/>
              <a:gd name="connsiteX42" fmla="*/ 2975846 w 4588100"/>
              <a:gd name="connsiteY42" fmla="*/ 58819 h 758459"/>
              <a:gd name="connsiteX43" fmla="*/ 3018573 w 4588100"/>
              <a:gd name="connsiteY43" fmla="*/ 62469 h 758459"/>
              <a:gd name="connsiteX44" fmla="*/ 3057334 w 4588100"/>
              <a:gd name="connsiteY44" fmla="*/ 51189 h 758459"/>
              <a:gd name="connsiteX45" fmla="*/ 3036893 w 4588100"/>
              <a:gd name="connsiteY45" fmla="*/ 45960 h 758459"/>
              <a:gd name="connsiteX46" fmla="*/ 4186251 w 4588100"/>
              <a:gd name="connsiteY46" fmla="*/ 43062 h 758459"/>
              <a:gd name="connsiteX47" fmla="*/ 4176024 w 4588100"/>
              <a:gd name="connsiteY47" fmla="*/ 46297 h 758459"/>
              <a:gd name="connsiteX48" fmla="*/ 4173925 w 4588100"/>
              <a:gd name="connsiteY48" fmla="*/ 53051 h 758459"/>
              <a:gd name="connsiteX49" fmla="*/ 4200261 w 4588100"/>
              <a:gd name="connsiteY49" fmla="*/ 49108 h 758459"/>
              <a:gd name="connsiteX50" fmla="*/ 4186251 w 4588100"/>
              <a:gd name="connsiteY50" fmla="*/ 43062 h 758459"/>
              <a:gd name="connsiteX51" fmla="*/ 3102832 w 4588100"/>
              <a:gd name="connsiteY51" fmla="*/ 37171 h 758459"/>
              <a:gd name="connsiteX52" fmla="*/ 3081016 w 4588100"/>
              <a:gd name="connsiteY52" fmla="*/ 44399 h 758459"/>
              <a:gd name="connsiteX53" fmla="*/ 3081483 w 4588100"/>
              <a:gd name="connsiteY53" fmla="*/ 49072 h 758459"/>
              <a:gd name="connsiteX54" fmla="*/ 3093236 w 4588100"/>
              <a:gd name="connsiteY54" fmla="*/ 48853 h 758459"/>
              <a:gd name="connsiteX55" fmla="*/ 3104465 w 4588100"/>
              <a:gd name="connsiteY55" fmla="*/ 42647 h 758459"/>
              <a:gd name="connsiteX56" fmla="*/ 3102832 w 4588100"/>
              <a:gd name="connsiteY56" fmla="*/ 37171 h 758459"/>
              <a:gd name="connsiteX57" fmla="*/ 3306492 w 4588100"/>
              <a:gd name="connsiteY57" fmla="*/ 33593 h 758459"/>
              <a:gd name="connsiteX58" fmla="*/ 3294680 w 4588100"/>
              <a:gd name="connsiteY58" fmla="*/ 35857 h 758459"/>
              <a:gd name="connsiteX59" fmla="*/ 3294797 w 4588100"/>
              <a:gd name="connsiteY59" fmla="*/ 40894 h 758459"/>
              <a:gd name="connsiteX60" fmla="*/ 3305092 w 4588100"/>
              <a:gd name="connsiteY60" fmla="*/ 43450 h 758459"/>
              <a:gd name="connsiteX61" fmla="*/ 3306492 w 4588100"/>
              <a:gd name="connsiteY61" fmla="*/ 33593 h 758459"/>
              <a:gd name="connsiteX62" fmla="*/ 3595199 w 4588100"/>
              <a:gd name="connsiteY62" fmla="*/ 31440 h 758459"/>
              <a:gd name="connsiteX63" fmla="*/ 3591145 w 4588100"/>
              <a:gd name="connsiteY63" fmla="*/ 40091 h 758459"/>
              <a:gd name="connsiteX64" fmla="*/ 3594907 w 4588100"/>
              <a:gd name="connsiteY64" fmla="*/ 43048 h 758459"/>
              <a:gd name="connsiteX65" fmla="*/ 3600595 w 4588100"/>
              <a:gd name="connsiteY65" fmla="*/ 38521 h 758459"/>
              <a:gd name="connsiteX66" fmla="*/ 3595199 w 4588100"/>
              <a:gd name="connsiteY66" fmla="*/ 31440 h 758459"/>
              <a:gd name="connsiteX67" fmla="*/ 3620339 w 4588100"/>
              <a:gd name="connsiteY67" fmla="*/ 26949 h 758459"/>
              <a:gd name="connsiteX68" fmla="*/ 3619085 w 4588100"/>
              <a:gd name="connsiteY68" fmla="*/ 31038 h 758459"/>
              <a:gd name="connsiteX69" fmla="*/ 3632006 w 4588100"/>
              <a:gd name="connsiteY69" fmla="*/ 37353 h 758459"/>
              <a:gd name="connsiteX70" fmla="*/ 3633230 w 4588100"/>
              <a:gd name="connsiteY70" fmla="*/ 33374 h 758459"/>
              <a:gd name="connsiteX71" fmla="*/ 3620339 w 4588100"/>
              <a:gd name="connsiteY71" fmla="*/ 26949 h 758459"/>
              <a:gd name="connsiteX72" fmla="*/ 3256135 w 4588100"/>
              <a:gd name="connsiteY72" fmla="*/ 26939 h 758459"/>
              <a:gd name="connsiteX73" fmla="*/ 3191494 w 4588100"/>
              <a:gd name="connsiteY73" fmla="*/ 37463 h 758459"/>
              <a:gd name="connsiteX74" fmla="*/ 3215409 w 4588100"/>
              <a:gd name="connsiteY74" fmla="*/ 45385 h 758459"/>
              <a:gd name="connsiteX75" fmla="*/ 3238421 w 4588100"/>
              <a:gd name="connsiteY75" fmla="*/ 53452 h 758459"/>
              <a:gd name="connsiteX76" fmla="*/ 3239995 w 4588100"/>
              <a:gd name="connsiteY76" fmla="*/ 33922 h 758459"/>
              <a:gd name="connsiteX77" fmla="*/ 3275840 w 4588100"/>
              <a:gd name="connsiteY77" fmla="*/ 51006 h 758459"/>
              <a:gd name="connsiteX78" fmla="*/ 3277910 w 4588100"/>
              <a:gd name="connsiteY78" fmla="*/ 36258 h 758459"/>
              <a:gd name="connsiteX79" fmla="*/ 3256135 w 4588100"/>
              <a:gd name="connsiteY79" fmla="*/ 26939 h 758459"/>
              <a:gd name="connsiteX80" fmla="*/ 4516471 w 4588100"/>
              <a:gd name="connsiteY80" fmla="*/ 21291 h 758459"/>
              <a:gd name="connsiteX81" fmla="*/ 4538607 w 4588100"/>
              <a:gd name="connsiteY81" fmla="*/ 33812 h 758459"/>
              <a:gd name="connsiteX82" fmla="*/ 4516471 w 4588100"/>
              <a:gd name="connsiteY82" fmla="*/ 21291 h 758459"/>
              <a:gd name="connsiteX83" fmla="*/ 4489551 w 4588100"/>
              <a:gd name="connsiteY83" fmla="*/ 21181 h 758459"/>
              <a:gd name="connsiteX84" fmla="*/ 4489988 w 4588100"/>
              <a:gd name="connsiteY84" fmla="*/ 26365 h 758459"/>
              <a:gd name="connsiteX85" fmla="*/ 4516120 w 4588100"/>
              <a:gd name="connsiteY85" fmla="*/ 21181 h 758459"/>
              <a:gd name="connsiteX86" fmla="*/ 4489551 w 4588100"/>
              <a:gd name="connsiteY86" fmla="*/ 21181 h 758459"/>
              <a:gd name="connsiteX87" fmla="*/ 3321804 w 4588100"/>
              <a:gd name="connsiteY87" fmla="*/ 21035 h 758459"/>
              <a:gd name="connsiteX88" fmla="*/ 3305675 w 4588100"/>
              <a:gd name="connsiteY88" fmla="*/ 43596 h 758459"/>
              <a:gd name="connsiteX89" fmla="*/ 3306142 w 4588100"/>
              <a:gd name="connsiteY89" fmla="*/ 43705 h 758459"/>
              <a:gd name="connsiteX90" fmla="*/ 3303955 w 4588100"/>
              <a:gd name="connsiteY90" fmla="*/ 48597 h 758459"/>
              <a:gd name="connsiteX91" fmla="*/ 3305442 w 4588100"/>
              <a:gd name="connsiteY91" fmla="*/ 50678 h 758459"/>
              <a:gd name="connsiteX92" fmla="*/ 3369898 w 4588100"/>
              <a:gd name="connsiteY92" fmla="*/ 42720 h 758459"/>
              <a:gd name="connsiteX93" fmla="*/ 3371122 w 4588100"/>
              <a:gd name="connsiteY93" fmla="*/ 37682 h 758459"/>
              <a:gd name="connsiteX94" fmla="*/ 3321804 w 4588100"/>
              <a:gd name="connsiteY94" fmla="*/ 21035 h 758459"/>
              <a:gd name="connsiteX95" fmla="*/ 3413033 w 4588100"/>
              <a:gd name="connsiteY95" fmla="*/ 20013 h 758459"/>
              <a:gd name="connsiteX96" fmla="*/ 3410816 w 4588100"/>
              <a:gd name="connsiteY96" fmla="*/ 27168 h 758459"/>
              <a:gd name="connsiteX97" fmla="*/ 3424495 w 4588100"/>
              <a:gd name="connsiteY97" fmla="*/ 29979 h 758459"/>
              <a:gd name="connsiteX98" fmla="*/ 3425049 w 4588100"/>
              <a:gd name="connsiteY98" fmla="*/ 26876 h 758459"/>
              <a:gd name="connsiteX99" fmla="*/ 3413033 w 4588100"/>
              <a:gd name="connsiteY99" fmla="*/ 20013 h 758459"/>
              <a:gd name="connsiteX100" fmla="*/ 4443353 w 4588100"/>
              <a:gd name="connsiteY100" fmla="*/ 19758 h 758459"/>
              <a:gd name="connsiteX101" fmla="*/ 4441778 w 4588100"/>
              <a:gd name="connsiteY101" fmla="*/ 25671 h 758459"/>
              <a:gd name="connsiteX102" fmla="*/ 4453357 w 4588100"/>
              <a:gd name="connsiteY102" fmla="*/ 29614 h 758459"/>
              <a:gd name="connsiteX103" fmla="*/ 4454203 w 4588100"/>
              <a:gd name="connsiteY103" fmla="*/ 25927 h 758459"/>
              <a:gd name="connsiteX104" fmla="*/ 4443353 w 4588100"/>
              <a:gd name="connsiteY104" fmla="*/ 19758 h 758459"/>
              <a:gd name="connsiteX105" fmla="*/ 3942848 w 4588100"/>
              <a:gd name="connsiteY105" fmla="*/ 592 h 758459"/>
              <a:gd name="connsiteX106" fmla="*/ 4085671 w 4588100"/>
              <a:gd name="connsiteY106" fmla="*/ 6251 h 758459"/>
              <a:gd name="connsiteX107" fmla="*/ 4264483 w 4588100"/>
              <a:gd name="connsiteY107" fmla="*/ 5265 h 758459"/>
              <a:gd name="connsiteX108" fmla="*/ 4529158 w 4588100"/>
              <a:gd name="connsiteY108" fmla="*/ 10011 h 758459"/>
              <a:gd name="connsiteX109" fmla="*/ 4568443 w 4588100"/>
              <a:gd name="connsiteY109" fmla="*/ 22715 h 758459"/>
              <a:gd name="connsiteX110" fmla="*/ 4539657 w 4588100"/>
              <a:gd name="connsiteY110" fmla="*/ 33265 h 758459"/>
              <a:gd name="connsiteX111" fmla="*/ 4568385 w 4588100"/>
              <a:gd name="connsiteY111" fmla="*/ 22751 h 758459"/>
              <a:gd name="connsiteX112" fmla="*/ 4571564 w 4588100"/>
              <a:gd name="connsiteY112" fmla="*/ 52101 h 758459"/>
              <a:gd name="connsiteX113" fmla="*/ 4587517 w 4588100"/>
              <a:gd name="connsiteY113" fmla="*/ 76195 h 758459"/>
              <a:gd name="connsiteX114" fmla="*/ 4570193 w 4588100"/>
              <a:gd name="connsiteY114" fmla="*/ 102771 h 758459"/>
              <a:gd name="connsiteX115" fmla="*/ 4581976 w 4588100"/>
              <a:gd name="connsiteY115" fmla="*/ 156835 h 758459"/>
              <a:gd name="connsiteX116" fmla="*/ 4588100 w 4588100"/>
              <a:gd name="connsiteY116" fmla="*/ 216522 h 758459"/>
              <a:gd name="connsiteX117" fmla="*/ 4582326 w 4588100"/>
              <a:gd name="connsiteY117" fmla="*/ 282670 h 758459"/>
              <a:gd name="connsiteX118" fmla="*/ 4559110 w 4588100"/>
              <a:gd name="connsiteY118" fmla="*/ 327061 h 758459"/>
              <a:gd name="connsiteX119" fmla="*/ 4576434 w 4588100"/>
              <a:gd name="connsiteY119" fmla="*/ 356849 h 758459"/>
              <a:gd name="connsiteX120" fmla="*/ 4581713 w 4588100"/>
              <a:gd name="connsiteY120" fmla="*/ 394595 h 758459"/>
              <a:gd name="connsiteX121" fmla="*/ 4561648 w 4588100"/>
              <a:gd name="connsiteY121" fmla="*/ 438292 h 758459"/>
              <a:gd name="connsiteX122" fmla="*/ 4565147 w 4588100"/>
              <a:gd name="connsiteY122" fmla="*/ 441724 h 758459"/>
              <a:gd name="connsiteX123" fmla="*/ 4535778 w 4588100"/>
              <a:gd name="connsiteY123" fmla="*/ 458590 h 758459"/>
              <a:gd name="connsiteX124" fmla="*/ 4557681 w 4588100"/>
              <a:gd name="connsiteY124" fmla="*/ 491773 h 758459"/>
              <a:gd name="connsiteX125" fmla="*/ 4542165 w 4588100"/>
              <a:gd name="connsiteY125" fmla="*/ 536492 h 758459"/>
              <a:gd name="connsiteX126" fmla="*/ 4527641 w 4588100"/>
              <a:gd name="connsiteY126" fmla="*/ 569347 h 758459"/>
              <a:gd name="connsiteX127" fmla="*/ 4513554 w 4588100"/>
              <a:gd name="connsiteY127" fmla="*/ 575699 h 758459"/>
              <a:gd name="connsiteX128" fmla="*/ 4462806 w 4588100"/>
              <a:gd name="connsiteY128" fmla="*/ 645680 h 758459"/>
              <a:gd name="connsiteX129" fmla="*/ 4235143 w 4588100"/>
              <a:gd name="connsiteY129" fmla="*/ 658566 h 758459"/>
              <a:gd name="connsiteX130" fmla="*/ 3896913 w 4588100"/>
              <a:gd name="connsiteY130" fmla="*/ 655390 h 758459"/>
              <a:gd name="connsiteX131" fmla="*/ 3693923 w 4588100"/>
              <a:gd name="connsiteY131" fmla="*/ 652470 h 758459"/>
              <a:gd name="connsiteX132" fmla="*/ 3587266 w 4588100"/>
              <a:gd name="connsiteY132" fmla="*/ 656412 h 758459"/>
              <a:gd name="connsiteX133" fmla="*/ 3512457 w 4588100"/>
              <a:gd name="connsiteY133" fmla="*/ 651521 h 758459"/>
              <a:gd name="connsiteX134" fmla="*/ 3450685 w 4588100"/>
              <a:gd name="connsiteY134" fmla="*/ 652835 h 758459"/>
              <a:gd name="connsiteX135" fmla="*/ 3386143 w 4588100"/>
              <a:gd name="connsiteY135" fmla="*/ 657763 h 758459"/>
              <a:gd name="connsiteX136" fmla="*/ 3235825 w 4588100"/>
              <a:gd name="connsiteY136" fmla="*/ 665393 h 758459"/>
              <a:gd name="connsiteX137" fmla="*/ 3028664 w 4588100"/>
              <a:gd name="connsiteY137" fmla="*/ 679740 h 758459"/>
              <a:gd name="connsiteX138" fmla="*/ 2978063 w 4588100"/>
              <a:gd name="connsiteY138" fmla="*/ 690691 h 758459"/>
              <a:gd name="connsiteX139" fmla="*/ 2819520 w 4588100"/>
              <a:gd name="connsiteY139" fmla="*/ 700694 h 758459"/>
              <a:gd name="connsiteX140" fmla="*/ 2702597 w 4588100"/>
              <a:gd name="connsiteY140" fmla="*/ 707009 h 758459"/>
              <a:gd name="connsiteX141" fmla="*/ 2573249 w 4588100"/>
              <a:gd name="connsiteY141" fmla="*/ 704308 h 758459"/>
              <a:gd name="connsiteX142" fmla="*/ 2503778 w 4588100"/>
              <a:gd name="connsiteY142" fmla="*/ 710185 h 758459"/>
              <a:gd name="connsiteX143" fmla="*/ 2496019 w 4588100"/>
              <a:gd name="connsiteY143" fmla="*/ 710368 h 758459"/>
              <a:gd name="connsiteX144" fmla="*/ 2377930 w 4588100"/>
              <a:gd name="connsiteY144" fmla="*/ 706206 h 758459"/>
              <a:gd name="connsiteX145" fmla="*/ 2246278 w 4588100"/>
              <a:gd name="connsiteY145" fmla="*/ 714821 h 758459"/>
              <a:gd name="connsiteX146" fmla="*/ 2171031 w 4588100"/>
              <a:gd name="connsiteY146" fmla="*/ 715442 h 758459"/>
              <a:gd name="connsiteX147" fmla="*/ 2036492 w 4588100"/>
              <a:gd name="connsiteY147" fmla="*/ 719421 h 758459"/>
              <a:gd name="connsiteX148" fmla="*/ 1860655 w 4588100"/>
              <a:gd name="connsiteY148" fmla="*/ 723802 h 758459"/>
              <a:gd name="connsiteX149" fmla="*/ 1757031 w 4588100"/>
              <a:gd name="connsiteY149" fmla="*/ 727744 h 758459"/>
              <a:gd name="connsiteX150" fmla="*/ 1655769 w 4588100"/>
              <a:gd name="connsiteY150" fmla="*/ 731650 h 758459"/>
              <a:gd name="connsiteX151" fmla="*/ 1593618 w 4588100"/>
              <a:gd name="connsiteY151" fmla="*/ 733147 h 758459"/>
              <a:gd name="connsiteX152" fmla="*/ 1545349 w 4588100"/>
              <a:gd name="connsiteY152" fmla="*/ 725152 h 758459"/>
              <a:gd name="connsiteX153" fmla="*/ 1523359 w 4588100"/>
              <a:gd name="connsiteY153" fmla="*/ 719640 h 758459"/>
              <a:gd name="connsiteX154" fmla="*/ 1421660 w 4588100"/>
              <a:gd name="connsiteY154" fmla="*/ 703797 h 758459"/>
              <a:gd name="connsiteX155" fmla="*/ 1362483 w 4588100"/>
              <a:gd name="connsiteY155" fmla="*/ 681930 h 758459"/>
              <a:gd name="connsiteX156" fmla="*/ 1319144 w 4588100"/>
              <a:gd name="connsiteY156" fmla="*/ 676053 h 758459"/>
              <a:gd name="connsiteX157" fmla="*/ 1228061 w 4588100"/>
              <a:gd name="connsiteY157" fmla="*/ 678061 h 758459"/>
              <a:gd name="connsiteX158" fmla="*/ 1012501 w 4588100"/>
              <a:gd name="connsiteY158" fmla="*/ 691750 h 758459"/>
              <a:gd name="connsiteX159" fmla="*/ 994564 w 4588100"/>
              <a:gd name="connsiteY159" fmla="*/ 692809 h 758459"/>
              <a:gd name="connsiteX160" fmla="*/ 918297 w 4588100"/>
              <a:gd name="connsiteY160" fmla="*/ 695145 h 758459"/>
              <a:gd name="connsiteX161" fmla="*/ 910626 w 4588100"/>
              <a:gd name="connsiteY161" fmla="*/ 696605 h 758459"/>
              <a:gd name="connsiteX162" fmla="*/ 776787 w 4588100"/>
              <a:gd name="connsiteY162" fmla="*/ 685982 h 758459"/>
              <a:gd name="connsiteX163" fmla="*/ 764304 w 4588100"/>
              <a:gd name="connsiteY163" fmla="*/ 685179 h 758459"/>
              <a:gd name="connsiteX164" fmla="*/ 721140 w 4588100"/>
              <a:gd name="connsiteY164" fmla="*/ 691130 h 758459"/>
              <a:gd name="connsiteX165" fmla="*/ 633615 w 4588100"/>
              <a:gd name="connsiteY165" fmla="*/ 698248 h 758459"/>
              <a:gd name="connsiteX166" fmla="*/ 579572 w 4588100"/>
              <a:gd name="connsiteY166" fmla="*/ 680360 h 758459"/>
              <a:gd name="connsiteX167" fmla="*/ 487322 w 4588100"/>
              <a:gd name="connsiteY167" fmla="*/ 644913 h 758459"/>
              <a:gd name="connsiteX168" fmla="*/ 402772 w 4588100"/>
              <a:gd name="connsiteY168" fmla="*/ 632940 h 758459"/>
              <a:gd name="connsiteX169" fmla="*/ 325368 w 4588100"/>
              <a:gd name="connsiteY169" fmla="*/ 636846 h 758459"/>
              <a:gd name="connsiteX170" fmla="*/ 302240 w 4588100"/>
              <a:gd name="connsiteY170" fmla="*/ 637539 h 758459"/>
              <a:gd name="connsiteX171" fmla="*/ 212877 w 4588100"/>
              <a:gd name="connsiteY171" fmla="*/ 623631 h 758459"/>
              <a:gd name="connsiteX172" fmla="*/ 162217 w 4588100"/>
              <a:gd name="connsiteY172" fmla="*/ 601874 h 758459"/>
              <a:gd name="connsiteX173" fmla="*/ 90121 w 4588100"/>
              <a:gd name="connsiteY173" fmla="*/ 542954 h 758459"/>
              <a:gd name="connsiteX174" fmla="*/ 27474 w 4588100"/>
              <a:gd name="connsiteY174" fmla="*/ 492649 h 758459"/>
              <a:gd name="connsiteX175" fmla="*/ 0 w 4588100"/>
              <a:gd name="connsiteY175" fmla="*/ 448295 h 758459"/>
              <a:gd name="connsiteX176" fmla="*/ 22924 w 4588100"/>
              <a:gd name="connsiteY176" fmla="*/ 435773 h 758459"/>
              <a:gd name="connsiteX177" fmla="*/ 79680 w 4588100"/>
              <a:gd name="connsiteY177" fmla="*/ 401933 h 758459"/>
              <a:gd name="connsiteX178" fmla="*/ 92745 w 4588100"/>
              <a:gd name="connsiteY178" fmla="*/ 379008 h 758459"/>
              <a:gd name="connsiteX179" fmla="*/ 119811 w 4588100"/>
              <a:gd name="connsiteY179" fmla="*/ 355279 h 758459"/>
              <a:gd name="connsiteX180" fmla="*/ 127627 w 4588100"/>
              <a:gd name="connsiteY180" fmla="*/ 355425 h 758459"/>
              <a:gd name="connsiteX181" fmla="*/ 161897 w 4588100"/>
              <a:gd name="connsiteY181" fmla="*/ 325272 h 758459"/>
              <a:gd name="connsiteX182" fmla="*/ 165280 w 4588100"/>
              <a:gd name="connsiteY182" fmla="*/ 313079 h 758459"/>
              <a:gd name="connsiteX183" fmla="*/ 322597 w 4588100"/>
              <a:gd name="connsiteY183" fmla="*/ 254634 h 758459"/>
              <a:gd name="connsiteX184" fmla="*/ 340038 w 4588100"/>
              <a:gd name="connsiteY184" fmla="*/ 227510 h 758459"/>
              <a:gd name="connsiteX185" fmla="*/ 377865 w 4588100"/>
              <a:gd name="connsiteY185" fmla="*/ 242149 h 758459"/>
              <a:gd name="connsiteX186" fmla="*/ 623436 w 4588100"/>
              <a:gd name="connsiteY186" fmla="*/ 188705 h 758459"/>
              <a:gd name="connsiteX187" fmla="*/ 731406 w 4588100"/>
              <a:gd name="connsiteY187" fmla="*/ 168517 h 758459"/>
              <a:gd name="connsiteX188" fmla="*/ 914360 w 4588100"/>
              <a:gd name="connsiteY188" fmla="*/ 143328 h 758459"/>
              <a:gd name="connsiteX189" fmla="*/ 1277759 w 4588100"/>
              <a:gd name="connsiteY189" fmla="*/ 120038 h 758459"/>
              <a:gd name="connsiteX190" fmla="*/ 1604642 w 4588100"/>
              <a:gd name="connsiteY190" fmla="*/ 104268 h 758459"/>
              <a:gd name="connsiteX191" fmla="*/ 1895332 w 4588100"/>
              <a:gd name="connsiteY191" fmla="*/ 82109 h 758459"/>
              <a:gd name="connsiteX192" fmla="*/ 2102960 w 4588100"/>
              <a:gd name="connsiteY192" fmla="*/ 69770 h 758459"/>
              <a:gd name="connsiteX193" fmla="*/ 2302216 w 4588100"/>
              <a:gd name="connsiteY193" fmla="*/ 58453 h 758459"/>
              <a:gd name="connsiteX194" fmla="*/ 2538659 w 4588100"/>
              <a:gd name="connsiteY194" fmla="*/ 57212 h 758459"/>
              <a:gd name="connsiteX195" fmla="*/ 2699447 w 4588100"/>
              <a:gd name="connsiteY195" fmla="*/ 50167 h 758459"/>
              <a:gd name="connsiteX196" fmla="*/ 2953651 w 4588100"/>
              <a:gd name="connsiteY196" fmla="*/ 39945 h 758459"/>
              <a:gd name="connsiteX197" fmla="*/ 3096182 w 4588100"/>
              <a:gd name="connsiteY197" fmla="*/ 29286 h 758459"/>
              <a:gd name="connsiteX198" fmla="*/ 3246791 w 4588100"/>
              <a:gd name="connsiteY198" fmla="*/ 20670 h 758459"/>
              <a:gd name="connsiteX199" fmla="*/ 3387075 w 4588100"/>
              <a:gd name="connsiteY199" fmla="*/ 14245 h 758459"/>
              <a:gd name="connsiteX200" fmla="*/ 3527040 w 4588100"/>
              <a:gd name="connsiteY200" fmla="*/ 6835 h 758459"/>
              <a:gd name="connsiteX201" fmla="*/ 3628155 w 4588100"/>
              <a:gd name="connsiteY201" fmla="*/ 702 h 758459"/>
              <a:gd name="connsiteX202" fmla="*/ 3942848 w 4588100"/>
              <a:gd name="connsiteY202" fmla="*/ 592 h 758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</a:cxnLst>
            <a:rect l="l" t="t" r="r" b="b"/>
            <a:pathLst>
              <a:path w="4588100" h="758459">
                <a:moveTo>
                  <a:pt x="2999732" y="713398"/>
                </a:moveTo>
                <a:cubicBezTo>
                  <a:pt x="2988912" y="718217"/>
                  <a:pt x="2983429" y="722524"/>
                  <a:pt x="2977771" y="722890"/>
                </a:cubicBezTo>
                <a:cubicBezTo>
                  <a:pt x="2905908" y="727599"/>
                  <a:pt x="2834045" y="732162"/>
                  <a:pt x="2762152" y="735959"/>
                </a:cubicBezTo>
                <a:cubicBezTo>
                  <a:pt x="2689385" y="739791"/>
                  <a:pt x="2616618" y="744610"/>
                  <a:pt x="2543821" y="745633"/>
                </a:cubicBezTo>
                <a:cubicBezTo>
                  <a:pt x="2461575" y="746764"/>
                  <a:pt x="2379271" y="743479"/>
                  <a:pt x="2296996" y="743515"/>
                </a:cubicBezTo>
                <a:cubicBezTo>
                  <a:pt x="2247590" y="743552"/>
                  <a:pt x="2198125" y="745413"/>
                  <a:pt x="2148749" y="748079"/>
                </a:cubicBezTo>
                <a:cubicBezTo>
                  <a:pt x="2105497" y="750415"/>
                  <a:pt x="2062303" y="755197"/>
                  <a:pt x="2019080" y="758373"/>
                </a:cubicBezTo>
                <a:cubicBezTo>
                  <a:pt x="2011964" y="758920"/>
                  <a:pt x="2004760" y="756730"/>
                  <a:pt x="1997586" y="755817"/>
                </a:cubicBezTo>
                <a:cubicBezTo>
                  <a:pt x="1997411" y="751984"/>
                  <a:pt x="1997206" y="748115"/>
                  <a:pt x="1997031" y="744282"/>
                </a:cubicBezTo>
                <a:cubicBezTo>
                  <a:pt x="2004731" y="741799"/>
                  <a:pt x="2012372" y="737492"/>
                  <a:pt x="2020130" y="737127"/>
                </a:cubicBezTo>
                <a:cubicBezTo>
                  <a:pt x="2102376" y="733111"/>
                  <a:pt x="2184651" y="728438"/>
                  <a:pt x="2266926" y="726467"/>
                </a:cubicBezTo>
                <a:cubicBezTo>
                  <a:pt x="2358797" y="724277"/>
                  <a:pt x="2450697" y="725189"/>
                  <a:pt x="2542596" y="723693"/>
                </a:cubicBezTo>
                <a:cubicBezTo>
                  <a:pt x="2617113" y="722488"/>
                  <a:pt x="2691602" y="719604"/>
                  <a:pt x="2766090" y="717779"/>
                </a:cubicBezTo>
                <a:cubicBezTo>
                  <a:pt x="2796392" y="717012"/>
                  <a:pt x="2826753" y="717304"/>
                  <a:pt x="2857085" y="716720"/>
                </a:cubicBezTo>
                <a:cubicBezTo>
                  <a:pt x="2902554" y="715844"/>
                  <a:pt x="2948022" y="714603"/>
                  <a:pt x="2999732" y="713398"/>
                </a:cubicBezTo>
                <a:close/>
                <a:moveTo>
                  <a:pt x="3416328" y="693101"/>
                </a:moveTo>
                <a:cubicBezTo>
                  <a:pt x="3424845" y="693101"/>
                  <a:pt x="3433332" y="693101"/>
                  <a:pt x="3441789" y="693101"/>
                </a:cubicBezTo>
                <a:cubicBezTo>
                  <a:pt x="3441789" y="693503"/>
                  <a:pt x="3441819" y="693904"/>
                  <a:pt x="3441819" y="694306"/>
                </a:cubicBezTo>
                <a:cubicBezTo>
                  <a:pt x="3433390" y="694853"/>
                  <a:pt x="3424932" y="695438"/>
                  <a:pt x="3416504" y="695985"/>
                </a:cubicBezTo>
                <a:cubicBezTo>
                  <a:pt x="3416445" y="695036"/>
                  <a:pt x="3416387" y="694050"/>
                  <a:pt x="3416328" y="693101"/>
                </a:cubicBezTo>
                <a:close/>
                <a:moveTo>
                  <a:pt x="4276382" y="685836"/>
                </a:moveTo>
                <a:cubicBezTo>
                  <a:pt x="4284723" y="685836"/>
                  <a:pt x="4293035" y="685836"/>
                  <a:pt x="4301347" y="685836"/>
                </a:cubicBezTo>
                <a:cubicBezTo>
                  <a:pt x="4301377" y="686457"/>
                  <a:pt x="4301377" y="687041"/>
                  <a:pt x="4301377" y="687661"/>
                </a:cubicBezTo>
                <a:cubicBezTo>
                  <a:pt x="4293181" y="687661"/>
                  <a:pt x="4284957" y="687661"/>
                  <a:pt x="4276762" y="687661"/>
                </a:cubicBezTo>
                <a:cubicBezTo>
                  <a:pt x="4276645" y="687041"/>
                  <a:pt x="4276499" y="686457"/>
                  <a:pt x="4276382" y="685836"/>
                </a:cubicBezTo>
                <a:close/>
                <a:moveTo>
                  <a:pt x="3787310" y="679922"/>
                </a:moveTo>
                <a:cubicBezTo>
                  <a:pt x="3787427" y="680251"/>
                  <a:pt x="3787544" y="680579"/>
                  <a:pt x="3787660" y="680908"/>
                </a:cubicBezTo>
                <a:cubicBezTo>
                  <a:pt x="3783460" y="681163"/>
                  <a:pt x="3779231" y="681382"/>
                  <a:pt x="3775032" y="681638"/>
                </a:cubicBezTo>
                <a:cubicBezTo>
                  <a:pt x="3775002" y="681090"/>
                  <a:pt x="3775002" y="680506"/>
                  <a:pt x="3775002" y="679958"/>
                </a:cubicBezTo>
                <a:cubicBezTo>
                  <a:pt x="3779085" y="679958"/>
                  <a:pt x="3783198" y="679958"/>
                  <a:pt x="3787310" y="679922"/>
                </a:cubicBezTo>
                <a:close/>
                <a:moveTo>
                  <a:pt x="3654433" y="678754"/>
                </a:moveTo>
                <a:cubicBezTo>
                  <a:pt x="3678553" y="678754"/>
                  <a:pt x="3702673" y="678754"/>
                  <a:pt x="3726793" y="678754"/>
                </a:cubicBezTo>
                <a:cubicBezTo>
                  <a:pt x="3726559" y="679959"/>
                  <a:pt x="3726297" y="681200"/>
                  <a:pt x="3726034" y="682441"/>
                </a:cubicBezTo>
                <a:cubicBezTo>
                  <a:pt x="3702177" y="682441"/>
                  <a:pt x="3678320" y="682441"/>
                  <a:pt x="3654463" y="682441"/>
                </a:cubicBezTo>
                <a:cubicBezTo>
                  <a:pt x="3654433" y="681200"/>
                  <a:pt x="3654433" y="679959"/>
                  <a:pt x="3654433" y="678754"/>
                </a:cubicBezTo>
                <a:close/>
                <a:moveTo>
                  <a:pt x="4039772" y="672060"/>
                </a:moveTo>
                <a:cubicBezTo>
                  <a:pt x="4110396" y="670084"/>
                  <a:pt x="4180983" y="672384"/>
                  <a:pt x="4251476" y="686676"/>
                </a:cubicBezTo>
                <a:cubicBezTo>
                  <a:pt x="4251359" y="688829"/>
                  <a:pt x="4251242" y="690983"/>
                  <a:pt x="4251126" y="693137"/>
                </a:cubicBezTo>
                <a:cubicBezTo>
                  <a:pt x="4110024" y="689779"/>
                  <a:pt x="3968952" y="686457"/>
                  <a:pt x="3827850" y="683099"/>
                </a:cubicBezTo>
                <a:cubicBezTo>
                  <a:pt x="3898488" y="680288"/>
                  <a:pt x="3969149" y="674036"/>
                  <a:pt x="4039772" y="672060"/>
                </a:cubicBezTo>
                <a:close/>
                <a:moveTo>
                  <a:pt x="3036893" y="45960"/>
                </a:moveTo>
                <a:cubicBezTo>
                  <a:pt x="3016566" y="45147"/>
                  <a:pt x="2996503" y="54894"/>
                  <a:pt x="2975963" y="51006"/>
                </a:cubicBezTo>
                <a:cubicBezTo>
                  <a:pt x="2975933" y="53635"/>
                  <a:pt x="2975875" y="56226"/>
                  <a:pt x="2975846" y="58819"/>
                </a:cubicBezTo>
                <a:cubicBezTo>
                  <a:pt x="2990079" y="60023"/>
                  <a:pt x="3004340" y="61265"/>
                  <a:pt x="3018573" y="62469"/>
                </a:cubicBezTo>
                <a:cubicBezTo>
                  <a:pt x="3028752" y="42281"/>
                  <a:pt x="3043859" y="53416"/>
                  <a:pt x="3057334" y="51189"/>
                </a:cubicBezTo>
                <a:cubicBezTo>
                  <a:pt x="3050473" y="47675"/>
                  <a:pt x="3043668" y="46231"/>
                  <a:pt x="3036893" y="45960"/>
                </a:cubicBezTo>
                <a:close/>
                <a:moveTo>
                  <a:pt x="4186251" y="43062"/>
                </a:moveTo>
                <a:cubicBezTo>
                  <a:pt x="4182988" y="42701"/>
                  <a:pt x="4180356" y="43888"/>
                  <a:pt x="4176024" y="46297"/>
                </a:cubicBezTo>
                <a:cubicBezTo>
                  <a:pt x="4175150" y="46772"/>
                  <a:pt x="4175033" y="49327"/>
                  <a:pt x="4173925" y="53051"/>
                </a:cubicBezTo>
                <a:cubicBezTo>
                  <a:pt x="4181128" y="51955"/>
                  <a:pt x="4187516" y="51006"/>
                  <a:pt x="4200261" y="49108"/>
                </a:cubicBezTo>
                <a:cubicBezTo>
                  <a:pt x="4193407" y="45330"/>
                  <a:pt x="4189514" y="43422"/>
                  <a:pt x="4186251" y="43062"/>
                </a:cubicBezTo>
                <a:close/>
                <a:moveTo>
                  <a:pt x="3102832" y="37171"/>
                </a:moveTo>
                <a:cubicBezTo>
                  <a:pt x="3095569" y="39580"/>
                  <a:pt x="3088278" y="41989"/>
                  <a:pt x="3081016" y="44399"/>
                </a:cubicBezTo>
                <a:cubicBezTo>
                  <a:pt x="3081162" y="45969"/>
                  <a:pt x="3081337" y="47502"/>
                  <a:pt x="3081483" y="49072"/>
                </a:cubicBezTo>
                <a:cubicBezTo>
                  <a:pt x="3085420" y="49072"/>
                  <a:pt x="3089503" y="49911"/>
                  <a:pt x="3093236" y="48853"/>
                </a:cubicBezTo>
                <a:cubicBezTo>
                  <a:pt x="3097173" y="47721"/>
                  <a:pt x="3100761" y="44800"/>
                  <a:pt x="3104465" y="42647"/>
                </a:cubicBezTo>
                <a:cubicBezTo>
                  <a:pt x="3103940" y="40821"/>
                  <a:pt x="3103386" y="38996"/>
                  <a:pt x="3102832" y="37171"/>
                </a:cubicBezTo>
                <a:close/>
                <a:moveTo>
                  <a:pt x="3306492" y="33593"/>
                </a:moveTo>
                <a:cubicBezTo>
                  <a:pt x="3302555" y="34360"/>
                  <a:pt x="3298617" y="35090"/>
                  <a:pt x="3294680" y="35857"/>
                </a:cubicBezTo>
                <a:cubicBezTo>
                  <a:pt x="3294709" y="37536"/>
                  <a:pt x="3294768" y="39215"/>
                  <a:pt x="3294797" y="40894"/>
                </a:cubicBezTo>
                <a:cubicBezTo>
                  <a:pt x="3298239" y="41734"/>
                  <a:pt x="3301651" y="42610"/>
                  <a:pt x="3305092" y="43450"/>
                </a:cubicBezTo>
                <a:cubicBezTo>
                  <a:pt x="3305559" y="40164"/>
                  <a:pt x="3306026" y="36879"/>
                  <a:pt x="3306492" y="33593"/>
                </a:cubicBezTo>
                <a:close/>
                <a:moveTo>
                  <a:pt x="3595199" y="31440"/>
                </a:moveTo>
                <a:cubicBezTo>
                  <a:pt x="3593332" y="35200"/>
                  <a:pt x="3591932" y="37499"/>
                  <a:pt x="3591145" y="40091"/>
                </a:cubicBezTo>
                <a:cubicBezTo>
                  <a:pt x="3591028" y="40493"/>
                  <a:pt x="3593915" y="43413"/>
                  <a:pt x="3594907" y="43048"/>
                </a:cubicBezTo>
                <a:cubicBezTo>
                  <a:pt x="3596978" y="42281"/>
                  <a:pt x="3598728" y="40091"/>
                  <a:pt x="3600595" y="38521"/>
                </a:cubicBezTo>
                <a:cubicBezTo>
                  <a:pt x="3599078" y="36514"/>
                  <a:pt x="3597561" y="34543"/>
                  <a:pt x="3595199" y="31440"/>
                </a:cubicBezTo>
                <a:close/>
                <a:moveTo>
                  <a:pt x="3620339" y="26949"/>
                </a:moveTo>
                <a:cubicBezTo>
                  <a:pt x="3619931" y="28300"/>
                  <a:pt x="3619494" y="29687"/>
                  <a:pt x="3619085" y="31038"/>
                </a:cubicBezTo>
                <a:cubicBezTo>
                  <a:pt x="3623402" y="33155"/>
                  <a:pt x="3627689" y="35236"/>
                  <a:pt x="3632006" y="37353"/>
                </a:cubicBezTo>
                <a:cubicBezTo>
                  <a:pt x="3632413" y="36039"/>
                  <a:pt x="3632822" y="34725"/>
                  <a:pt x="3633230" y="33374"/>
                </a:cubicBezTo>
                <a:cubicBezTo>
                  <a:pt x="3628943" y="31221"/>
                  <a:pt x="3624627" y="29103"/>
                  <a:pt x="3620339" y="26949"/>
                </a:cubicBezTo>
                <a:close/>
                <a:moveTo>
                  <a:pt x="3256135" y="26939"/>
                </a:moveTo>
                <a:cubicBezTo>
                  <a:pt x="3234646" y="23835"/>
                  <a:pt x="3213784" y="36368"/>
                  <a:pt x="3191494" y="37463"/>
                </a:cubicBezTo>
                <a:cubicBezTo>
                  <a:pt x="3198756" y="51627"/>
                  <a:pt x="3207738" y="44180"/>
                  <a:pt x="3215409" y="45385"/>
                </a:cubicBezTo>
                <a:cubicBezTo>
                  <a:pt x="3223225" y="46626"/>
                  <a:pt x="3230779" y="50641"/>
                  <a:pt x="3238421" y="53452"/>
                </a:cubicBezTo>
                <a:cubicBezTo>
                  <a:pt x="3238741" y="49473"/>
                  <a:pt x="3239208" y="43888"/>
                  <a:pt x="3239995" y="33922"/>
                </a:cubicBezTo>
                <a:cubicBezTo>
                  <a:pt x="3253295" y="40274"/>
                  <a:pt x="3264524" y="45604"/>
                  <a:pt x="3275840" y="51006"/>
                </a:cubicBezTo>
                <a:cubicBezTo>
                  <a:pt x="3276685" y="45166"/>
                  <a:pt x="3277269" y="41004"/>
                  <a:pt x="3277910" y="36258"/>
                </a:cubicBezTo>
                <a:cubicBezTo>
                  <a:pt x="3270532" y="30746"/>
                  <a:pt x="3263299" y="27974"/>
                  <a:pt x="3256135" y="26939"/>
                </a:cubicBezTo>
                <a:close/>
                <a:moveTo>
                  <a:pt x="4516471" y="21291"/>
                </a:moveTo>
                <a:cubicBezTo>
                  <a:pt x="4522070" y="30600"/>
                  <a:pt x="4526707" y="42647"/>
                  <a:pt x="4538607" y="33812"/>
                </a:cubicBezTo>
                <a:cubicBezTo>
                  <a:pt x="4531228" y="29578"/>
                  <a:pt x="4523849" y="25452"/>
                  <a:pt x="4516471" y="21291"/>
                </a:cubicBezTo>
                <a:close/>
                <a:moveTo>
                  <a:pt x="4489551" y="21181"/>
                </a:moveTo>
                <a:cubicBezTo>
                  <a:pt x="4489697" y="22934"/>
                  <a:pt x="4489843" y="24649"/>
                  <a:pt x="4489988" y="26365"/>
                </a:cubicBezTo>
                <a:cubicBezTo>
                  <a:pt x="4498709" y="24649"/>
                  <a:pt x="4507400" y="22897"/>
                  <a:pt x="4516120" y="21181"/>
                </a:cubicBezTo>
                <a:cubicBezTo>
                  <a:pt x="4507254" y="21181"/>
                  <a:pt x="4498388" y="21181"/>
                  <a:pt x="4489551" y="21181"/>
                </a:cubicBezTo>
                <a:close/>
                <a:moveTo>
                  <a:pt x="3321804" y="21035"/>
                </a:moveTo>
                <a:cubicBezTo>
                  <a:pt x="3316117" y="28994"/>
                  <a:pt x="3310896" y="36295"/>
                  <a:pt x="3305675" y="43596"/>
                </a:cubicBezTo>
                <a:cubicBezTo>
                  <a:pt x="3305821" y="43632"/>
                  <a:pt x="3305996" y="43669"/>
                  <a:pt x="3306142" y="43705"/>
                </a:cubicBezTo>
                <a:cubicBezTo>
                  <a:pt x="3305384" y="45312"/>
                  <a:pt x="3304480" y="46881"/>
                  <a:pt x="3303955" y="48597"/>
                </a:cubicBezTo>
                <a:cubicBezTo>
                  <a:pt x="3303809" y="48999"/>
                  <a:pt x="3304830" y="50532"/>
                  <a:pt x="3305442" y="50678"/>
                </a:cubicBezTo>
                <a:cubicBezTo>
                  <a:pt x="3327579" y="56482"/>
                  <a:pt x="3348694" y="48889"/>
                  <a:pt x="3369898" y="42720"/>
                </a:cubicBezTo>
                <a:cubicBezTo>
                  <a:pt x="3370568" y="42537"/>
                  <a:pt x="3370714" y="39361"/>
                  <a:pt x="3371122" y="37682"/>
                </a:cubicBezTo>
                <a:cubicBezTo>
                  <a:pt x="3355373" y="32024"/>
                  <a:pt x="3335307" y="50532"/>
                  <a:pt x="3321804" y="21035"/>
                </a:cubicBezTo>
                <a:close/>
                <a:moveTo>
                  <a:pt x="3413033" y="20013"/>
                </a:moveTo>
                <a:cubicBezTo>
                  <a:pt x="3412304" y="22386"/>
                  <a:pt x="3411545" y="24795"/>
                  <a:pt x="3410816" y="27168"/>
                </a:cubicBezTo>
                <a:cubicBezTo>
                  <a:pt x="3415395" y="28117"/>
                  <a:pt x="3419945" y="29030"/>
                  <a:pt x="3424495" y="29979"/>
                </a:cubicBezTo>
                <a:cubicBezTo>
                  <a:pt x="3424699" y="28957"/>
                  <a:pt x="3424874" y="27935"/>
                  <a:pt x="3425049" y="26876"/>
                </a:cubicBezTo>
                <a:cubicBezTo>
                  <a:pt x="3421053" y="24576"/>
                  <a:pt x="3417028" y="22313"/>
                  <a:pt x="3413033" y="20013"/>
                </a:cubicBezTo>
                <a:close/>
                <a:moveTo>
                  <a:pt x="4443353" y="19758"/>
                </a:moveTo>
                <a:cubicBezTo>
                  <a:pt x="4442828" y="21729"/>
                  <a:pt x="4442303" y="23700"/>
                  <a:pt x="4441778" y="25671"/>
                </a:cubicBezTo>
                <a:cubicBezTo>
                  <a:pt x="4445628" y="26986"/>
                  <a:pt x="4449507" y="28300"/>
                  <a:pt x="4453357" y="29614"/>
                </a:cubicBezTo>
                <a:cubicBezTo>
                  <a:pt x="4453649" y="28409"/>
                  <a:pt x="4453940" y="27168"/>
                  <a:pt x="4454203" y="25927"/>
                </a:cubicBezTo>
                <a:cubicBezTo>
                  <a:pt x="4450586" y="23883"/>
                  <a:pt x="4446970" y="21802"/>
                  <a:pt x="4443353" y="19758"/>
                </a:cubicBezTo>
                <a:close/>
                <a:moveTo>
                  <a:pt x="3942848" y="592"/>
                </a:moveTo>
                <a:cubicBezTo>
                  <a:pt x="3990446" y="994"/>
                  <a:pt x="4038044" y="5667"/>
                  <a:pt x="4085671" y="6251"/>
                </a:cubicBezTo>
                <a:cubicBezTo>
                  <a:pt x="4145255" y="7017"/>
                  <a:pt x="4204898" y="4791"/>
                  <a:pt x="4264483" y="5265"/>
                </a:cubicBezTo>
                <a:cubicBezTo>
                  <a:pt x="4352708" y="5995"/>
                  <a:pt x="4440962" y="7455"/>
                  <a:pt x="4529158" y="10011"/>
                </a:cubicBezTo>
                <a:cubicBezTo>
                  <a:pt x="4542369" y="10376"/>
                  <a:pt x="4555406" y="18298"/>
                  <a:pt x="4568443" y="22715"/>
                </a:cubicBezTo>
                <a:cubicBezTo>
                  <a:pt x="4557827" y="22350"/>
                  <a:pt x="4543944" y="9281"/>
                  <a:pt x="4539657" y="33265"/>
                </a:cubicBezTo>
                <a:cubicBezTo>
                  <a:pt x="4549223" y="29760"/>
                  <a:pt x="4558818" y="26255"/>
                  <a:pt x="4568385" y="22751"/>
                </a:cubicBezTo>
                <a:cubicBezTo>
                  <a:pt x="4582180" y="33703"/>
                  <a:pt x="4582180" y="33703"/>
                  <a:pt x="4571564" y="52101"/>
                </a:cubicBezTo>
                <a:cubicBezTo>
                  <a:pt x="4577484" y="60425"/>
                  <a:pt x="4587954" y="68821"/>
                  <a:pt x="4587517" y="76195"/>
                </a:cubicBezTo>
                <a:cubicBezTo>
                  <a:pt x="4586992" y="84993"/>
                  <a:pt x="4577105" y="92915"/>
                  <a:pt x="4570193" y="102771"/>
                </a:cubicBezTo>
                <a:cubicBezTo>
                  <a:pt x="4584134" y="115840"/>
                  <a:pt x="4586351" y="133071"/>
                  <a:pt x="4581976" y="156835"/>
                </a:cubicBezTo>
                <a:cubicBezTo>
                  <a:pt x="4578709" y="174723"/>
                  <a:pt x="4585563" y="195495"/>
                  <a:pt x="4588100" y="216522"/>
                </a:cubicBezTo>
                <a:cubicBezTo>
                  <a:pt x="4556310" y="247077"/>
                  <a:pt x="4559081" y="254670"/>
                  <a:pt x="4582326" y="282670"/>
                </a:cubicBezTo>
                <a:cubicBezTo>
                  <a:pt x="4584659" y="305887"/>
                  <a:pt x="4569639" y="315525"/>
                  <a:pt x="4559110" y="327061"/>
                </a:cubicBezTo>
                <a:cubicBezTo>
                  <a:pt x="4559664" y="342940"/>
                  <a:pt x="4577951" y="338815"/>
                  <a:pt x="4576434" y="356849"/>
                </a:cubicBezTo>
                <a:cubicBezTo>
                  <a:pt x="4575443" y="368567"/>
                  <a:pt x="4579613" y="380979"/>
                  <a:pt x="4581713" y="394595"/>
                </a:cubicBezTo>
                <a:cubicBezTo>
                  <a:pt x="4575676" y="407737"/>
                  <a:pt x="4568676" y="422997"/>
                  <a:pt x="4561648" y="438292"/>
                </a:cubicBezTo>
                <a:cubicBezTo>
                  <a:pt x="4562814" y="439424"/>
                  <a:pt x="4563981" y="440593"/>
                  <a:pt x="4565147" y="441724"/>
                </a:cubicBezTo>
                <a:cubicBezTo>
                  <a:pt x="4555931" y="447017"/>
                  <a:pt x="4546686" y="452311"/>
                  <a:pt x="4535778" y="458590"/>
                </a:cubicBezTo>
                <a:cubicBezTo>
                  <a:pt x="4543856" y="470819"/>
                  <a:pt x="4550769" y="481296"/>
                  <a:pt x="4557681" y="491773"/>
                </a:cubicBezTo>
                <a:cubicBezTo>
                  <a:pt x="4546336" y="503564"/>
                  <a:pt x="4535545" y="513348"/>
                  <a:pt x="4542165" y="536492"/>
                </a:cubicBezTo>
                <a:cubicBezTo>
                  <a:pt x="4545607" y="548576"/>
                  <a:pt x="4538374" y="562557"/>
                  <a:pt x="4527641" y="569347"/>
                </a:cubicBezTo>
                <a:cubicBezTo>
                  <a:pt x="4523091" y="572195"/>
                  <a:pt x="4518016" y="573728"/>
                  <a:pt x="4513554" y="575699"/>
                </a:cubicBezTo>
                <a:cubicBezTo>
                  <a:pt x="4512446" y="608627"/>
                  <a:pt x="4487859" y="638196"/>
                  <a:pt x="4462806" y="645680"/>
                </a:cubicBezTo>
                <a:cubicBezTo>
                  <a:pt x="4387443" y="668167"/>
                  <a:pt x="4311001" y="657216"/>
                  <a:pt x="4235143" y="658566"/>
                </a:cubicBezTo>
                <a:cubicBezTo>
                  <a:pt x="4122448" y="660574"/>
                  <a:pt x="4009666" y="656850"/>
                  <a:pt x="3896913" y="655390"/>
                </a:cubicBezTo>
                <a:cubicBezTo>
                  <a:pt x="3829250" y="654514"/>
                  <a:pt x="3761586" y="652579"/>
                  <a:pt x="3693923" y="652470"/>
                </a:cubicBezTo>
                <a:cubicBezTo>
                  <a:pt x="3658371" y="652397"/>
                  <a:pt x="3622818" y="656339"/>
                  <a:pt x="3587266" y="656412"/>
                </a:cubicBezTo>
                <a:cubicBezTo>
                  <a:pt x="3562330" y="656485"/>
                  <a:pt x="3537422" y="652360"/>
                  <a:pt x="3512457" y="651521"/>
                </a:cubicBezTo>
                <a:cubicBezTo>
                  <a:pt x="3491896" y="650827"/>
                  <a:pt x="3471247" y="651740"/>
                  <a:pt x="3450685" y="652835"/>
                </a:cubicBezTo>
                <a:cubicBezTo>
                  <a:pt x="3429161" y="653967"/>
                  <a:pt x="3407667" y="656595"/>
                  <a:pt x="3386143" y="657763"/>
                </a:cubicBezTo>
                <a:cubicBezTo>
                  <a:pt x="3336037" y="660538"/>
                  <a:pt x="3285902" y="662327"/>
                  <a:pt x="3235825" y="665393"/>
                </a:cubicBezTo>
                <a:cubicBezTo>
                  <a:pt x="3166762" y="669627"/>
                  <a:pt x="3097669" y="674154"/>
                  <a:pt x="3028664" y="679740"/>
                </a:cubicBezTo>
                <a:cubicBezTo>
                  <a:pt x="3011661" y="681090"/>
                  <a:pt x="2995037" y="689304"/>
                  <a:pt x="2978063" y="690691"/>
                </a:cubicBezTo>
                <a:cubicBezTo>
                  <a:pt x="2925273" y="694999"/>
                  <a:pt x="2872368" y="697554"/>
                  <a:pt x="2819520" y="700694"/>
                </a:cubicBezTo>
                <a:cubicBezTo>
                  <a:pt x="2780556" y="702994"/>
                  <a:pt x="2741591" y="706571"/>
                  <a:pt x="2702597" y="707009"/>
                </a:cubicBezTo>
                <a:cubicBezTo>
                  <a:pt x="2659491" y="707484"/>
                  <a:pt x="2616355" y="704198"/>
                  <a:pt x="2573249" y="704308"/>
                </a:cubicBezTo>
                <a:cubicBezTo>
                  <a:pt x="2550092" y="704381"/>
                  <a:pt x="2526935" y="708141"/>
                  <a:pt x="2503778" y="710185"/>
                </a:cubicBezTo>
                <a:cubicBezTo>
                  <a:pt x="2501211" y="710441"/>
                  <a:pt x="2498411" y="711244"/>
                  <a:pt x="2496019" y="710368"/>
                </a:cubicBezTo>
                <a:cubicBezTo>
                  <a:pt x="2457026" y="696167"/>
                  <a:pt x="2417127" y="706462"/>
                  <a:pt x="2377930" y="706206"/>
                </a:cubicBezTo>
                <a:cubicBezTo>
                  <a:pt x="2334269" y="705951"/>
                  <a:pt x="2290113" y="703979"/>
                  <a:pt x="2246278" y="714821"/>
                </a:cubicBezTo>
                <a:cubicBezTo>
                  <a:pt x="2222041" y="720845"/>
                  <a:pt x="2195792" y="719312"/>
                  <a:pt x="2171031" y="715442"/>
                </a:cubicBezTo>
                <a:cubicBezTo>
                  <a:pt x="2125825" y="708433"/>
                  <a:pt x="2081202" y="716793"/>
                  <a:pt x="2036492" y="719421"/>
                </a:cubicBezTo>
                <a:cubicBezTo>
                  <a:pt x="1977870" y="722853"/>
                  <a:pt x="1919481" y="727416"/>
                  <a:pt x="1860655" y="723802"/>
                </a:cubicBezTo>
                <a:cubicBezTo>
                  <a:pt x="1826240" y="721685"/>
                  <a:pt x="1791592" y="726284"/>
                  <a:pt x="1757031" y="727744"/>
                </a:cubicBezTo>
                <a:cubicBezTo>
                  <a:pt x="1723287" y="729131"/>
                  <a:pt x="1689543" y="730555"/>
                  <a:pt x="1655769" y="731650"/>
                </a:cubicBezTo>
                <a:cubicBezTo>
                  <a:pt x="1635062" y="732344"/>
                  <a:pt x="1614209" y="730957"/>
                  <a:pt x="1593618" y="733147"/>
                </a:cubicBezTo>
                <a:cubicBezTo>
                  <a:pt x="1576731" y="734973"/>
                  <a:pt x="1561040" y="732709"/>
                  <a:pt x="1545349" y="725152"/>
                </a:cubicBezTo>
                <a:cubicBezTo>
                  <a:pt x="1538408" y="721794"/>
                  <a:pt x="1530388" y="718435"/>
                  <a:pt x="1523359" y="719640"/>
                </a:cubicBezTo>
                <a:cubicBezTo>
                  <a:pt x="1488273" y="725773"/>
                  <a:pt x="1455812" y="707082"/>
                  <a:pt x="1421660" y="703797"/>
                </a:cubicBezTo>
                <a:cubicBezTo>
                  <a:pt x="1401623" y="701862"/>
                  <a:pt x="1382491" y="687953"/>
                  <a:pt x="1362483" y="681930"/>
                </a:cubicBezTo>
                <a:cubicBezTo>
                  <a:pt x="1348455" y="677695"/>
                  <a:pt x="1333639" y="676199"/>
                  <a:pt x="1319144" y="676053"/>
                </a:cubicBezTo>
                <a:cubicBezTo>
                  <a:pt x="1288783" y="675761"/>
                  <a:pt x="1258393" y="676345"/>
                  <a:pt x="1228061" y="678061"/>
                </a:cubicBezTo>
                <a:cubicBezTo>
                  <a:pt x="1156168" y="682149"/>
                  <a:pt x="1084335" y="687114"/>
                  <a:pt x="1012501" y="691750"/>
                </a:cubicBezTo>
                <a:cubicBezTo>
                  <a:pt x="1006463" y="692115"/>
                  <a:pt x="999522" y="695473"/>
                  <a:pt x="994564" y="692809"/>
                </a:cubicBezTo>
                <a:cubicBezTo>
                  <a:pt x="968607" y="678900"/>
                  <a:pt x="943583" y="689961"/>
                  <a:pt x="918297" y="695145"/>
                </a:cubicBezTo>
                <a:cubicBezTo>
                  <a:pt x="915730" y="695656"/>
                  <a:pt x="913018" y="697153"/>
                  <a:pt x="910626" y="696605"/>
                </a:cubicBezTo>
                <a:cubicBezTo>
                  <a:pt x="866383" y="686237"/>
                  <a:pt x="820681" y="704344"/>
                  <a:pt x="776787" y="685982"/>
                </a:cubicBezTo>
                <a:cubicBezTo>
                  <a:pt x="772908" y="684339"/>
                  <a:pt x="767221" y="682879"/>
                  <a:pt x="764304" y="685179"/>
                </a:cubicBezTo>
                <a:cubicBezTo>
                  <a:pt x="750422" y="696021"/>
                  <a:pt x="735664" y="690363"/>
                  <a:pt x="721140" y="691130"/>
                </a:cubicBezTo>
                <a:cubicBezTo>
                  <a:pt x="691945" y="692699"/>
                  <a:pt x="662780" y="695984"/>
                  <a:pt x="633615" y="698248"/>
                </a:cubicBezTo>
                <a:cubicBezTo>
                  <a:pt x="614074" y="699781"/>
                  <a:pt x="596779" y="693867"/>
                  <a:pt x="579572" y="680360"/>
                </a:cubicBezTo>
                <a:cubicBezTo>
                  <a:pt x="551777" y="658530"/>
                  <a:pt x="521008" y="646629"/>
                  <a:pt x="487322" y="644913"/>
                </a:cubicBezTo>
                <a:cubicBezTo>
                  <a:pt x="459061" y="643490"/>
                  <a:pt x="431033" y="634583"/>
                  <a:pt x="402772" y="632940"/>
                </a:cubicBezTo>
                <a:cubicBezTo>
                  <a:pt x="377077" y="631479"/>
                  <a:pt x="351179" y="635349"/>
                  <a:pt x="325368" y="636846"/>
                </a:cubicBezTo>
                <a:cubicBezTo>
                  <a:pt x="317610" y="637284"/>
                  <a:pt x="309181" y="640314"/>
                  <a:pt x="302240" y="637539"/>
                </a:cubicBezTo>
                <a:cubicBezTo>
                  <a:pt x="272987" y="625857"/>
                  <a:pt x="242188" y="631589"/>
                  <a:pt x="212877" y="623631"/>
                </a:cubicBezTo>
                <a:cubicBezTo>
                  <a:pt x="195553" y="618922"/>
                  <a:pt x="178725" y="610343"/>
                  <a:pt x="162217" y="601874"/>
                </a:cubicBezTo>
                <a:cubicBezTo>
                  <a:pt x="135239" y="588075"/>
                  <a:pt x="113336" y="564346"/>
                  <a:pt x="90121" y="542954"/>
                </a:cubicBezTo>
                <a:cubicBezTo>
                  <a:pt x="70172" y="524591"/>
                  <a:pt x="47190" y="511340"/>
                  <a:pt x="27474" y="492649"/>
                </a:cubicBezTo>
                <a:cubicBezTo>
                  <a:pt x="17033" y="482720"/>
                  <a:pt x="10675" y="466037"/>
                  <a:pt x="0" y="448295"/>
                </a:cubicBezTo>
                <a:cubicBezTo>
                  <a:pt x="9800" y="442783"/>
                  <a:pt x="16099" y="437161"/>
                  <a:pt x="22924" y="435773"/>
                </a:cubicBezTo>
                <a:cubicBezTo>
                  <a:pt x="44623" y="431357"/>
                  <a:pt x="64689" y="423289"/>
                  <a:pt x="79680" y="401933"/>
                </a:cubicBezTo>
                <a:cubicBezTo>
                  <a:pt x="84638" y="394851"/>
                  <a:pt x="90587" y="387550"/>
                  <a:pt x="92745" y="379008"/>
                </a:cubicBezTo>
                <a:cubicBezTo>
                  <a:pt x="97150" y="361412"/>
                  <a:pt x="105928" y="354549"/>
                  <a:pt x="119811" y="355279"/>
                </a:cubicBezTo>
                <a:cubicBezTo>
                  <a:pt x="122407" y="355425"/>
                  <a:pt x="125032" y="355498"/>
                  <a:pt x="127627" y="355425"/>
                </a:cubicBezTo>
                <a:cubicBezTo>
                  <a:pt x="150259" y="354805"/>
                  <a:pt x="153759" y="351738"/>
                  <a:pt x="161897" y="325272"/>
                </a:cubicBezTo>
                <a:cubicBezTo>
                  <a:pt x="163442" y="320270"/>
                  <a:pt x="164725" y="315123"/>
                  <a:pt x="165280" y="313079"/>
                </a:cubicBezTo>
                <a:cubicBezTo>
                  <a:pt x="215065" y="276026"/>
                  <a:pt x="269370" y="267630"/>
                  <a:pt x="322597" y="254634"/>
                </a:cubicBezTo>
                <a:cubicBezTo>
                  <a:pt x="334117" y="251823"/>
                  <a:pt x="342779" y="247953"/>
                  <a:pt x="340038" y="227510"/>
                </a:cubicBezTo>
                <a:cubicBezTo>
                  <a:pt x="350887" y="245580"/>
                  <a:pt x="361999" y="245945"/>
                  <a:pt x="377865" y="242149"/>
                </a:cubicBezTo>
                <a:cubicBezTo>
                  <a:pt x="459469" y="222655"/>
                  <a:pt x="541482" y="205862"/>
                  <a:pt x="623436" y="188705"/>
                </a:cubicBezTo>
                <a:cubicBezTo>
                  <a:pt x="659310" y="181185"/>
                  <a:pt x="695300" y="173993"/>
                  <a:pt x="731406" y="168517"/>
                </a:cubicBezTo>
                <a:cubicBezTo>
                  <a:pt x="792303" y="159281"/>
                  <a:pt x="853287" y="150484"/>
                  <a:pt x="914360" y="143328"/>
                </a:cubicBezTo>
                <a:cubicBezTo>
                  <a:pt x="1035220" y="129201"/>
                  <a:pt x="1156373" y="123068"/>
                  <a:pt x="1277759" y="120038"/>
                </a:cubicBezTo>
                <a:cubicBezTo>
                  <a:pt x="1386778" y="117337"/>
                  <a:pt x="1495739" y="111021"/>
                  <a:pt x="1604642" y="104268"/>
                </a:cubicBezTo>
                <a:cubicBezTo>
                  <a:pt x="1701588" y="98244"/>
                  <a:pt x="1798416" y="89009"/>
                  <a:pt x="1895332" y="82109"/>
                </a:cubicBezTo>
                <a:cubicBezTo>
                  <a:pt x="1964512" y="77181"/>
                  <a:pt x="2033750" y="73859"/>
                  <a:pt x="2102960" y="69770"/>
                </a:cubicBezTo>
                <a:cubicBezTo>
                  <a:pt x="2169369" y="65864"/>
                  <a:pt x="2235749" y="60206"/>
                  <a:pt x="2302216" y="58453"/>
                </a:cubicBezTo>
                <a:cubicBezTo>
                  <a:pt x="2381021" y="56372"/>
                  <a:pt x="2459855" y="58526"/>
                  <a:pt x="2538659" y="57212"/>
                </a:cubicBezTo>
                <a:cubicBezTo>
                  <a:pt x="2592265" y="56336"/>
                  <a:pt x="2645841" y="52393"/>
                  <a:pt x="2699447" y="50167"/>
                </a:cubicBezTo>
                <a:cubicBezTo>
                  <a:pt x="2784172" y="46699"/>
                  <a:pt x="2868926" y="44107"/>
                  <a:pt x="2953651" y="39945"/>
                </a:cubicBezTo>
                <a:cubicBezTo>
                  <a:pt x="3001191" y="37609"/>
                  <a:pt x="3048642" y="32462"/>
                  <a:pt x="3096182" y="29286"/>
                </a:cubicBezTo>
                <a:cubicBezTo>
                  <a:pt x="3146375" y="25963"/>
                  <a:pt x="3196568" y="23262"/>
                  <a:pt x="3246791" y="20670"/>
                </a:cubicBezTo>
                <a:cubicBezTo>
                  <a:pt x="3293543" y="18261"/>
                  <a:pt x="3340324" y="16545"/>
                  <a:pt x="3387075" y="14245"/>
                </a:cubicBezTo>
                <a:cubicBezTo>
                  <a:pt x="3433740" y="11945"/>
                  <a:pt x="3480375" y="9500"/>
                  <a:pt x="3527040" y="6835"/>
                </a:cubicBezTo>
                <a:cubicBezTo>
                  <a:pt x="3560755" y="4900"/>
                  <a:pt x="3594441" y="957"/>
                  <a:pt x="3628155" y="702"/>
                </a:cubicBezTo>
                <a:cubicBezTo>
                  <a:pt x="3733034" y="-138"/>
                  <a:pt x="3837941" y="-284"/>
                  <a:pt x="3942848" y="592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77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onvers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>
                <a:solidFill>
                  <a:schemeClr val="bg1"/>
                </a:solidFill>
              </a:rPr>
              <a:t>Drive to site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065ECF79-A501-86B7-B9E6-93F3EFFD0BB7}"/>
              </a:ext>
            </a:extLst>
          </p:cNvPr>
          <p:cNvSpPr txBox="1"/>
          <p:nvPr/>
        </p:nvSpPr>
        <p:spPr>
          <a:xfrm>
            <a:off x="10049873" y="1385445"/>
            <a:ext cx="1020241" cy="338554"/>
          </a:xfrm>
          <a:prstGeom prst="rect">
            <a:avLst/>
          </a:prstGeom>
          <a:solidFill>
            <a:srgbClr val="BFBFBF"/>
          </a:solidFill>
        </p:spPr>
        <p:txBody>
          <a:bodyPr wrap="square" rtlCol="0">
            <a:spAutoFit/>
          </a:bodyPr>
          <a:lstStyle/>
          <a:p>
            <a:endParaRPr lang="en-US" sz="1600"/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7B721F5C-DF34-8EFB-225D-3EF84FA9EF1F}"/>
              </a:ext>
            </a:extLst>
          </p:cNvPr>
          <p:cNvSpPr txBox="1">
            <a:spLocks/>
          </p:cNvSpPr>
          <p:nvPr/>
        </p:nvSpPr>
        <p:spPr>
          <a:xfrm>
            <a:off x="10028373" y="1390496"/>
            <a:ext cx="1074652" cy="2068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+mn-ea"/>
                <a:cs typeface="+mn-cs"/>
              </a:rPr>
              <a:t>Video Length</a:t>
            </a:r>
          </a:p>
        </p:txBody>
      </p:sp>
      <p:pic>
        <p:nvPicPr>
          <p:cNvPr id="30" name="Picture 2" descr="Meta Logo | significado del logotipo, png, vector">
            <a:extLst>
              <a:ext uri="{FF2B5EF4-FFF2-40B4-BE49-F238E27FC236}">
                <a16:creationId xmlns:a16="http://schemas.microsoft.com/office/drawing/2014/main" id="{A1D2E726-1C8C-6067-9DB1-5333056364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1083" y="2375912"/>
            <a:ext cx="567421" cy="278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Outstream video advertising for publishers | Monetise every page view">
            <a:extLst>
              <a:ext uri="{FF2B5EF4-FFF2-40B4-BE49-F238E27FC236}">
                <a16:creationId xmlns:a16="http://schemas.microsoft.com/office/drawing/2014/main" id="{D270489C-4D90-B873-01D1-6AAC9B7E96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451" b="89296" l="2703" r="97089">
                        <a14:foregroundMark x1="34096" y1="9014" x2="34096" y2="9014"/>
                        <a14:foregroundMark x1="11019" y1="82535" x2="11019" y2="82535"/>
                        <a14:foregroundMark x1="18503" y1="84507" x2="18503" y2="84507"/>
                        <a14:foregroundMark x1="9356" y1="84507" x2="9356" y2="84507"/>
                        <a14:foregroundMark x1="2703" y1="84507" x2="2703" y2="84507"/>
                        <a14:foregroundMark x1="2911" y1="89577" x2="56965" y2="88732"/>
                        <a14:foregroundMark x1="56965" y1="88732" x2="90852" y2="89296"/>
                        <a14:foregroundMark x1="90852" y1="89296" x2="97089" y2="87887"/>
                        <a14:foregroundMark x1="2911" y1="84507" x2="92516" y2="82535"/>
                        <a14:foregroundMark x1="92516" y1="82535" x2="94179" y2="82817"/>
                        <a14:foregroundMark x1="3534" y1="83662" x2="90437" y2="8873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0110" y="2159351"/>
            <a:ext cx="443400" cy="250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CuadroTexto 31">
            <a:extLst>
              <a:ext uri="{FF2B5EF4-FFF2-40B4-BE49-F238E27FC236}">
                <a16:creationId xmlns:a16="http://schemas.microsoft.com/office/drawing/2014/main" id="{6278EA89-0FAD-49D6-B0FC-567CDE2FF102}"/>
              </a:ext>
            </a:extLst>
          </p:cNvPr>
          <p:cNvSpPr txBox="1"/>
          <p:nvPr/>
        </p:nvSpPr>
        <p:spPr>
          <a:xfrm>
            <a:off x="9093734" y="1392272"/>
            <a:ext cx="912223" cy="338554"/>
          </a:xfrm>
          <a:prstGeom prst="rect">
            <a:avLst/>
          </a:prstGeom>
          <a:solidFill>
            <a:srgbClr val="BFBFBF"/>
          </a:solidFill>
        </p:spPr>
        <p:txBody>
          <a:bodyPr wrap="square" rtlCol="0">
            <a:spAutoFit/>
          </a:bodyPr>
          <a:lstStyle/>
          <a:p>
            <a:endParaRPr lang="en-US" sz="1600"/>
          </a:p>
        </p:txBody>
      </p:sp>
      <p:pic>
        <p:nvPicPr>
          <p:cNvPr id="33" name="Picture 4" descr="See the source image">
            <a:extLst>
              <a:ext uri="{FF2B5EF4-FFF2-40B4-BE49-F238E27FC236}">
                <a16:creationId xmlns:a16="http://schemas.microsoft.com/office/drawing/2014/main" id="{78BBC11C-B641-4784-5078-3063B0824A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3" t="27577" r="1555" b="30764"/>
          <a:stretch/>
        </p:blipFill>
        <p:spPr bwMode="auto">
          <a:xfrm>
            <a:off x="9349935" y="2591933"/>
            <a:ext cx="434369" cy="202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1013614-94EE-F16C-0E4B-5CF0C8BD0086}"/>
              </a:ext>
            </a:extLst>
          </p:cNvPr>
          <p:cNvSpPr txBox="1">
            <a:spLocks/>
          </p:cNvSpPr>
          <p:nvPr/>
        </p:nvSpPr>
        <p:spPr>
          <a:xfrm>
            <a:off x="9005059" y="1507452"/>
            <a:ext cx="1155998" cy="1275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  <a:ea typeface="+mn-ea"/>
                <a:cs typeface="+mn-cs"/>
              </a:rPr>
              <a:t>Platform</a:t>
            </a:r>
          </a:p>
        </p:txBody>
      </p:sp>
      <p:pic>
        <p:nvPicPr>
          <p:cNvPr id="35" name="Picture 29">
            <a:extLst>
              <a:ext uri="{FF2B5EF4-FFF2-40B4-BE49-F238E27FC236}">
                <a16:creationId xmlns:a16="http://schemas.microsoft.com/office/drawing/2014/main" id="{865A2A9C-A04D-5AEE-26D9-736477745FA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1585" t="4918" b="75839"/>
          <a:stretch/>
        </p:blipFill>
        <p:spPr>
          <a:xfrm>
            <a:off x="2644566" y="1094223"/>
            <a:ext cx="6419305" cy="836764"/>
          </a:xfrm>
          <a:prstGeom prst="rect">
            <a:avLst/>
          </a:prstGeom>
        </p:spPr>
      </p:pic>
      <p:grpSp>
        <p:nvGrpSpPr>
          <p:cNvPr id="36" name="Grupo 35">
            <a:extLst>
              <a:ext uri="{FF2B5EF4-FFF2-40B4-BE49-F238E27FC236}">
                <a16:creationId xmlns:a16="http://schemas.microsoft.com/office/drawing/2014/main" id="{1AD4E2B6-3886-3F41-616E-4E7931F4327B}"/>
              </a:ext>
            </a:extLst>
          </p:cNvPr>
          <p:cNvGrpSpPr/>
          <p:nvPr/>
        </p:nvGrpSpPr>
        <p:grpSpPr>
          <a:xfrm>
            <a:off x="182197" y="1955428"/>
            <a:ext cx="1936995" cy="325931"/>
            <a:chOff x="699453" y="971205"/>
            <a:chExt cx="5140392" cy="408326"/>
          </a:xfrm>
          <a:solidFill>
            <a:schemeClr val="accent1"/>
          </a:solidFill>
        </p:grpSpPr>
        <p:sp>
          <p:nvSpPr>
            <p:cNvPr id="37" name="Rectangle: Rounded Corners 100">
              <a:extLst>
                <a:ext uri="{FF2B5EF4-FFF2-40B4-BE49-F238E27FC236}">
                  <a16:creationId xmlns:a16="http://schemas.microsoft.com/office/drawing/2014/main" id="{DA30B3CB-6357-BA03-BB81-92A72EADE37A}"/>
                </a:ext>
              </a:extLst>
            </p:cNvPr>
            <p:cNvSpPr/>
            <p:nvPr/>
          </p:nvSpPr>
          <p:spPr>
            <a:xfrm>
              <a:off x="699453" y="1011049"/>
              <a:ext cx="5140392" cy="360000"/>
            </a:xfrm>
            <a:prstGeom prst="roundRect">
              <a:avLst>
                <a:gd name="adj" fmla="val 50000"/>
              </a:avLst>
            </a:prstGeom>
            <a:grpFill/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0" lang="pt-PT" sz="1100" b="1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Demand</a:t>
              </a:r>
              <a:r>
                <a:rPr kumimoji="0" lang="pt-PT" sz="11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pt-PT" sz="1100" b="1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Creation</a:t>
              </a:r>
              <a:endParaRPr kumimoji="0" lang="pt-PT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pic>
          <p:nvPicPr>
            <p:cNvPr id="38" name="Graphic 12" descr="Brainstorm outline">
              <a:extLst>
                <a:ext uri="{FF2B5EF4-FFF2-40B4-BE49-F238E27FC236}">
                  <a16:creationId xmlns:a16="http://schemas.microsoft.com/office/drawing/2014/main" id="{C34848F1-FD81-E99B-A5D7-0896B9362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43464" y="971205"/>
              <a:ext cx="607099" cy="408326"/>
            </a:xfrm>
            <a:prstGeom prst="rect">
              <a:avLst/>
            </a:prstGeom>
          </p:spPr>
        </p:pic>
      </p:grpSp>
      <p:sp>
        <p:nvSpPr>
          <p:cNvPr id="39" name="Rectangle: Rounded Corners 100">
            <a:extLst>
              <a:ext uri="{FF2B5EF4-FFF2-40B4-BE49-F238E27FC236}">
                <a16:creationId xmlns:a16="http://schemas.microsoft.com/office/drawing/2014/main" id="{B61039E7-F0EF-B37A-BCED-D343CDDEB545}"/>
              </a:ext>
            </a:extLst>
          </p:cNvPr>
          <p:cNvSpPr/>
          <p:nvPr/>
        </p:nvSpPr>
        <p:spPr>
          <a:xfrm>
            <a:off x="145461" y="4400567"/>
            <a:ext cx="1936995" cy="28735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pt-PT" sz="1100" b="1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Demand</a:t>
            </a:r>
            <a:r>
              <a:rPr kumimoji="0" lang="pt-PT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pt-PT" sz="1100" b="1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Conversion</a:t>
            </a:r>
            <a:endParaRPr kumimoji="0" lang="pt-PT" sz="11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40" name="Graphic 13" descr="Philanthropy outline">
            <a:extLst>
              <a:ext uri="{FF2B5EF4-FFF2-40B4-BE49-F238E27FC236}">
                <a16:creationId xmlns:a16="http://schemas.microsoft.com/office/drawing/2014/main" id="{40A7B625-98E7-F284-CE34-AD0328308BA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49205" y="4455545"/>
            <a:ext cx="201158" cy="261610"/>
          </a:xfrm>
          <a:prstGeom prst="rect">
            <a:avLst/>
          </a:prstGeom>
        </p:spPr>
      </p:pic>
      <p:graphicFrame>
        <p:nvGraphicFramePr>
          <p:cNvPr id="41" name="Table 5">
            <a:extLst>
              <a:ext uri="{FF2B5EF4-FFF2-40B4-BE49-F238E27FC236}">
                <a16:creationId xmlns:a16="http://schemas.microsoft.com/office/drawing/2014/main" id="{77DCA383-B12A-FE85-982A-E8D9F92E93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7114772"/>
              </p:ext>
            </p:extLst>
          </p:nvPr>
        </p:nvGraphicFramePr>
        <p:xfrm>
          <a:off x="706538" y="5556748"/>
          <a:ext cx="10824486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32137">
                  <a:extLst>
                    <a:ext uri="{9D8B030D-6E8A-4147-A177-3AD203B41FA5}">
                      <a16:colId xmlns:a16="http://schemas.microsoft.com/office/drawing/2014/main" val="2471671939"/>
                    </a:ext>
                  </a:extLst>
                </a:gridCol>
                <a:gridCol w="7292349">
                  <a:extLst>
                    <a:ext uri="{9D8B030D-6E8A-4147-A177-3AD203B41FA5}">
                      <a16:colId xmlns:a16="http://schemas.microsoft.com/office/drawing/2014/main" val="33162022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400" b="1" i="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earch Excellence</a:t>
                      </a:r>
                    </a:p>
                    <a:p>
                      <a:pPr algn="l"/>
                      <a:r>
                        <a:rPr lang="en-US" sz="1400" b="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(Sufficiency &amp; Creative best practice)</a:t>
                      </a:r>
                      <a:endParaRPr lang="en-GB" sz="1400" b="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/>
                        <a:t>Impression share, Quality Score, CTR,CPC</a:t>
                      </a:r>
                    </a:p>
                    <a:p>
                      <a:pPr algn="ctr"/>
                      <a:r>
                        <a:rPr lang="en-US" sz="1400" b="1"/>
                        <a:t>Goal: </a:t>
                      </a:r>
                      <a:r>
                        <a:rPr lang="en-US" sz="1400" b="0"/>
                        <a:t>Maximize clicks - Maximize conversions (CPA)</a:t>
                      </a:r>
                    </a:p>
                    <a:p>
                      <a:pPr algn="ctr"/>
                      <a:r>
                        <a:rPr lang="en-US" sz="1400" b="1"/>
                        <a:t>Google analytics: </a:t>
                      </a:r>
                      <a:r>
                        <a:rPr lang="en-US" sz="1400" b="0"/>
                        <a:t>Users, Bounce rate (SEO/SEM), CTA retailers click</a:t>
                      </a:r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8296642"/>
                  </a:ext>
                </a:extLst>
              </a:tr>
            </a:tbl>
          </a:graphicData>
        </a:graphic>
      </p:graphicFrame>
      <p:sp>
        <p:nvSpPr>
          <p:cNvPr id="42" name="CuadroTexto 41">
            <a:extLst>
              <a:ext uri="{FF2B5EF4-FFF2-40B4-BE49-F238E27FC236}">
                <a16:creationId xmlns:a16="http://schemas.microsoft.com/office/drawing/2014/main" id="{181F4CC0-26F8-E93D-EC08-8D6DEFC75E93}"/>
              </a:ext>
            </a:extLst>
          </p:cNvPr>
          <p:cNvSpPr txBox="1"/>
          <p:nvPr/>
        </p:nvSpPr>
        <p:spPr>
          <a:xfrm>
            <a:off x="11106397" y="1373461"/>
            <a:ext cx="1020241" cy="338554"/>
          </a:xfrm>
          <a:prstGeom prst="rect">
            <a:avLst/>
          </a:prstGeom>
          <a:solidFill>
            <a:srgbClr val="BFBFBF"/>
          </a:solidFill>
        </p:spPr>
        <p:txBody>
          <a:bodyPr wrap="square" rtlCol="0">
            <a:spAutoFit/>
          </a:bodyPr>
          <a:lstStyle/>
          <a:p>
            <a:endParaRPr lang="en-US" sz="1600"/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CBA44370-41CB-3182-1EF2-B7AEAD88E205}"/>
              </a:ext>
            </a:extLst>
          </p:cNvPr>
          <p:cNvSpPr txBox="1">
            <a:spLocks/>
          </p:cNvSpPr>
          <p:nvPr/>
        </p:nvSpPr>
        <p:spPr>
          <a:xfrm>
            <a:off x="11084897" y="1512074"/>
            <a:ext cx="1074652" cy="2068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B3548"/>
                </a:solidFill>
                <a:effectLst/>
                <a:uLnTx/>
                <a:uFillTx/>
              </a:rPr>
              <a:t>$ Bench </a:t>
            </a:r>
            <a:r>
              <a:rPr lang="en-US" sz="1200" b="1">
                <a:solidFill>
                  <a:srgbClr val="1B3548"/>
                </a:solidFill>
              </a:rPr>
              <a:t>%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B3548"/>
              </a:solidFill>
              <a:effectLst/>
              <a:uLnTx/>
              <a:uFillTx/>
            </a:endParaRPr>
          </a:p>
        </p:txBody>
      </p:sp>
      <p:sp>
        <p:nvSpPr>
          <p:cNvPr id="44" name="Rectangle 12">
            <a:extLst>
              <a:ext uri="{FF2B5EF4-FFF2-40B4-BE49-F238E27FC236}">
                <a16:creationId xmlns:a16="http://schemas.microsoft.com/office/drawing/2014/main" id="{705B045C-670D-02AA-DB57-48F262D1198E}"/>
              </a:ext>
            </a:extLst>
          </p:cNvPr>
          <p:cNvSpPr/>
          <p:nvPr/>
        </p:nvSpPr>
        <p:spPr>
          <a:xfrm>
            <a:off x="10094652" y="2148322"/>
            <a:ext cx="988754" cy="7185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tx1"/>
                </a:solidFill>
              </a:rPr>
              <a:t>6”-10”</a:t>
            </a:r>
          </a:p>
          <a:p>
            <a:pPr algn="ctr"/>
            <a:r>
              <a:rPr lang="en-GB" sz="900" err="1">
                <a:solidFill>
                  <a:schemeClr val="tx1"/>
                </a:solidFill>
              </a:rPr>
              <a:t>Standar</a:t>
            </a:r>
            <a:r>
              <a:rPr lang="en-GB" sz="900">
                <a:solidFill>
                  <a:schemeClr val="tx1"/>
                </a:solidFill>
              </a:rPr>
              <a:t> Banners**</a:t>
            </a:r>
            <a:endParaRPr lang="en-GB" sz="1100">
              <a:solidFill>
                <a:schemeClr val="tx1"/>
              </a:solidFill>
            </a:endParaRPr>
          </a:p>
        </p:txBody>
      </p:sp>
      <p:sp>
        <p:nvSpPr>
          <p:cNvPr id="45" name="Rectangle 12">
            <a:extLst>
              <a:ext uri="{FF2B5EF4-FFF2-40B4-BE49-F238E27FC236}">
                <a16:creationId xmlns:a16="http://schemas.microsoft.com/office/drawing/2014/main" id="{48BEFAFC-C46A-DE71-9EFB-6A644B54803D}"/>
              </a:ext>
            </a:extLst>
          </p:cNvPr>
          <p:cNvSpPr/>
          <p:nvPr/>
        </p:nvSpPr>
        <p:spPr>
          <a:xfrm>
            <a:off x="11154076" y="2147842"/>
            <a:ext cx="988754" cy="7185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tx1"/>
                </a:solidFill>
              </a:rPr>
              <a:t>30%</a:t>
            </a:r>
          </a:p>
        </p:txBody>
      </p:sp>
      <p:sp>
        <p:nvSpPr>
          <p:cNvPr id="46" name="Rectangle 12">
            <a:extLst>
              <a:ext uri="{FF2B5EF4-FFF2-40B4-BE49-F238E27FC236}">
                <a16:creationId xmlns:a16="http://schemas.microsoft.com/office/drawing/2014/main" id="{0854A649-7763-8680-7FA2-837AE80B0E02}"/>
              </a:ext>
            </a:extLst>
          </p:cNvPr>
          <p:cNvSpPr/>
          <p:nvPr/>
        </p:nvSpPr>
        <p:spPr>
          <a:xfrm>
            <a:off x="10094652" y="3310556"/>
            <a:ext cx="988754" cy="74134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tx1"/>
                </a:solidFill>
              </a:rPr>
              <a:t>15”-20”</a:t>
            </a:r>
          </a:p>
          <a:p>
            <a:pPr algn="ctr"/>
            <a:r>
              <a:rPr lang="en-GB" sz="900" err="1">
                <a:solidFill>
                  <a:schemeClr val="tx1"/>
                </a:solidFill>
              </a:rPr>
              <a:t>Standar</a:t>
            </a:r>
            <a:r>
              <a:rPr lang="en-GB" sz="900">
                <a:solidFill>
                  <a:schemeClr val="tx1"/>
                </a:solidFill>
              </a:rPr>
              <a:t> Banners</a:t>
            </a:r>
          </a:p>
        </p:txBody>
      </p:sp>
      <p:sp>
        <p:nvSpPr>
          <p:cNvPr id="47" name="Rectangle 12">
            <a:extLst>
              <a:ext uri="{FF2B5EF4-FFF2-40B4-BE49-F238E27FC236}">
                <a16:creationId xmlns:a16="http://schemas.microsoft.com/office/drawing/2014/main" id="{2C56EFEB-2FB2-D8A5-03EE-CAD7A65E0410}"/>
              </a:ext>
            </a:extLst>
          </p:cNvPr>
          <p:cNvSpPr/>
          <p:nvPr/>
        </p:nvSpPr>
        <p:spPr>
          <a:xfrm>
            <a:off x="11154076" y="3310076"/>
            <a:ext cx="988754" cy="74134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tx1"/>
                </a:solidFill>
              </a:rPr>
              <a:t>50%</a:t>
            </a:r>
          </a:p>
        </p:txBody>
      </p:sp>
      <p:sp>
        <p:nvSpPr>
          <p:cNvPr id="48" name="Rectangle 12">
            <a:extLst>
              <a:ext uri="{FF2B5EF4-FFF2-40B4-BE49-F238E27FC236}">
                <a16:creationId xmlns:a16="http://schemas.microsoft.com/office/drawing/2014/main" id="{2F741464-93FE-BB27-98F1-7DF1015BB77A}"/>
              </a:ext>
            </a:extLst>
          </p:cNvPr>
          <p:cNvSpPr/>
          <p:nvPr/>
        </p:nvSpPr>
        <p:spPr>
          <a:xfrm>
            <a:off x="10050329" y="4517790"/>
            <a:ext cx="1034568" cy="7076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tx1"/>
                </a:solidFill>
              </a:rPr>
              <a:t>6”-10”</a:t>
            </a:r>
          </a:p>
          <a:p>
            <a:pPr algn="ctr"/>
            <a:r>
              <a:rPr lang="en-GB" sz="800" err="1">
                <a:solidFill>
                  <a:schemeClr val="tx1"/>
                </a:solidFill>
              </a:rPr>
              <a:t>Standar</a:t>
            </a:r>
            <a:r>
              <a:rPr lang="en-GB" sz="800">
                <a:solidFill>
                  <a:schemeClr val="tx1"/>
                </a:solidFill>
              </a:rPr>
              <a:t> Banner 300x250 /   </a:t>
            </a:r>
            <a:r>
              <a:rPr lang="en-GB" sz="1000">
                <a:solidFill>
                  <a:schemeClr val="tx1"/>
                </a:solidFill>
              </a:rPr>
              <a:t>Clear CTA </a:t>
            </a:r>
          </a:p>
        </p:txBody>
      </p:sp>
      <p:sp>
        <p:nvSpPr>
          <p:cNvPr id="49" name="Rectangle 12">
            <a:extLst>
              <a:ext uri="{FF2B5EF4-FFF2-40B4-BE49-F238E27FC236}">
                <a16:creationId xmlns:a16="http://schemas.microsoft.com/office/drawing/2014/main" id="{5C296E93-5B8E-DD08-796C-BAA489641D9C}"/>
              </a:ext>
            </a:extLst>
          </p:cNvPr>
          <p:cNvSpPr/>
          <p:nvPr/>
        </p:nvSpPr>
        <p:spPr>
          <a:xfrm>
            <a:off x="11131169" y="4502811"/>
            <a:ext cx="1034568" cy="7076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>
                <a:solidFill>
                  <a:schemeClr val="tx1"/>
                </a:solidFill>
              </a:rPr>
              <a:t>20%</a:t>
            </a:r>
          </a:p>
        </p:txBody>
      </p:sp>
      <p:pic>
        <p:nvPicPr>
          <p:cNvPr id="50" name="Picture 2" descr="Meta Logo | significado del logotipo, png, vector">
            <a:extLst>
              <a:ext uri="{FF2B5EF4-FFF2-40B4-BE49-F238E27FC236}">
                <a16:creationId xmlns:a16="http://schemas.microsoft.com/office/drawing/2014/main" id="{0A522325-F87A-88FF-D668-4B92E5D796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1736" y="3487679"/>
            <a:ext cx="567421" cy="278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" descr="Outstream video advertising for publishers | Monetise every page view">
            <a:extLst>
              <a:ext uri="{FF2B5EF4-FFF2-40B4-BE49-F238E27FC236}">
                <a16:creationId xmlns:a16="http://schemas.microsoft.com/office/drawing/2014/main" id="{A9C99DC8-E7E1-F0E4-A320-2466E9AA1C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451" b="89296" l="2703" r="97089">
                        <a14:foregroundMark x1="34096" y1="9014" x2="34096" y2="9014"/>
                        <a14:foregroundMark x1="11019" y1="82535" x2="11019" y2="82535"/>
                        <a14:foregroundMark x1="18503" y1="84507" x2="18503" y2="84507"/>
                        <a14:foregroundMark x1="9356" y1="84507" x2="9356" y2="84507"/>
                        <a14:foregroundMark x1="2703" y1="84507" x2="2703" y2="84507"/>
                        <a14:foregroundMark x1="2911" y1="89577" x2="56965" y2="88732"/>
                        <a14:foregroundMark x1="56965" y1="88732" x2="90852" y2="89296"/>
                        <a14:foregroundMark x1="90852" y1="89296" x2="97089" y2="87887"/>
                        <a14:foregroundMark x1="2911" y1="84507" x2="92516" y2="82535"/>
                        <a14:foregroundMark x1="92516" y1="82535" x2="94179" y2="82817"/>
                        <a14:foregroundMark x1="3534" y1="83662" x2="90437" y2="8873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0763" y="3271118"/>
            <a:ext cx="443400" cy="250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4" descr="See the source image">
            <a:extLst>
              <a:ext uri="{FF2B5EF4-FFF2-40B4-BE49-F238E27FC236}">
                <a16:creationId xmlns:a16="http://schemas.microsoft.com/office/drawing/2014/main" id="{DAAAFCC3-B769-DE91-CFF9-9596EC01F7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3" t="27577" r="1555" b="30764"/>
          <a:stretch/>
        </p:blipFill>
        <p:spPr bwMode="auto">
          <a:xfrm>
            <a:off x="9330588" y="3703700"/>
            <a:ext cx="434369" cy="202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 descr="Meta Logo | significado del logotipo, png, vector">
            <a:extLst>
              <a:ext uri="{FF2B5EF4-FFF2-40B4-BE49-F238E27FC236}">
                <a16:creationId xmlns:a16="http://schemas.microsoft.com/office/drawing/2014/main" id="{2E8FA5DA-8175-41F8-6DCC-4B51A2EBF8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9225" y="4869272"/>
            <a:ext cx="567421" cy="278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" descr="Outstream video advertising for publishers | Monetise every page view">
            <a:extLst>
              <a:ext uri="{FF2B5EF4-FFF2-40B4-BE49-F238E27FC236}">
                <a16:creationId xmlns:a16="http://schemas.microsoft.com/office/drawing/2014/main" id="{809A9217-4B35-83A6-67A2-B972AAC965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451" b="89296" l="2703" r="97089">
                        <a14:foregroundMark x1="34096" y1="9014" x2="34096" y2="9014"/>
                        <a14:foregroundMark x1="11019" y1="82535" x2="11019" y2="82535"/>
                        <a14:foregroundMark x1="18503" y1="84507" x2="18503" y2="84507"/>
                        <a14:foregroundMark x1="9356" y1="84507" x2="9356" y2="84507"/>
                        <a14:foregroundMark x1="2703" y1="84507" x2="2703" y2="84507"/>
                        <a14:foregroundMark x1="2911" y1="89577" x2="56965" y2="88732"/>
                        <a14:foregroundMark x1="56965" y1="88732" x2="90852" y2="89296"/>
                        <a14:foregroundMark x1="90852" y1="89296" x2="97089" y2="87887"/>
                        <a14:foregroundMark x1="2911" y1="84507" x2="92516" y2="82535"/>
                        <a14:foregroundMark x1="92516" y1="82535" x2="94179" y2="82817"/>
                        <a14:foregroundMark x1="3534" y1="83662" x2="90437" y2="8873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8252" y="4592751"/>
            <a:ext cx="443400" cy="250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4EFA4EF9-FA9D-E972-DD7D-524B1D4B8BFD}"/>
              </a:ext>
            </a:extLst>
          </p:cNvPr>
          <p:cNvSpPr/>
          <p:nvPr/>
        </p:nvSpPr>
        <p:spPr>
          <a:xfrm>
            <a:off x="8098901" y="0"/>
            <a:ext cx="4093099" cy="1088701"/>
          </a:xfrm>
          <a:prstGeom prst="rect">
            <a:avLst/>
          </a:prstGeom>
          <a:solidFill>
            <a:srgbClr val="FBB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r>
              <a:rPr lang="es-MX" sz="2000">
                <a:solidFill>
                  <a:srgbClr val="C00000"/>
                </a:solidFill>
              </a:rPr>
              <a:t>FORMATO ORIGINAL LATAM (EVALUAR VS GLOBAL)</a:t>
            </a:r>
          </a:p>
        </p:txBody>
      </p:sp>
    </p:spTree>
    <p:extLst>
      <p:ext uri="{BB962C8B-B14F-4D97-AF65-F5344CB8AC3E}">
        <p14:creationId xmlns:p14="http://schemas.microsoft.com/office/powerpoint/2010/main" val="367257367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Placeholder 37" descr="A group of people standing around a table with a computer&#10;&#10;Description automatically generated with medium confidence">
            <a:extLst>
              <a:ext uri="{FF2B5EF4-FFF2-40B4-BE49-F238E27FC236}">
                <a16:creationId xmlns:a16="http://schemas.microsoft.com/office/drawing/2014/main" id="{80CEEE88-D5D7-7040-86DE-84F344ED57A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847" b="20847"/>
          <a:stretch/>
        </p:blipFill>
        <p:spPr/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CCCFB1AE-0646-964D-B946-F83227FBE6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2024 Test &amp; Learn Opportuniti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478A14-F774-0A40-9309-C79812A13F1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B7E5B5-D155-2243-A948-39AFEC208E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1D7550-0EB0-3A43-B3ED-278106F7B6C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FB5340AF-D8AF-7C7B-C427-027A605CBF9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0"/>
            <a:ext cx="12193588" cy="6858000"/>
          </a:xfrm>
        </p:spPr>
        <p:txBody>
          <a:bodyPr/>
          <a:lstStyle/>
          <a:p>
            <a:r>
              <a:rPr lang="es-MX"/>
              <a:t> 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258E83AD-E589-D765-FDC8-069501B6AF82}"/>
              </a:ext>
            </a:extLst>
          </p:cNvPr>
          <p:cNvSpPr/>
          <p:nvPr/>
        </p:nvSpPr>
        <p:spPr>
          <a:xfrm>
            <a:off x="904082" y="1937377"/>
            <a:ext cx="2463665" cy="3609659"/>
          </a:xfrm>
          <a:prstGeom prst="rect">
            <a:avLst/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88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>
                <a:solidFill>
                  <a:srgbClr val="011627"/>
                </a:solidFill>
              </a:rPr>
              <a:t>[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A/B Testing]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(Brief description of recommendation)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07280371-BAE2-4681-F773-FA62ED61885D}"/>
              </a:ext>
            </a:extLst>
          </p:cNvPr>
          <p:cNvSpPr/>
          <p:nvPr/>
        </p:nvSpPr>
        <p:spPr>
          <a:xfrm>
            <a:off x="904082" y="5542656"/>
            <a:ext cx="2463665" cy="164796"/>
          </a:xfrm>
          <a:prstGeom prst="rect">
            <a:avLst/>
          </a:prstGeom>
          <a:solidFill>
            <a:srgbClr val="89D328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>
              <a:defRPr/>
            </a:pPr>
            <a:endParaRPr kumimoji="0" lang="en-GB" sz="1600" b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5DE661B3-88B5-E090-875D-F504B4764E50}"/>
              </a:ext>
            </a:extLst>
          </p:cNvPr>
          <p:cNvSpPr/>
          <p:nvPr/>
        </p:nvSpPr>
        <p:spPr>
          <a:xfrm>
            <a:off x="3545682" y="1937377"/>
            <a:ext cx="2463665" cy="3609659"/>
          </a:xfrm>
          <a:prstGeom prst="rect">
            <a:avLst/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88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>
                <a:solidFill>
                  <a:srgbClr val="011627"/>
                </a:solidFill>
              </a:rPr>
              <a:t>[BLS]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(Brief description of recommendation)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DFBEAF49-8EF1-8143-8572-BC2667EC406B}"/>
              </a:ext>
            </a:extLst>
          </p:cNvPr>
          <p:cNvSpPr/>
          <p:nvPr/>
        </p:nvSpPr>
        <p:spPr>
          <a:xfrm>
            <a:off x="3545682" y="5542656"/>
            <a:ext cx="2463665" cy="16479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>
              <a:defRPr/>
            </a:pPr>
            <a:endParaRPr kumimoji="0" lang="en-GB" sz="1600" b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FFAB1F8A-9FD3-D97F-A29D-F7B20C735D56}"/>
              </a:ext>
            </a:extLst>
          </p:cNvPr>
          <p:cNvSpPr/>
          <p:nvPr/>
        </p:nvSpPr>
        <p:spPr>
          <a:xfrm>
            <a:off x="6187282" y="1937377"/>
            <a:ext cx="2463665" cy="3609659"/>
          </a:xfrm>
          <a:prstGeom prst="rect">
            <a:avLst/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88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>
                <a:solidFill>
                  <a:srgbClr val="011627"/>
                </a:solidFill>
              </a:rPr>
              <a:t>[PCA]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algn="ctr"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(Brief description of recommendation)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DAA78A00-7455-05C7-EDBB-703E69277FF6}"/>
              </a:ext>
            </a:extLst>
          </p:cNvPr>
          <p:cNvSpPr/>
          <p:nvPr/>
        </p:nvSpPr>
        <p:spPr>
          <a:xfrm>
            <a:off x="6187282" y="5542656"/>
            <a:ext cx="2463665" cy="164796"/>
          </a:xfrm>
          <a:prstGeom prst="rect">
            <a:avLst/>
          </a:prstGeom>
          <a:solidFill>
            <a:schemeClr val="accent3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>
              <a:defRPr/>
            </a:pPr>
            <a:endParaRPr kumimoji="0" lang="en-GB" sz="1600" b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DD5C568B-FF75-040E-D1FE-F6A064443DDD}"/>
              </a:ext>
            </a:extLst>
          </p:cNvPr>
          <p:cNvSpPr/>
          <p:nvPr/>
        </p:nvSpPr>
        <p:spPr>
          <a:xfrm>
            <a:off x="8828882" y="1937377"/>
            <a:ext cx="2463665" cy="3609659"/>
          </a:xfrm>
          <a:prstGeom prst="rect">
            <a:avLst/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88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[Other]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ea typeface="+mn-ea"/>
                <a:cs typeface="+mn-cs"/>
              </a:rPr>
              <a:t>(Brief description of recommendation)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54CEDB6E-66C6-F057-254D-BEBB9412993F}"/>
              </a:ext>
            </a:extLst>
          </p:cNvPr>
          <p:cNvSpPr/>
          <p:nvPr/>
        </p:nvSpPr>
        <p:spPr>
          <a:xfrm>
            <a:off x="8828882" y="5542656"/>
            <a:ext cx="2463665" cy="164796"/>
          </a:xfrm>
          <a:prstGeom prst="rect">
            <a:avLst/>
          </a:prstGeom>
          <a:solidFill>
            <a:schemeClr val="accent4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>
              <a:defRPr/>
            </a:pPr>
            <a:endParaRPr kumimoji="0" lang="en-GB" sz="1600" b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223925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8">
            <a:extLst>
              <a:ext uri="{FF2B5EF4-FFF2-40B4-BE49-F238E27FC236}">
                <a16:creationId xmlns:a16="http://schemas.microsoft.com/office/drawing/2014/main" id="{0203D953-07AC-3DAD-926F-39319647605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/>
          <a:srcRect l="19116" t="6339" b="25454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AA744B-5793-D28B-04AF-BEF4E99ED8B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1E71DB5-5680-5541-BB1B-1B8E18C31C82}" type="slidenum">
              <a:rPr lang="en-GB" smtClean="0">
                <a:solidFill>
                  <a:schemeClr val="tx1"/>
                </a:solidFill>
              </a:rPr>
              <a:pPr/>
              <a:t>56</a:t>
            </a:fld>
            <a:endParaRPr lang="en-GB">
              <a:solidFill>
                <a:schemeClr val="tx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D60C965-EACB-AF80-1F2F-4FE076C748A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4877"/>
          <a:stretch/>
        </p:blipFill>
        <p:spPr>
          <a:xfrm>
            <a:off x="0" y="3491352"/>
            <a:ext cx="4836576" cy="101047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8956634-FD66-55E5-9422-3168AC881E12}"/>
              </a:ext>
            </a:extLst>
          </p:cNvPr>
          <p:cNvSpPr txBox="1"/>
          <p:nvPr/>
        </p:nvSpPr>
        <p:spPr>
          <a:xfrm>
            <a:off x="5683360" y="3491352"/>
            <a:ext cx="462017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0"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t>THANK YOU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AFACCDD-A159-11A7-25D4-0470CF8BF4E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0" r="89662"/>
          <a:stretch/>
        </p:blipFill>
        <p:spPr>
          <a:xfrm>
            <a:off x="11295946" y="3491352"/>
            <a:ext cx="904407" cy="1010472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2B617A-C70B-E681-3C3E-6D9962763D2C}"/>
              </a:ext>
            </a:extLst>
          </p:cNvPr>
          <p:cNvCxnSpPr>
            <a:cxnSpLocks/>
          </p:cNvCxnSpPr>
          <p:nvPr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8AC35BE4-9D90-C83B-09B3-FA8038676F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619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13B2D519-766F-9C55-638A-78CFFD2C45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Ic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361AFDE-D53A-BA29-C428-CB7F61BF80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964E7C-755A-1C0A-ECD4-B6DB486C7A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57</a:t>
            </a:fld>
            <a:endParaRPr lang="en-GB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BDC6CFB3-7BE6-5574-0FBA-C4C54F60CF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E2E3C071-B2BD-BC94-E05D-C22E8B9C1A99}"/>
              </a:ext>
            </a:extLst>
          </p:cNvPr>
          <p:cNvSpPr txBox="1"/>
          <p:nvPr/>
        </p:nvSpPr>
        <p:spPr>
          <a:xfrm>
            <a:off x="707607" y="1962794"/>
            <a:ext cx="40267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Radio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22D1D05B-29AC-C051-E8F3-A83CE953082F}"/>
              </a:ext>
            </a:extLst>
          </p:cNvPr>
          <p:cNvSpPr txBox="1"/>
          <p:nvPr/>
        </p:nvSpPr>
        <p:spPr>
          <a:xfrm>
            <a:off x="1359955" y="1962794"/>
            <a:ext cx="49084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Podcast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B025AF81-3CE6-9C7B-7681-2B1887C4DF55}"/>
              </a:ext>
            </a:extLst>
          </p:cNvPr>
          <p:cNvSpPr txBox="1"/>
          <p:nvPr/>
        </p:nvSpPr>
        <p:spPr>
          <a:xfrm>
            <a:off x="2092751" y="1962794"/>
            <a:ext cx="40748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Video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E058ED04-6AAB-19F8-50C9-F8D229FC8EB7}"/>
              </a:ext>
            </a:extLst>
          </p:cNvPr>
          <p:cNvSpPr txBox="1"/>
          <p:nvPr/>
        </p:nvSpPr>
        <p:spPr>
          <a:xfrm>
            <a:off x="2851994" y="1962794"/>
            <a:ext cx="27122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TV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6C35171B-6281-00A1-6A55-455BFED1FEF9}"/>
              </a:ext>
            </a:extLst>
          </p:cNvPr>
          <p:cNvSpPr txBox="1"/>
          <p:nvPr/>
        </p:nvSpPr>
        <p:spPr>
          <a:xfrm>
            <a:off x="3507336" y="1962794"/>
            <a:ext cx="33214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SEO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B058C4A8-61B6-BAFA-AD26-C862CC78AA32}"/>
              </a:ext>
            </a:extLst>
          </p:cNvPr>
          <p:cNvSpPr txBox="1"/>
          <p:nvPr/>
        </p:nvSpPr>
        <p:spPr>
          <a:xfrm>
            <a:off x="4194043" y="1962794"/>
            <a:ext cx="37221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OOH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18350BCC-BC42-AD5C-49FF-4A1EF1FDBE04}"/>
              </a:ext>
            </a:extLst>
          </p:cNvPr>
          <p:cNvSpPr txBox="1"/>
          <p:nvPr/>
        </p:nvSpPr>
        <p:spPr>
          <a:xfrm>
            <a:off x="4845992" y="1962794"/>
            <a:ext cx="42992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DOOH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A02C239C-33D2-90F2-74C4-E71AEE59E6D3}"/>
              </a:ext>
            </a:extLst>
          </p:cNvPr>
          <p:cNvSpPr txBox="1"/>
          <p:nvPr/>
        </p:nvSpPr>
        <p:spPr>
          <a:xfrm>
            <a:off x="5539974" y="1962794"/>
            <a:ext cx="43954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Mobile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5B727E1B-E6C5-5405-4BF7-00175D63EBD7}"/>
              </a:ext>
            </a:extLst>
          </p:cNvPr>
          <p:cNvSpPr txBox="1"/>
          <p:nvPr/>
        </p:nvSpPr>
        <p:spPr>
          <a:xfrm>
            <a:off x="6246873" y="1962794"/>
            <a:ext cx="4138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Tablet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69001F5B-7865-4F45-7A90-8196F55AD781}"/>
              </a:ext>
            </a:extLst>
          </p:cNvPr>
          <p:cNvSpPr txBox="1"/>
          <p:nvPr/>
        </p:nvSpPr>
        <p:spPr>
          <a:xfrm>
            <a:off x="6861849" y="1962794"/>
            <a:ext cx="56618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Computer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3F288530-6809-C39A-A4ED-7F844282C4E9}"/>
              </a:ext>
            </a:extLst>
          </p:cNvPr>
          <p:cNvSpPr txBox="1"/>
          <p:nvPr/>
        </p:nvSpPr>
        <p:spPr>
          <a:xfrm>
            <a:off x="7674212" y="1962794"/>
            <a:ext cx="33695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User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77B650F0-149F-7670-8C70-6CB8D62D3D27}"/>
              </a:ext>
            </a:extLst>
          </p:cNvPr>
          <p:cNvSpPr txBox="1"/>
          <p:nvPr/>
        </p:nvSpPr>
        <p:spPr>
          <a:xfrm>
            <a:off x="8343469" y="1962794"/>
            <a:ext cx="36740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Users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23659DE2-0773-34FC-BFA2-E08E62505850}"/>
              </a:ext>
            </a:extLst>
          </p:cNvPr>
          <p:cNvSpPr txBox="1"/>
          <p:nvPr/>
        </p:nvSpPr>
        <p:spPr>
          <a:xfrm>
            <a:off x="8898410" y="1962794"/>
            <a:ext cx="60786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Social users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9FDC8F2D-1A6F-C02F-9298-C2D5BA13BC5A}"/>
              </a:ext>
            </a:extLst>
          </p:cNvPr>
          <p:cNvSpPr txBox="1"/>
          <p:nvPr/>
        </p:nvSpPr>
        <p:spPr>
          <a:xfrm>
            <a:off x="9736617" y="1962794"/>
            <a:ext cx="37221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Chat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A43F9C7A-CB99-84EA-8029-1621ED939707}"/>
              </a:ext>
            </a:extLst>
          </p:cNvPr>
          <p:cNvSpPr txBox="1"/>
          <p:nvPr/>
        </p:nvSpPr>
        <p:spPr>
          <a:xfrm>
            <a:off x="10397880" y="1962794"/>
            <a:ext cx="39466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Share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16640E70-FCEE-F911-EBDC-00585ED5B382}"/>
              </a:ext>
            </a:extLst>
          </p:cNvPr>
          <p:cNvSpPr txBox="1"/>
          <p:nvPr/>
        </p:nvSpPr>
        <p:spPr>
          <a:xfrm>
            <a:off x="11061235" y="1962794"/>
            <a:ext cx="43954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Global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16DD4C9A-C874-E302-2B80-BE4D23F453A1}"/>
              </a:ext>
            </a:extLst>
          </p:cNvPr>
          <p:cNvSpPr txBox="1"/>
          <p:nvPr/>
        </p:nvSpPr>
        <p:spPr>
          <a:xfrm>
            <a:off x="588183" y="3121742"/>
            <a:ext cx="64152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Local / map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E1332F7E-8203-E7C9-6BCD-46736870F5FF}"/>
              </a:ext>
            </a:extLst>
          </p:cNvPr>
          <p:cNvSpPr txBox="1"/>
          <p:nvPr/>
        </p:nvSpPr>
        <p:spPr>
          <a:xfrm>
            <a:off x="1296636" y="3121742"/>
            <a:ext cx="61747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Connected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056E062E-48E8-5BA2-0866-4FADE29FD79B}"/>
              </a:ext>
            </a:extLst>
          </p:cNvPr>
          <p:cNvSpPr txBox="1"/>
          <p:nvPr/>
        </p:nvSpPr>
        <p:spPr>
          <a:xfrm>
            <a:off x="2166489" y="3121742"/>
            <a:ext cx="26000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AI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B75452C0-CCEE-8AC3-1467-A8A6407A8EF2}"/>
              </a:ext>
            </a:extLst>
          </p:cNvPr>
          <p:cNvSpPr txBox="1"/>
          <p:nvPr/>
        </p:nvSpPr>
        <p:spPr>
          <a:xfrm>
            <a:off x="2814323" y="3121742"/>
            <a:ext cx="34657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Blog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60CE1AE2-9B2F-BE39-57AB-7AA34AC38635}"/>
              </a:ext>
            </a:extLst>
          </p:cNvPr>
          <p:cNvSpPr txBox="1"/>
          <p:nvPr/>
        </p:nvSpPr>
        <p:spPr>
          <a:xfrm>
            <a:off x="3431193" y="3121742"/>
            <a:ext cx="48442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Cinema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EA23A768-0BC6-C3CB-9A68-1B1B89941EE9}"/>
              </a:ext>
            </a:extLst>
          </p:cNvPr>
          <p:cNvSpPr txBox="1"/>
          <p:nvPr/>
        </p:nvSpPr>
        <p:spPr>
          <a:xfrm>
            <a:off x="4188433" y="3121742"/>
            <a:ext cx="38343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Email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B21D6F92-D968-AB13-DB25-CE15EE8F14C6}"/>
              </a:ext>
            </a:extLst>
          </p:cNvPr>
          <p:cNvSpPr txBox="1"/>
          <p:nvPr/>
        </p:nvSpPr>
        <p:spPr>
          <a:xfrm>
            <a:off x="4815535" y="3121742"/>
            <a:ext cx="49084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Gaming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551277B2-56BE-F573-4D96-1C193A7D93BB}"/>
              </a:ext>
            </a:extLst>
          </p:cNvPr>
          <p:cNvSpPr txBox="1"/>
          <p:nvPr/>
        </p:nvSpPr>
        <p:spPr>
          <a:xfrm>
            <a:off x="5560813" y="3121742"/>
            <a:ext cx="39786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Music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93C33004-2232-1AF2-BC03-FAD7AB47E7B2}"/>
              </a:ext>
            </a:extLst>
          </p:cNvPr>
          <p:cNvSpPr txBox="1"/>
          <p:nvPr/>
        </p:nvSpPr>
        <p:spPr>
          <a:xfrm>
            <a:off x="6175540" y="3121742"/>
            <a:ext cx="55656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Magazine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B16D1556-16DC-74CE-1ABA-3A9F32C27BE1}"/>
              </a:ext>
            </a:extLst>
          </p:cNvPr>
          <p:cNvSpPr txBox="1"/>
          <p:nvPr/>
        </p:nvSpPr>
        <p:spPr>
          <a:xfrm>
            <a:off x="6836201" y="3121742"/>
            <a:ext cx="61747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Newspaper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D6E7C675-78AA-6061-0C94-708F94771FC5}"/>
              </a:ext>
            </a:extLst>
          </p:cNvPr>
          <p:cNvSpPr txBox="1"/>
          <p:nvPr/>
        </p:nvSpPr>
        <p:spPr>
          <a:xfrm>
            <a:off x="7620512" y="3121742"/>
            <a:ext cx="44435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Search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F07EF4A9-9AA3-B401-F108-C786FA49D86E}"/>
              </a:ext>
            </a:extLst>
          </p:cNvPr>
          <p:cNvSpPr txBox="1"/>
          <p:nvPr/>
        </p:nvSpPr>
        <p:spPr>
          <a:xfrm>
            <a:off x="8215228" y="3121742"/>
            <a:ext cx="62389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Paid search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8FC49915-49E5-9642-ABB3-1C21475A5EB9}"/>
              </a:ext>
            </a:extLst>
          </p:cNvPr>
          <p:cNvSpPr txBox="1"/>
          <p:nvPr/>
        </p:nvSpPr>
        <p:spPr>
          <a:xfrm>
            <a:off x="8980965" y="3121742"/>
            <a:ext cx="44275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Money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74C88E52-AC9F-6EA9-F04F-E2EF318B1750}"/>
              </a:ext>
            </a:extLst>
          </p:cNvPr>
          <p:cNvSpPr txBox="1"/>
          <p:nvPr/>
        </p:nvSpPr>
        <p:spPr>
          <a:xfrm>
            <a:off x="9760662" y="3121742"/>
            <a:ext cx="32412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Like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B929976B-680E-5473-8B35-0AE358BC7E36}"/>
              </a:ext>
            </a:extLst>
          </p:cNvPr>
          <p:cNvSpPr txBox="1"/>
          <p:nvPr/>
        </p:nvSpPr>
        <p:spPr>
          <a:xfrm>
            <a:off x="10286471" y="3121742"/>
            <a:ext cx="61747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Connected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63F8F5DF-55FE-C502-4C47-14C31A029F09}"/>
              </a:ext>
            </a:extLst>
          </p:cNvPr>
          <p:cNvSpPr txBox="1"/>
          <p:nvPr/>
        </p:nvSpPr>
        <p:spPr>
          <a:xfrm>
            <a:off x="10848837" y="3121742"/>
            <a:ext cx="86434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Recommendation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BF30FB1D-C884-4E07-4FC5-71F573E7EA68}"/>
              </a:ext>
            </a:extLst>
          </p:cNvPr>
          <p:cNvSpPr txBox="1"/>
          <p:nvPr/>
        </p:nvSpPr>
        <p:spPr>
          <a:xfrm>
            <a:off x="639479" y="4200947"/>
            <a:ext cx="53893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Shopping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23345E5E-F389-5055-B138-A0616CD9BFB5}"/>
              </a:ext>
            </a:extLst>
          </p:cNvPr>
          <p:cNvSpPr txBox="1"/>
          <p:nvPr/>
        </p:nvSpPr>
        <p:spPr>
          <a:xfrm>
            <a:off x="1335910" y="4200947"/>
            <a:ext cx="53893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Shopping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882FEEC3-47DA-7494-0372-1EDE1726982D}"/>
              </a:ext>
            </a:extLst>
          </p:cNvPr>
          <p:cNvSpPr txBox="1"/>
          <p:nvPr/>
        </p:nvSpPr>
        <p:spPr>
          <a:xfrm>
            <a:off x="1986151" y="4200947"/>
            <a:ext cx="62068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Sponsorship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E191ABC6-3E75-5EEA-AD42-D3FF27CFAC21}"/>
              </a:ext>
            </a:extLst>
          </p:cNvPr>
          <p:cNvSpPr txBox="1"/>
          <p:nvPr/>
        </p:nvSpPr>
        <p:spPr>
          <a:xfrm>
            <a:off x="2707724" y="4200947"/>
            <a:ext cx="55976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"/>
              <a:t>Streaming</a:t>
            </a:r>
          </a:p>
        </p:txBody>
      </p: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269AE6B-AEE7-ECDF-5C11-9C0E398D8CF8}"/>
              </a:ext>
            </a:extLst>
          </p:cNvPr>
          <p:cNvCxnSpPr>
            <a:cxnSpLocks/>
          </p:cNvCxnSpPr>
          <p:nvPr/>
        </p:nvCxnSpPr>
        <p:spPr>
          <a:xfrm>
            <a:off x="676844" y="4733947"/>
            <a:ext cx="10889408" cy="0"/>
          </a:xfrm>
          <a:prstGeom prst="line">
            <a:avLst/>
          </a:prstGeom>
          <a:ln w="1270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Graphic 3">
            <a:extLst>
              <a:ext uri="{FF2B5EF4-FFF2-40B4-BE49-F238E27FC236}">
                <a16:creationId xmlns:a16="http://schemas.microsoft.com/office/drawing/2014/main" id="{4C7E4D20-4E8C-6466-A793-BE50DB7B0792}"/>
              </a:ext>
            </a:extLst>
          </p:cNvPr>
          <p:cNvSpPr/>
          <p:nvPr/>
        </p:nvSpPr>
        <p:spPr>
          <a:xfrm>
            <a:off x="641350" y="5087826"/>
            <a:ext cx="540000" cy="540000"/>
          </a:xfrm>
          <a:custGeom>
            <a:avLst/>
            <a:gdLst>
              <a:gd name="connsiteX0" fmla="*/ 270000 w 540000"/>
              <a:gd name="connsiteY0" fmla="*/ 0 h 540000"/>
              <a:gd name="connsiteX1" fmla="*/ 0 w 540000"/>
              <a:gd name="connsiteY1" fmla="*/ 270000 h 540000"/>
              <a:gd name="connsiteX2" fmla="*/ 270000 w 540000"/>
              <a:gd name="connsiteY2" fmla="*/ 540000 h 540000"/>
              <a:gd name="connsiteX3" fmla="*/ 540000 w 540000"/>
              <a:gd name="connsiteY3" fmla="*/ 270000 h 540000"/>
              <a:gd name="connsiteX4" fmla="*/ 270000 w 540000"/>
              <a:gd name="connsiteY4" fmla="*/ 0 h 540000"/>
              <a:gd name="connsiteX5" fmla="*/ 420156 w 540000"/>
              <a:gd name="connsiteY5" fmla="*/ 270000 h 540000"/>
              <a:gd name="connsiteX6" fmla="*/ 270000 w 540000"/>
              <a:gd name="connsiteY6" fmla="*/ 420156 h 540000"/>
              <a:gd name="connsiteX7" fmla="*/ 119844 w 540000"/>
              <a:gd name="connsiteY7" fmla="*/ 270000 h 540000"/>
              <a:gd name="connsiteX8" fmla="*/ 270000 w 540000"/>
              <a:gd name="connsiteY8" fmla="*/ 119844 h 540000"/>
              <a:gd name="connsiteX9" fmla="*/ 361526 w 540000"/>
              <a:gd name="connsiteY9" fmla="*/ 150957 h 540000"/>
              <a:gd name="connsiteX10" fmla="*/ 326637 w 540000"/>
              <a:gd name="connsiteY10" fmla="*/ 196288 h 540000"/>
              <a:gd name="connsiteX11" fmla="*/ 270000 w 540000"/>
              <a:gd name="connsiteY11" fmla="*/ 177050 h 540000"/>
              <a:gd name="connsiteX12" fmla="*/ 177050 w 540000"/>
              <a:gd name="connsiteY12" fmla="*/ 270000 h 540000"/>
              <a:gd name="connsiteX13" fmla="*/ 270000 w 540000"/>
              <a:gd name="connsiteY13" fmla="*/ 362950 h 540000"/>
              <a:gd name="connsiteX14" fmla="*/ 358457 w 540000"/>
              <a:gd name="connsiteY14" fmla="*/ 298593 h 540000"/>
              <a:gd name="connsiteX15" fmla="*/ 270000 w 540000"/>
              <a:gd name="connsiteY15" fmla="*/ 298593 h 540000"/>
              <a:gd name="connsiteX16" fmla="*/ 270000 w 540000"/>
              <a:gd name="connsiteY16" fmla="*/ 241386 h 540000"/>
              <a:gd name="connsiteX17" fmla="*/ 420156 w 540000"/>
              <a:gd name="connsiteY17" fmla="*/ 241386 h 540000"/>
              <a:gd name="connsiteX18" fmla="*/ 420156 w 540000"/>
              <a:gd name="connsiteY18" fmla="*/ 269989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0000" h="540000">
                <a:moveTo>
                  <a:pt x="270000" y="0"/>
                </a:moveTo>
                <a:cubicBezTo>
                  <a:pt x="120878" y="0"/>
                  <a:pt x="0" y="120878"/>
                  <a:pt x="0" y="270000"/>
                </a:cubicBezTo>
                <a:cubicBezTo>
                  <a:pt x="0" y="419122"/>
                  <a:pt x="120878" y="540000"/>
                  <a:pt x="270000" y="540000"/>
                </a:cubicBezTo>
                <a:cubicBezTo>
                  <a:pt x="419122" y="540000"/>
                  <a:pt x="540000" y="419122"/>
                  <a:pt x="540000" y="270000"/>
                </a:cubicBezTo>
                <a:cubicBezTo>
                  <a:pt x="540000" y="120878"/>
                  <a:pt x="419122" y="0"/>
                  <a:pt x="270000" y="0"/>
                </a:cubicBezTo>
                <a:close/>
                <a:moveTo>
                  <a:pt x="420156" y="270000"/>
                </a:moveTo>
                <a:cubicBezTo>
                  <a:pt x="420156" y="352793"/>
                  <a:pt x="352793" y="420156"/>
                  <a:pt x="270000" y="420156"/>
                </a:cubicBezTo>
                <a:cubicBezTo>
                  <a:pt x="187207" y="420156"/>
                  <a:pt x="119844" y="352793"/>
                  <a:pt x="119844" y="270000"/>
                </a:cubicBezTo>
                <a:cubicBezTo>
                  <a:pt x="119844" y="187207"/>
                  <a:pt x="187207" y="119844"/>
                  <a:pt x="270000" y="119844"/>
                </a:cubicBezTo>
                <a:cubicBezTo>
                  <a:pt x="303444" y="119844"/>
                  <a:pt x="335085" y="130602"/>
                  <a:pt x="361526" y="150957"/>
                </a:cubicBezTo>
                <a:lnTo>
                  <a:pt x="326637" y="196288"/>
                </a:lnTo>
                <a:cubicBezTo>
                  <a:pt x="310289" y="183705"/>
                  <a:pt x="290704" y="177050"/>
                  <a:pt x="270000" y="177050"/>
                </a:cubicBezTo>
                <a:cubicBezTo>
                  <a:pt x="218742" y="177050"/>
                  <a:pt x="177050" y="218753"/>
                  <a:pt x="177050" y="270000"/>
                </a:cubicBezTo>
                <a:cubicBezTo>
                  <a:pt x="177050" y="321247"/>
                  <a:pt x="218753" y="362950"/>
                  <a:pt x="270000" y="362950"/>
                </a:cubicBezTo>
                <a:cubicBezTo>
                  <a:pt x="311280" y="362950"/>
                  <a:pt x="346359" y="335907"/>
                  <a:pt x="358457" y="298593"/>
                </a:cubicBezTo>
                <a:lnTo>
                  <a:pt x="270000" y="298593"/>
                </a:lnTo>
                <a:lnTo>
                  <a:pt x="270000" y="241386"/>
                </a:lnTo>
                <a:lnTo>
                  <a:pt x="420156" y="241386"/>
                </a:lnTo>
                <a:lnTo>
                  <a:pt x="420156" y="269989"/>
                </a:lnTo>
                <a:close/>
              </a:path>
            </a:pathLst>
          </a:custGeom>
          <a:solidFill>
            <a:schemeClr val="tx1"/>
          </a:solidFill>
          <a:ln w="104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5" name="Freeform 384">
            <a:extLst>
              <a:ext uri="{FF2B5EF4-FFF2-40B4-BE49-F238E27FC236}">
                <a16:creationId xmlns:a16="http://schemas.microsoft.com/office/drawing/2014/main" id="{72DA7E2F-0659-5AD9-0F00-D9A38CE66427}"/>
              </a:ext>
            </a:extLst>
          </p:cNvPr>
          <p:cNvSpPr/>
          <p:nvPr/>
        </p:nvSpPr>
        <p:spPr>
          <a:xfrm>
            <a:off x="4794843" y="5087826"/>
            <a:ext cx="540000" cy="540000"/>
          </a:xfrm>
          <a:custGeom>
            <a:avLst/>
            <a:gdLst>
              <a:gd name="connsiteX0" fmla="*/ 188725 w 540000"/>
              <a:gd name="connsiteY0" fmla="*/ 185076 h 540000"/>
              <a:gd name="connsiteX1" fmla="*/ 250688 w 540000"/>
              <a:gd name="connsiteY1" fmla="*/ 233001 h 540000"/>
              <a:gd name="connsiteX2" fmla="*/ 211875 w 540000"/>
              <a:gd name="connsiteY2" fmla="*/ 293329 h 540000"/>
              <a:gd name="connsiteX3" fmla="*/ 150619 w 540000"/>
              <a:gd name="connsiteY3" fmla="*/ 355113 h 540000"/>
              <a:gd name="connsiteX4" fmla="*/ 121204 w 540000"/>
              <a:gd name="connsiteY4" fmla="*/ 310035 h 540000"/>
              <a:gd name="connsiteX5" fmla="*/ 188725 w 540000"/>
              <a:gd name="connsiteY5" fmla="*/ 185076 h 540000"/>
              <a:gd name="connsiteX6" fmla="*/ 350051 w 540000"/>
              <a:gd name="connsiteY6" fmla="*/ 176364 h 540000"/>
              <a:gd name="connsiteX7" fmla="*/ 350051 w 540000"/>
              <a:gd name="connsiteY7" fmla="*/ 176375 h 540000"/>
              <a:gd name="connsiteX8" fmla="*/ 423668 w 540000"/>
              <a:gd name="connsiteY8" fmla="*/ 310552 h 540000"/>
              <a:gd name="connsiteX9" fmla="*/ 395297 w 540000"/>
              <a:gd name="connsiteY9" fmla="*/ 355102 h 540000"/>
              <a:gd name="connsiteX10" fmla="*/ 333376 w 540000"/>
              <a:gd name="connsiteY10" fmla="*/ 286969 h 540000"/>
              <a:gd name="connsiteX11" fmla="*/ 311112 w 540000"/>
              <a:gd name="connsiteY11" fmla="*/ 249834 h 540000"/>
              <a:gd name="connsiteX12" fmla="*/ 293741 w 540000"/>
              <a:gd name="connsiteY12" fmla="*/ 222770 h 540000"/>
              <a:gd name="connsiteX13" fmla="*/ 350051 w 540000"/>
              <a:gd name="connsiteY13" fmla="*/ 176364 h 540000"/>
              <a:gd name="connsiteX14" fmla="*/ 189253 w 540000"/>
              <a:gd name="connsiteY14" fmla="*/ 143817 h 540000"/>
              <a:gd name="connsiteX15" fmla="*/ 80135 w 540000"/>
              <a:gd name="connsiteY15" fmla="*/ 309329 h 540000"/>
              <a:gd name="connsiteX16" fmla="*/ 149048 w 540000"/>
              <a:gd name="connsiteY16" fmla="*/ 396172 h 540000"/>
              <a:gd name="connsiteX17" fmla="*/ 242156 w 540000"/>
              <a:gd name="connsiteY17" fmla="*/ 312114 h 540000"/>
              <a:gd name="connsiteX18" fmla="*/ 270095 w 540000"/>
              <a:gd name="connsiteY18" fmla="*/ 262744 h 540000"/>
              <a:gd name="connsiteX19" fmla="*/ 282698 w 540000"/>
              <a:gd name="connsiteY19" fmla="*/ 283574 h 540000"/>
              <a:gd name="connsiteX20" fmla="*/ 301324 w 540000"/>
              <a:gd name="connsiteY20" fmla="*/ 314898 h 540000"/>
              <a:gd name="connsiteX21" fmla="*/ 394432 w 540000"/>
              <a:gd name="connsiteY21" fmla="*/ 396172 h 540000"/>
              <a:gd name="connsiteX22" fmla="*/ 394443 w 540000"/>
              <a:gd name="connsiteY22" fmla="*/ 396172 h 540000"/>
              <a:gd name="connsiteX23" fmla="*/ 459875 w 540000"/>
              <a:gd name="connsiteY23" fmla="*/ 307758 h 540000"/>
              <a:gd name="connsiteX24" fmla="*/ 352666 w 540000"/>
              <a:gd name="connsiteY24" fmla="*/ 143817 h 540000"/>
              <a:gd name="connsiteX25" fmla="*/ 275157 w 540000"/>
              <a:gd name="connsiteY25" fmla="*/ 197058 h 540000"/>
              <a:gd name="connsiteX26" fmla="*/ 189253 w 540000"/>
              <a:gd name="connsiteY26" fmla="*/ 143817 h 540000"/>
              <a:gd name="connsiteX27" fmla="*/ 270000 w 540000"/>
              <a:gd name="connsiteY27" fmla="*/ 0 h 540000"/>
              <a:gd name="connsiteX28" fmla="*/ 540000 w 540000"/>
              <a:gd name="connsiteY28" fmla="*/ 270000 h 540000"/>
              <a:gd name="connsiteX29" fmla="*/ 270000 w 540000"/>
              <a:gd name="connsiteY29" fmla="*/ 540000 h 540000"/>
              <a:gd name="connsiteX30" fmla="*/ 0 w 540000"/>
              <a:gd name="connsiteY30" fmla="*/ 270000 h 540000"/>
              <a:gd name="connsiteX31" fmla="*/ 270000 w 540000"/>
              <a:gd name="connsiteY31" fmla="*/ 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40000" h="540000">
                <a:moveTo>
                  <a:pt x="188725" y="185076"/>
                </a:moveTo>
                <a:cubicBezTo>
                  <a:pt x="208617" y="185076"/>
                  <a:pt x="225238" y="196562"/>
                  <a:pt x="250688" y="233001"/>
                </a:cubicBezTo>
                <a:cubicBezTo>
                  <a:pt x="226515" y="270073"/>
                  <a:pt x="211875" y="293329"/>
                  <a:pt x="211875" y="293329"/>
                </a:cubicBezTo>
                <a:cubicBezTo>
                  <a:pt x="179686" y="343796"/>
                  <a:pt x="169066" y="355113"/>
                  <a:pt x="150619" y="355113"/>
                </a:cubicBezTo>
                <a:cubicBezTo>
                  <a:pt x="132173" y="355113"/>
                  <a:pt x="121204" y="338913"/>
                  <a:pt x="121204" y="310035"/>
                </a:cubicBezTo>
                <a:cubicBezTo>
                  <a:pt x="121204" y="248252"/>
                  <a:pt x="152001" y="185076"/>
                  <a:pt x="188725" y="185076"/>
                </a:cubicBezTo>
                <a:close/>
                <a:moveTo>
                  <a:pt x="350051" y="176364"/>
                </a:moveTo>
                <a:lnTo>
                  <a:pt x="350051" y="176375"/>
                </a:lnTo>
                <a:cubicBezTo>
                  <a:pt x="390952" y="176375"/>
                  <a:pt x="423668" y="236587"/>
                  <a:pt x="423668" y="310552"/>
                </a:cubicBezTo>
                <a:cubicBezTo>
                  <a:pt x="423668" y="338744"/>
                  <a:pt x="413638" y="355102"/>
                  <a:pt x="395297" y="355102"/>
                </a:cubicBezTo>
                <a:cubicBezTo>
                  <a:pt x="376956" y="355102"/>
                  <a:pt x="368191" y="342994"/>
                  <a:pt x="333376" y="286969"/>
                </a:cubicBezTo>
                <a:lnTo>
                  <a:pt x="311112" y="249834"/>
                </a:lnTo>
                <a:cubicBezTo>
                  <a:pt x="305089" y="240035"/>
                  <a:pt x="299310" y="231028"/>
                  <a:pt x="293741" y="222770"/>
                </a:cubicBezTo>
                <a:cubicBezTo>
                  <a:pt x="313812" y="191794"/>
                  <a:pt x="330360" y="176364"/>
                  <a:pt x="350051" y="176364"/>
                </a:cubicBezTo>
                <a:close/>
                <a:moveTo>
                  <a:pt x="189253" y="143817"/>
                </a:moveTo>
                <a:cubicBezTo>
                  <a:pt x="127470" y="143817"/>
                  <a:pt x="80135" y="224227"/>
                  <a:pt x="80135" y="309329"/>
                </a:cubicBezTo>
                <a:cubicBezTo>
                  <a:pt x="80135" y="362580"/>
                  <a:pt x="105891" y="396172"/>
                  <a:pt x="149048" y="396172"/>
                </a:cubicBezTo>
                <a:cubicBezTo>
                  <a:pt x="180109" y="396172"/>
                  <a:pt x="202447" y="381533"/>
                  <a:pt x="242156" y="312114"/>
                </a:cubicBezTo>
                <a:cubicBezTo>
                  <a:pt x="242156" y="312114"/>
                  <a:pt x="258704" y="282878"/>
                  <a:pt x="270095" y="262744"/>
                </a:cubicBezTo>
                <a:cubicBezTo>
                  <a:pt x="274082" y="269188"/>
                  <a:pt x="278269" y="276117"/>
                  <a:pt x="282698" y="283574"/>
                </a:cubicBezTo>
                <a:lnTo>
                  <a:pt x="301324" y="314898"/>
                </a:lnTo>
                <a:cubicBezTo>
                  <a:pt x="337595" y="375595"/>
                  <a:pt x="357813" y="396172"/>
                  <a:pt x="394432" y="396172"/>
                </a:cubicBezTo>
                <a:lnTo>
                  <a:pt x="394443" y="396172"/>
                </a:lnTo>
                <a:cubicBezTo>
                  <a:pt x="436482" y="396172"/>
                  <a:pt x="459875" y="362116"/>
                  <a:pt x="459875" y="307758"/>
                </a:cubicBezTo>
                <a:cubicBezTo>
                  <a:pt x="459875" y="218658"/>
                  <a:pt x="411465" y="143817"/>
                  <a:pt x="352666" y="143817"/>
                </a:cubicBezTo>
                <a:cubicBezTo>
                  <a:pt x="321532" y="143817"/>
                  <a:pt x="297190" y="167263"/>
                  <a:pt x="275157" y="197058"/>
                </a:cubicBezTo>
                <a:cubicBezTo>
                  <a:pt x="244877" y="158509"/>
                  <a:pt x="219554" y="143817"/>
                  <a:pt x="189253" y="143817"/>
                </a:cubicBezTo>
                <a:close/>
                <a:moveTo>
                  <a:pt x="270000" y="0"/>
                </a:moveTo>
                <a:cubicBezTo>
                  <a:pt x="419122" y="0"/>
                  <a:pt x="540000" y="120878"/>
                  <a:pt x="540000" y="270000"/>
                </a:cubicBezTo>
                <a:cubicBezTo>
                  <a:pt x="540000" y="419122"/>
                  <a:pt x="419122" y="540000"/>
                  <a:pt x="270000" y="540000"/>
                </a:cubicBezTo>
                <a:cubicBezTo>
                  <a:pt x="120878" y="540000"/>
                  <a:pt x="0" y="419122"/>
                  <a:pt x="0" y="270000"/>
                </a:cubicBezTo>
                <a:cubicBezTo>
                  <a:pt x="0" y="120878"/>
                  <a:pt x="120888" y="0"/>
                  <a:pt x="270000" y="0"/>
                </a:cubicBezTo>
                <a:close/>
              </a:path>
            </a:pathLst>
          </a:custGeom>
          <a:solidFill>
            <a:schemeClr val="tx1"/>
          </a:solidFill>
          <a:ln w="104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27" name="Graphic 9">
            <a:extLst>
              <a:ext uri="{FF2B5EF4-FFF2-40B4-BE49-F238E27FC236}">
                <a16:creationId xmlns:a16="http://schemas.microsoft.com/office/drawing/2014/main" id="{625946D1-B328-059E-7A3E-A001E40BBA09}"/>
              </a:ext>
            </a:extLst>
          </p:cNvPr>
          <p:cNvSpPr/>
          <p:nvPr/>
        </p:nvSpPr>
        <p:spPr>
          <a:xfrm>
            <a:off x="5487093" y="5087826"/>
            <a:ext cx="539564" cy="539564"/>
          </a:xfrm>
          <a:custGeom>
            <a:avLst/>
            <a:gdLst>
              <a:gd name="connsiteX0" fmla="*/ 269782 w 539564"/>
              <a:gd name="connsiteY0" fmla="*/ 0 h 539564"/>
              <a:gd name="connsiteX1" fmla="*/ 0 w 539564"/>
              <a:gd name="connsiteY1" fmla="*/ 269782 h 539564"/>
              <a:gd name="connsiteX2" fmla="*/ 269782 w 539564"/>
              <a:gd name="connsiteY2" fmla="*/ 539565 h 539564"/>
              <a:gd name="connsiteX3" fmla="*/ 539565 w 539564"/>
              <a:gd name="connsiteY3" fmla="*/ 269782 h 539564"/>
              <a:gd name="connsiteX4" fmla="*/ 269782 w 539564"/>
              <a:gd name="connsiteY4" fmla="*/ 0 h 539564"/>
              <a:gd name="connsiteX5" fmla="*/ 269782 w 539564"/>
              <a:gd name="connsiteY5" fmla="*/ 0 h 539564"/>
              <a:gd name="connsiteX6" fmla="*/ 431281 w 539564"/>
              <a:gd name="connsiteY6" fmla="*/ 356988 h 539564"/>
              <a:gd name="connsiteX7" fmla="*/ 390183 w 539564"/>
              <a:gd name="connsiteY7" fmla="*/ 372535 h 539564"/>
              <a:gd name="connsiteX8" fmla="*/ 385175 w 539564"/>
              <a:gd name="connsiteY8" fmla="*/ 383073 h 539564"/>
              <a:gd name="connsiteX9" fmla="*/ 383335 w 539564"/>
              <a:gd name="connsiteY9" fmla="*/ 390444 h 539564"/>
              <a:gd name="connsiteX10" fmla="*/ 378860 w 539564"/>
              <a:gd name="connsiteY10" fmla="*/ 393863 h 539564"/>
              <a:gd name="connsiteX11" fmla="*/ 378599 w 539564"/>
              <a:gd name="connsiteY11" fmla="*/ 393863 h 539564"/>
              <a:gd name="connsiteX12" fmla="*/ 371751 w 539564"/>
              <a:gd name="connsiteY12" fmla="*/ 392806 h 539564"/>
              <a:gd name="connsiteX13" fmla="*/ 353308 w 539564"/>
              <a:gd name="connsiteY13" fmla="*/ 390967 h 539564"/>
              <a:gd name="connsiteX14" fmla="*/ 340135 w 539564"/>
              <a:gd name="connsiteY14" fmla="*/ 392012 h 539564"/>
              <a:gd name="connsiteX15" fmla="*/ 314844 w 539564"/>
              <a:gd name="connsiteY15" fmla="*/ 404924 h 539564"/>
              <a:gd name="connsiteX16" fmla="*/ 271372 w 539564"/>
              <a:gd name="connsiteY16" fmla="*/ 422049 h 539564"/>
              <a:gd name="connsiteX17" fmla="*/ 267158 w 539564"/>
              <a:gd name="connsiteY17" fmla="*/ 422049 h 539564"/>
              <a:gd name="connsiteX18" fmla="*/ 223686 w 539564"/>
              <a:gd name="connsiteY18" fmla="*/ 404924 h 539564"/>
              <a:gd name="connsiteX19" fmla="*/ 198396 w 539564"/>
              <a:gd name="connsiteY19" fmla="*/ 392012 h 539564"/>
              <a:gd name="connsiteX20" fmla="*/ 185222 w 539564"/>
              <a:gd name="connsiteY20" fmla="*/ 390967 h 539564"/>
              <a:gd name="connsiteX21" fmla="*/ 166779 w 539564"/>
              <a:gd name="connsiteY21" fmla="*/ 393068 h 539564"/>
              <a:gd name="connsiteX22" fmla="*/ 159931 w 539564"/>
              <a:gd name="connsiteY22" fmla="*/ 394113 h 539564"/>
              <a:gd name="connsiteX23" fmla="*/ 155185 w 539564"/>
              <a:gd name="connsiteY23" fmla="*/ 390694 h 539564"/>
              <a:gd name="connsiteX24" fmla="*/ 153345 w 539564"/>
              <a:gd name="connsiteY24" fmla="*/ 383063 h 539564"/>
              <a:gd name="connsiteX25" fmla="*/ 148337 w 539564"/>
              <a:gd name="connsiteY25" fmla="*/ 372524 h 539564"/>
              <a:gd name="connsiteX26" fmla="*/ 107238 w 539564"/>
              <a:gd name="connsiteY26" fmla="*/ 356977 h 539564"/>
              <a:gd name="connsiteX27" fmla="*/ 106715 w 539564"/>
              <a:gd name="connsiteY27" fmla="*/ 354876 h 539564"/>
              <a:gd name="connsiteX28" fmla="*/ 109611 w 539564"/>
              <a:gd name="connsiteY28" fmla="*/ 351457 h 539564"/>
              <a:gd name="connsiteX29" fmla="*/ 178374 w 539564"/>
              <a:gd name="connsiteY29" fmla="*/ 293494 h 539564"/>
              <a:gd name="connsiteX30" fmla="*/ 178635 w 539564"/>
              <a:gd name="connsiteY30" fmla="*/ 293494 h 539564"/>
              <a:gd name="connsiteX31" fmla="*/ 180214 w 539564"/>
              <a:gd name="connsiteY31" fmla="*/ 278481 h 539564"/>
              <a:gd name="connsiteX32" fmla="*/ 159659 w 539564"/>
              <a:gd name="connsiteY32" fmla="*/ 265308 h 539564"/>
              <a:gd name="connsiteX33" fmla="*/ 154913 w 539564"/>
              <a:gd name="connsiteY33" fmla="*/ 263718 h 539564"/>
              <a:gd name="connsiteX34" fmla="*/ 140422 w 539564"/>
              <a:gd name="connsiteY34" fmla="*/ 249761 h 539564"/>
              <a:gd name="connsiteX35" fmla="*/ 153334 w 539564"/>
              <a:gd name="connsiteY35" fmla="*/ 241323 h 539564"/>
              <a:gd name="connsiteX36" fmla="*/ 157025 w 539564"/>
              <a:gd name="connsiteY36" fmla="*/ 242118 h 539564"/>
              <a:gd name="connsiteX37" fmla="*/ 173627 w 539564"/>
              <a:gd name="connsiteY37" fmla="*/ 246593 h 539564"/>
              <a:gd name="connsiteX38" fmla="*/ 183644 w 539564"/>
              <a:gd name="connsiteY38" fmla="*/ 243435 h 539564"/>
              <a:gd name="connsiteX39" fmla="*/ 183121 w 539564"/>
              <a:gd name="connsiteY39" fmla="*/ 233419 h 539564"/>
              <a:gd name="connsiteX40" fmla="*/ 187073 w 539564"/>
              <a:gd name="connsiteY40" fmla="*/ 167825 h 539564"/>
              <a:gd name="connsiteX41" fmla="*/ 265852 w 539564"/>
              <a:gd name="connsiteY41" fmla="*/ 116982 h 539564"/>
              <a:gd name="connsiteX42" fmla="*/ 272439 w 539564"/>
              <a:gd name="connsiteY42" fmla="*/ 116982 h 539564"/>
              <a:gd name="connsiteX43" fmla="*/ 351479 w 539564"/>
              <a:gd name="connsiteY43" fmla="*/ 167825 h 539564"/>
              <a:gd name="connsiteX44" fmla="*/ 355431 w 539564"/>
              <a:gd name="connsiteY44" fmla="*/ 233419 h 539564"/>
              <a:gd name="connsiteX45" fmla="*/ 355431 w 539564"/>
              <a:gd name="connsiteY45" fmla="*/ 234475 h 539564"/>
              <a:gd name="connsiteX46" fmla="*/ 354908 w 539564"/>
              <a:gd name="connsiteY46" fmla="*/ 243435 h 539564"/>
              <a:gd name="connsiteX47" fmla="*/ 363869 w 539564"/>
              <a:gd name="connsiteY47" fmla="*/ 246593 h 539564"/>
              <a:gd name="connsiteX48" fmla="*/ 379677 w 539564"/>
              <a:gd name="connsiteY48" fmla="*/ 242118 h 539564"/>
              <a:gd name="connsiteX49" fmla="*/ 384685 w 539564"/>
              <a:gd name="connsiteY49" fmla="*/ 241062 h 539564"/>
              <a:gd name="connsiteX50" fmla="*/ 390215 w 539564"/>
              <a:gd name="connsiteY50" fmla="*/ 242379 h 539564"/>
              <a:gd name="connsiteX51" fmla="*/ 390477 w 539564"/>
              <a:gd name="connsiteY51" fmla="*/ 242379 h 539564"/>
              <a:gd name="connsiteX52" fmla="*/ 398119 w 539564"/>
              <a:gd name="connsiteY52" fmla="*/ 250817 h 539564"/>
              <a:gd name="connsiteX53" fmla="*/ 383629 w 539564"/>
              <a:gd name="connsiteY53" fmla="*/ 263718 h 539564"/>
              <a:gd name="connsiteX54" fmla="*/ 379154 w 539564"/>
              <a:gd name="connsiteY54" fmla="*/ 265308 h 539564"/>
              <a:gd name="connsiteX55" fmla="*/ 358338 w 539564"/>
              <a:gd name="connsiteY55" fmla="*/ 278481 h 539564"/>
              <a:gd name="connsiteX56" fmla="*/ 359917 w 539564"/>
              <a:gd name="connsiteY56" fmla="*/ 293494 h 539564"/>
              <a:gd name="connsiteX57" fmla="*/ 360178 w 539564"/>
              <a:gd name="connsiteY57" fmla="*/ 293494 h 539564"/>
              <a:gd name="connsiteX58" fmla="*/ 428941 w 539564"/>
              <a:gd name="connsiteY58" fmla="*/ 351457 h 539564"/>
              <a:gd name="connsiteX59" fmla="*/ 431837 w 539564"/>
              <a:gd name="connsiteY59" fmla="*/ 354876 h 539564"/>
              <a:gd name="connsiteX60" fmla="*/ 431314 w 539564"/>
              <a:gd name="connsiteY60" fmla="*/ 356977 h 539564"/>
              <a:gd name="connsiteX61" fmla="*/ 431314 w 539564"/>
              <a:gd name="connsiteY61" fmla="*/ 356977 h 539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539564" h="539564">
                <a:moveTo>
                  <a:pt x="269782" y="0"/>
                </a:moveTo>
                <a:cubicBezTo>
                  <a:pt x="120923" y="0"/>
                  <a:pt x="0" y="120934"/>
                  <a:pt x="0" y="269782"/>
                </a:cubicBezTo>
                <a:cubicBezTo>
                  <a:pt x="0" y="418631"/>
                  <a:pt x="120923" y="539565"/>
                  <a:pt x="269782" y="539565"/>
                </a:cubicBezTo>
                <a:cubicBezTo>
                  <a:pt x="418642" y="539565"/>
                  <a:pt x="539565" y="418642"/>
                  <a:pt x="539565" y="269782"/>
                </a:cubicBezTo>
                <a:cubicBezTo>
                  <a:pt x="539565" y="120923"/>
                  <a:pt x="418642" y="0"/>
                  <a:pt x="269782" y="0"/>
                </a:cubicBezTo>
                <a:lnTo>
                  <a:pt x="269782" y="0"/>
                </a:lnTo>
                <a:close/>
                <a:moveTo>
                  <a:pt x="431281" y="356988"/>
                </a:moveTo>
                <a:cubicBezTo>
                  <a:pt x="429442" y="361473"/>
                  <a:pt x="420743" y="367788"/>
                  <a:pt x="390183" y="372535"/>
                </a:cubicBezTo>
                <a:cubicBezTo>
                  <a:pt x="387548" y="373057"/>
                  <a:pt x="386753" y="376215"/>
                  <a:pt x="385175" y="383073"/>
                </a:cubicBezTo>
                <a:cubicBezTo>
                  <a:pt x="384685" y="385567"/>
                  <a:pt x="384064" y="388027"/>
                  <a:pt x="383335" y="390444"/>
                </a:cubicBezTo>
                <a:cubicBezTo>
                  <a:pt x="382540" y="392806"/>
                  <a:pt x="381223" y="393863"/>
                  <a:pt x="378860" y="393863"/>
                </a:cubicBezTo>
                <a:lnTo>
                  <a:pt x="378599" y="393863"/>
                </a:lnTo>
                <a:cubicBezTo>
                  <a:pt x="376280" y="393808"/>
                  <a:pt x="373972" y="393449"/>
                  <a:pt x="371751" y="392806"/>
                </a:cubicBezTo>
                <a:cubicBezTo>
                  <a:pt x="365665" y="391696"/>
                  <a:pt x="359492" y="391086"/>
                  <a:pt x="353308" y="390967"/>
                </a:cubicBezTo>
                <a:cubicBezTo>
                  <a:pt x="348899" y="390934"/>
                  <a:pt x="344490" y="391282"/>
                  <a:pt x="340135" y="392012"/>
                </a:cubicBezTo>
                <a:cubicBezTo>
                  <a:pt x="330913" y="393601"/>
                  <a:pt x="323271" y="399132"/>
                  <a:pt x="314844" y="404924"/>
                </a:cubicBezTo>
                <a:cubicBezTo>
                  <a:pt x="302988" y="413361"/>
                  <a:pt x="290609" y="422049"/>
                  <a:pt x="271372" y="422049"/>
                </a:cubicBezTo>
                <a:lnTo>
                  <a:pt x="267158" y="422049"/>
                </a:lnTo>
                <a:cubicBezTo>
                  <a:pt x="247921" y="422049"/>
                  <a:pt x="235542" y="413361"/>
                  <a:pt x="223686" y="404924"/>
                </a:cubicBezTo>
                <a:cubicBezTo>
                  <a:pt x="215521" y="399121"/>
                  <a:pt x="207617" y="393601"/>
                  <a:pt x="198396" y="392012"/>
                </a:cubicBezTo>
                <a:cubicBezTo>
                  <a:pt x="194041" y="391282"/>
                  <a:pt x="189631" y="390934"/>
                  <a:pt x="185222" y="390967"/>
                </a:cubicBezTo>
                <a:cubicBezTo>
                  <a:pt x="179017" y="391075"/>
                  <a:pt x="172844" y="391783"/>
                  <a:pt x="166779" y="393068"/>
                </a:cubicBezTo>
                <a:cubicBezTo>
                  <a:pt x="164526" y="393623"/>
                  <a:pt x="162240" y="393971"/>
                  <a:pt x="159931" y="394113"/>
                </a:cubicBezTo>
                <a:cubicBezTo>
                  <a:pt x="157710" y="394352"/>
                  <a:pt x="155653" y="392883"/>
                  <a:pt x="155185" y="390694"/>
                </a:cubicBezTo>
                <a:cubicBezTo>
                  <a:pt x="154390" y="388060"/>
                  <a:pt x="153867" y="385425"/>
                  <a:pt x="153345" y="383063"/>
                </a:cubicBezTo>
                <a:cubicBezTo>
                  <a:pt x="152027" y="376737"/>
                  <a:pt x="150971" y="373046"/>
                  <a:pt x="148337" y="372524"/>
                </a:cubicBezTo>
                <a:cubicBezTo>
                  <a:pt x="117777" y="367777"/>
                  <a:pt x="109078" y="361452"/>
                  <a:pt x="107238" y="356977"/>
                </a:cubicBezTo>
                <a:cubicBezTo>
                  <a:pt x="106944" y="356313"/>
                  <a:pt x="106759" y="355594"/>
                  <a:pt x="106715" y="354876"/>
                </a:cubicBezTo>
                <a:cubicBezTo>
                  <a:pt x="106683" y="353167"/>
                  <a:pt x="107924" y="351697"/>
                  <a:pt x="109611" y="351457"/>
                </a:cubicBezTo>
                <a:cubicBezTo>
                  <a:pt x="156502" y="343553"/>
                  <a:pt x="177579" y="295606"/>
                  <a:pt x="178374" y="293494"/>
                </a:cubicBezTo>
                <a:lnTo>
                  <a:pt x="178635" y="293494"/>
                </a:lnTo>
                <a:cubicBezTo>
                  <a:pt x="181531" y="287692"/>
                  <a:pt x="182065" y="282422"/>
                  <a:pt x="180214" y="278481"/>
                </a:cubicBezTo>
                <a:cubicBezTo>
                  <a:pt x="177057" y="270838"/>
                  <a:pt x="166518" y="267409"/>
                  <a:pt x="159659" y="265308"/>
                </a:cubicBezTo>
                <a:cubicBezTo>
                  <a:pt x="158048" y="264861"/>
                  <a:pt x="156469" y="264328"/>
                  <a:pt x="154913" y="263718"/>
                </a:cubicBezTo>
                <a:cubicBezTo>
                  <a:pt x="140944" y="258188"/>
                  <a:pt x="139899" y="252657"/>
                  <a:pt x="140422" y="249761"/>
                </a:cubicBezTo>
                <a:cubicBezTo>
                  <a:pt x="141478" y="244764"/>
                  <a:pt x="147803" y="241323"/>
                  <a:pt x="153334" y="241323"/>
                </a:cubicBezTo>
                <a:cubicBezTo>
                  <a:pt x="154608" y="241302"/>
                  <a:pt x="155871" y="241574"/>
                  <a:pt x="157025" y="242118"/>
                </a:cubicBezTo>
                <a:cubicBezTo>
                  <a:pt x="163350" y="245014"/>
                  <a:pt x="168881" y="246593"/>
                  <a:pt x="173627" y="246593"/>
                </a:cubicBezTo>
                <a:cubicBezTo>
                  <a:pt x="180475" y="246593"/>
                  <a:pt x="183371" y="243697"/>
                  <a:pt x="183644" y="243435"/>
                </a:cubicBezTo>
                <a:cubicBezTo>
                  <a:pt x="183644" y="240267"/>
                  <a:pt x="183382" y="236849"/>
                  <a:pt x="183121" y="233419"/>
                </a:cubicBezTo>
                <a:cubicBezTo>
                  <a:pt x="181804" y="211297"/>
                  <a:pt x="179964" y="183633"/>
                  <a:pt x="187073" y="167825"/>
                </a:cubicBezTo>
                <a:cubicBezTo>
                  <a:pt x="208150" y="120662"/>
                  <a:pt x="252679" y="116982"/>
                  <a:pt x="265852" y="116982"/>
                </a:cubicBezTo>
                <a:lnTo>
                  <a:pt x="272439" y="116982"/>
                </a:lnTo>
                <a:cubicBezTo>
                  <a:pt x="285612" y="116982"/>
                  <a:pt x="330402" y="120662"/>
                  <a:pt x="351479" y="167825"/>
                </a:cubicBezTo>
                <a:cubicBezTo>
                  <a:pt x="358588" y="183633"/>
                  <a:pt x="356748" y="211297"/>
                  <a:pt x="355431" y="233419"/>
                </a:cubicBezTo>
                <a:lnTo>
                  <a:pt x="355431" y="234475"/>
                </a:lnTo>
                <a:cubicBezTo>
                  <a:pt x="355170" y="237371"/>
                  <a:pt x="354908" y="240529"/>
                  <a:pt x="354908" y="243435"/>
                </a:cubicBezTo>
                <a:cubicBezTo>
                  <a:pt x="355170" y="243697"/>
                  <a:pt x="357804" y="246331"/>
                  <a:pt x="363869" y="246593"/>
                </a:cubicBezTo>
                <a:cubicBezTo>
                  <a:pt x="368615" y="246331"/>
                  <a:pt x="373885" y="244753"/>
                  <a:pt x="379677" y="242118"/>
                </a:cubicBezTo>
                <a:cubicBezTo>
                  <a:pt x="381255" y="241443"/>
                  <a:pt x="382965" y="241084"/>
                  <a:pt x="384685" y="241062"/>
                </a:cubicBezTo>
                <a:cubicBezTo>
                  <a:pt x="386601" y="241095"/>
                  <a:pt x="388495" y="241541"/>
                  <a:pt x="390215" y="242379"/>
                </a:cubicBezTo>
                <a:lnTo>
                  <a:pt x="390477" y="242379"/>
                </a:lnTo>
                <a:cubicBezTo>
                  <a:pt x="394951" y="243958"/>
                  <a:pt x="398119" y="247388"/>
                  <a:pt x="398119" y="250817"/>
                </a:cubicBezTo>
                <a:cubicBezTo>
                  <a:pt x="398381" y="253985"/>
                  <a:pt x="395746" y="258982"/>
                  <a:pt x="383629" y="263718"/>
                </a:cubicBezTo>
                <a:cubicBezTo>
                  <a:pt x="382311" y="264252"/>
                  <a:pt x="380733" y="264774"/>
                  <a:pt x="379154" y="265308"/>
                </a:cubicBezTo>
                <a:cubicBezTo>
                  <a:pt x="372045" y="267409"/>
                  <a:pt x="361506" y="270838"/>
                  <a:pt x="358338" y="278481"/>
                </a:cubicBezTo>
                <a:cubicBezTo>
                  <a:pt x="356498" y="282433"/>
                  <a:pt x="357021" y="287702"/>
                  <a:pt x="359917" y="293494"/>
                </a:cubicBezTo>
                <a:lnTo>
                  <a:pt x="360178" y="293494"/>
                </a:lnTo>
                <a:cubicBezTo>
                  <a:pt x="360973" y="295596"/>
                  <a:pt x="382050" y="343553"/>
                  <a:pt x="428941" y="351457"/>
                </a:cubicBezTo>
                <a:cubicBezTo>
                  <a:pt x="430628" y="351708"/>
                  <a:pt x="431880" y="353167"/>
                  <a:pt x="431837" y="354876"/>
                </a:cubicBezTo>
                <a:cubicBezTo>
                  <a:pt x="431782" y="355605"/>
                  <a:pt x="431608" y="356313"/>
                  <a:pt x="431314" y="356977"/>
                </a:cubicBezTo>
                <a:lnTo>
                  <a:pt x="431314" y="356977"/>
                </a:lnTo>
                <a:close/>
              </a:path>
            </a:pathLst>
          </a:custGeom>
          <a:solidFill>
            <a:schemeClr val="tx1"/>
          </a:solidFill>
          <a:ln w="107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6" name="Freeform 385">
            <a:extLst>
              <a:ext uri="{FF2B5EF4-FFF2-40B4-BE49-F238E27FC236}">
                <a16:creationId xmlns:a16="http://schemas.microsoft.com/office/drawing/2014/main" id="{84F8EAAB-7618-9138-352C-9EA1455F3E97}"/>
              </a:ext>
            </a:extLst>
          </p:cNvPr>
          <p:cNvSpPr/>
          <p:nvPr/>
        </p:nvSpPr>
        <p:spPr>
          <a:xfrm>
            <a:off x="6179342" y="5087826"/>
            <a:ext cx="540000" cy="540000"/>
          </a:xfrm>
          <a:custGeom>
            <a:avLst/>
            <a:gdLst>
              <a:gd name="connsiteX0" fmla="*/ 200622 w 540000"/>
              <a:gd name="connsiteY0" fmla="*/ 219733 h 540000"/>
              <a:gd name="connsiteX1" fmla="*/ 207034 w 540000"/>
              <a:gd name="connsiteY1" fmla="*/ 226146 h 540000"/>
              <a:gd name="connsiteX2" fmla="*/ 207034 w 540000"/>
              <a:gd name="connsiteY2" fmla="*/ 271371 h 540000"/>
              <a:gd name="connsiteX3" fmla="*/ 227748 w 540000"/>
              <a:gd name="connsiteY3" fmla="*/ 271371 h 540000"/>
              <a:gd name="connsiteX4" fmla="*/ 232790 w 540000"/>
              <a:gd name="connsiteY4" fmla="*/ 273533 h 540000"/>
              <a:gd name="connsiteX5" fmla="*/ 232800 w 540000"/>
              <a:gd name="connsiteY5" fmla="*/ 273554 h 540000"/>
              <a:gd name="connsiteX6" fmla="*/ 234825 w 540000"/>
              <a:gd name="connsiteY6" fmla="*/ 278416 h 540000"/>
              <a:gd name="connsiteX7" fmla="*/ 228149 w 540000"/>
              <a:gd name="connsiteY7" fmla="*/ 285514 h 540000"/>
              <a:gd name="connsiteX8" fmla="*/ 227928 w 540000"/>
              <a:gd name="connsiteY8" fmla="*/ 285514 h 540000"/>
              <a:gd name="connsiteX9" fmla="*/ 200327 w 540000"/>
              <a:gd name="connsiteY9" fmla="*/ 285514 h 540000"/>
              <a:gd name="connsiteX10" fmla="*/ 193218 w 540000"/>
              <a:gd name="connsiteY10" fmla="*/ 278405 h 540000"/>
              <a:gd name="connsiteX11" fmla="*/ 193218 w 540000"/>
              <a:gd name="connsiteY11" fmla="*/ 226146 h 540000"/>
              <a:gd name="connsiteX12" fmla="*/ 200622 w 540000"/>
              <a:gd name="connsiteY12" fmla="*/ 219733 h 540000"/>
              <a:gd name="connsiteX13" fmla="*/ 312303 w 540000"/>
              <a:gd name="connsiteY13" fmla="*/ 219301 h 540000"/>
              <a:gd name="connsiteX14" fmla="*/ 319190 w 540000"/>
              <a:gd name="connsiteY14" fmla="*/ 226188 h 540000"/>
              <a:gd name="connsiteX15" fmla="*/ 319370 w 540000"/>
              <a:gd name="connsiteY15" fmla="*/ 226156 h 540000"/>
              <a:gd name="connsiteX16" fmla="*/ 319380 w 540000"/>
              <a:gd name="connsiteY16" fmla="*/ 226156 h 540000"/>
              <a:gd name="connsiteX17" fmla="*/ 319380 w 540000"/>
              <a:gd name="connsiteY17" fmla="*/ 278026 h 540000"/>
              <a:gd name="connsiteX18" fmla="*/ 312272 w 540000"/>
              <a:gd name="connsiteY18" fmla="*/ 285135 h 540000"/>
              <a:gd name="connsiteX19" fmla="*/ 307578 w 540000"/>
              <a:gd name="connsiteY19" fmla="*/ 283215 h 540000"/>
              <a:gd name="connsiteX20" fmla="*/ 290165 w 540000"/>
              <a:gd name="connsiteY20" fmla="*/ 260803 h 540000"/>
              <a:gd name="connsiteX21" fmla="*/ 279154 w 540000"/>
              <a:gd name="connsiteY21" fmla="*/ 246596 h 540000"/>
              <a:gd name="connsiteX22" fmla="*/ 279154 w 540000"/>
              <a:gd name="connsiteY22" fmla="*/ 278216 h 540000"/>
              <a:gd name="connsiteX23" fmla="*/ 272552 w 540000"/>
              <a:gd name="connsiteY23" fmla="*/ 285314 h 540000"/>
              <a:gd name="connsiteX24" fmla="*/ 272267 w 540000"/>
              <a:gd name="connsiteY24" fmla="*/ 285314 h 540000"/>
              <a:gd name="connsiteX25" fmla="*/ 267616 w 540000"/>
              <a:gd name="connsiteY25" fmla="*/ 283500 h 540000"/>
              <a:gd name="connsiteX26" fmla="*/ 265338 w 540000"/>
              <a:gd name="connsiteY26" fmla="*/ 278385 h 540000"/>
              <a:gd name="connsiteX27" fmla="*/ 265338 w 540000"/>
              <a:gd name="connsiteY27" fmla="*/ 226441 h 540000"/>
              <a:gd name="connsiteX28" fmla="*/ 272014 w 540000"/>
              <a:gd name="connsiteY28" fmla="*/ 219333 h 540000"/>
              <a:gd name="connsiteX29" fmla="*/ 277414 w 540000"/>
              <a:gd name="connsiteY29" fmla="*/ 221642 h 540000"/>
              <a:gd name="connsiteX30" fmla="*/ 300006 w 540000"/>
              <a:gd name="connsiteY30" fmla="*/ 251058 h 540000"/>
              <a:gd name="connsiteX31" fmla="*/ 305406 w 540000"/>
              <a:gd name="connsiteY31" fmla="*/ 258166 h 540000"/>
              <a:gd name="connsiteX32" fmla="*/ 305406 w 540000"/>
              <a:gd name="connsiteY32" fmla="*/ 226188 h 540000"/>
              <a:gd name="connsiteX33" fmla="*/ 312303 w 540000"/>
              <a:gd name="connsiteY33" fmla="*/ 219301 h 540000"/>
              <a:gd name="connsiteX34" fmla="*/ 246765 w 540000"/>
              <a:gd name="connsiteY34" fmla="*/ 219269 h 540000"/>
              <a:gd name="connsiteX35" fmla="*/ 249781 w 540000"/>
              <a:gd name="connsiteY35" fmla="*/ 219269 h 540000"/>
              <a:gd name="connsiteX36" fmla="*/ 255181 w 540000"/>
              <a:gd name="connsiteY36" fmla="*/ 224669 h 540000"/>
              <a:gd name="connsiteX37" fmla="*/ 255181 w 540000"/>
              <a:gd name="connsiteY37" fmla="*/ 279808 h 540000"/>
              <a:gd name="connsiteX38" fmla="*/ 249781 w 540000"/>
              <a:gd name="connsiteY38" fmla="*/ 285208 h 540000"/>
              <a:gd name="connsiteX39" fmla="*/ 246765 w 540000"/>
              <a:gd name="connsiteY39" fmla="*/ 285208 h 540000"/>
              <a:gd name="connsiteX40" fmla="*/ 241365 w 540000"/>
              <a:gd name="connsiteY40" fmla="*/ 279808 h 540000"/>
              <a:gd name="connsiteX41" fmla="*/ 241365 w 540000"/>
              <a:gd name="connsiteY41" fmla="*/ 224669 h 540000"/>
              <a:gd name="connsiteX42" fmla="*/ 246765 w 540000"/>
              <a:gd name="connsiteY42" fmla="*/ 219269 h 540000"/>
              <a:gd name="connsiteX43" fmla="*/ 336635 w 540000"/>
              <a:gd name="connsiteY43" fmla="*/ 219258 h 540000"/>
              <a:gd name="connsiteX44" fmla="*/ 364236 w 540000"/>
              <a:gd name="connsiteY44" fmla="*/ 219258 h 540000"/>
              <a:gd name="connsiteX45" fmla="*/ 371640 w 540000"/>
              <a:gd name="connsiteY45" fmla="*/ 225671 h 540000"/>
              <a:gd name="connsiteX46" fmla="*/ 365228 w 540000"/>
              <a:gd name="connsiteY46" fmla="*/ 233075 h 540000"/>
              <a:gd name="connsiteX47" fmla="*/ 364236 w 540000"/>
              <a:gd name="connsiteY47" fmla="*/ 233075 h 540000"/>
              <a:gd name="connsiteX48" fmla="*/ 343564 w 540000"/>
              <a:gd name="connsiteY48" fmla="*/ 233075 h 540000"/>
              <a:gd name="connsiteX49" fmla="*/ 343575 w 540000"/>
              <a:gd name="connsiteY49" fmla="*/ 233085 h 540000"/>
              <a:gd name="connsiteX50" fmla="*/ 343575 w 540000"/>
              <a:gd name="connsiteY50" fmla="*/ 245341 h 540000"/>
              <a:gd name="connsiteX51" fmla="*/ 364247 w 540000"/>
              <a:gd name="connsiteY51" fmla="*/ 245341 h 540000"/>
              <a:gd name="connsiteX52" fmla="*/ 371345 w 540000"/>
              <a:gd name="connsiteY52" fmla="*/ 251943 h 540000"/>
              <a:gd name="connsiteX53" fmla="*/ 371345 w 540000"/>
              <a:gd name="connsiteY53" fmla="*/ 252228 h 540000"/>
              <a:gd name="connsiteX54" fmla="*/ 364458 w 540000"/>
              <a:gd name="connsiteY54" fmla="*/ 259125 h 540000"/>
              <a:gd name="connsiteX55" fmla="*/ 364236 w 540000"/>
              <a:gd name="connsiteY55" fmla="*/ 259125 h 540000"/>
              <a:gd name="connsiteX56" fmla="*/ 343564 w 540000"/>
              <a:gd name="connsiteY56" fmla="*/ 259125 h 540000"/>
              <a:gd name="connsiteX57" fmla="*/ 343564 w 540000"/>
              <a:gd name="connsiteY57" fmla="*/ 271381 h 540000"/>
              <a:gd name="connsiteX58" fmla="*/ 364236 w 540000"/>
              <a:gd name="connsiteY58" fmla="*/ 271381 h 540000"/>
              <a:gd name="connsiteX59" fmla="*/ 369141 w 540000"/>
              <a:gd name="connsiteY59" fmla="*/ 273406 h 540000"/>
              <a:gd name="connsiteX60" fmla="*/ 369204 w 540000"/>
              <a:gd name="connsiteY60" fmla="*/ 283151 h 540000"/>
              <a:gd name="connsiteX61" fmla="*/ 364247 w 540000"/>
              <a:gd name="connsiteY61" fmla="*/ 285197 h 540000"/>
              <a:gd name="connsiteX62" fmla="*/ 336646 w 540000"/>
              <a:gd name="connsiteY62" fmla="*/ 285197 h 540000"/>
              <a:gd name="connsiteX63" fmla="*/ 329748 w 540000"/>
              <a:gd name="connsiteY63" fmla="*/ 278310 h 540000"/>
              <a:gd name="connsiteX64" fmla="*/ 329748 w 540000"/>
              <a:gd name="connsiteY64" fmla="*/ 278089 h 540000"/>
              <a:gd name="connsiteX65" fmla="*/ 329748 w 540000"/>
              <a:gd name="connsiteY65" fmla="*/ 226145 h 540000"/>
              <a:gd name="connsiteX66" fmla="*/ 336635 w 540000"/>
              <a:gd name="connsiteY66" fmla="*/ 219258 h 540000"/>
              <a:gd name="connsiteX67" fmla="*/ 270000 w 540000"/>
              <a:gd name="connsiteY67" fmla="*/ 142298 h 540000"/>
              <a:gd name="connsiteX68" fmla="*/ 135000 w 540000"/>
              <a:gd name="connsiteY68" fmla="*/ 249655 h 540000"/>
              <a:gd name="connsiteX69" fmla="*/ 198946 w 540000"/>
              <a:gd name="connsiteY69" fmla="*/ 341065 h 540000"/>
              <a:gd name="connsiteX70" fmla="*/ 252239 w 540000"/>
              <a:gd name="connsiteY70" fmla="*/ 356052 h 540000"/>
              <a:gd name="connsiteX71" fmla="*/ 258778 w 540000"/>
              <a:gd name="connsiteY71" fmla="*/ 364184 h 540000"/>
              <a:gd name="connsiteX72" fmla="*/ 255941 w 540000"/>
              <a:gd name="connsiteY72" fmla="*/ 389549 h 540000"/>
              <a:gd name="connsiteX73" fmla="*/ 256700 w 540000"/>
              <a:gd name="connsiteY73" fmla="*/ 393746 h 540000"/>
              <a:gd name="connsiteX74" fmla="*/ 266593 w 540000"/>
              <a:gd name="connsiteY74" fmla="*/ 396942 h 540000"/>
              <a:gd name="connsiteX75" fmla="*/ 375870 w 540000"/>
              <a:gd name="connsiteY75" fmla="*/ 318220 h 540000"/>
              <a:gd name="connsiteX76" fmla="*/ 393630 w 540000"/>
              <a:gd name="connsiteY76" fmla="*/ 292887 h 540000"/>
              <a:gd name="connsiteX77" fmla="*/ 403966 w 540000"/>
              <a:gd name="connsiteY77" fmla="*/ 263324 h 540000"/>
              <a:gd name="connsiteX78" fmla="*/ 405000 w 540000"/>
              <a:gd name="connsiteY78" fmla="*/ 255150 h 540000"/>
              <a:gd name="connsiteX79" fmla="*/ 405000 w 540000"/>
              <a:gd name="connsiteY79" fmla="*/ 244677 h 540000"/>
              <a:gd name="connsiteX80" fmla="*/ 365924 w 540000"/>
              <a:gd name="connsiteY80" fmla="*/ 174055 h 540000"/>
              <a:gd name="connsiteX81" fmla="*/ 270000 w 540000"/>
              <a:gd name="connsiteY81" fmla="*/ 142298 h 540000"/>
              <a:gd name="connsiteX82" fmla="*/ 270000 w 540000"/>
              <a:gd name="connsiteY82" fmla="*/ 0 h 540000"/>
              <a:gd name="connsiteX83" fmla="*/ 540000 w 540000"/>
              <a:gd name="connsiteY83" fmla="*/ 270000 h 540000"/>
              <a:gd name="connsiteX84" fmla="*/ 270000 w 540000"/>
              <a:gd name="connsiteY84" fmla="*/ 540000 h 540000"/>
              <a:gd name="connsiteX85" fmla="*/ 0 w 540000"/>
              <a:gd name="connsiteY85" fmla="*/ 270000 h 540000"/>
              <a:gd name="connsiteX86" fmla="*/ 270000 w 540000"/>
              <a:gd name="connsiteY86" fmla="*/ 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540000" h="540000">
                <a:moveTo>
                  <a:pt x="200622" y="219733"/>
                </a:moveTo>
                <a:cubicBezTo>
                  <a:pt x="204060" y="219976"/>
                  <a:pt x="206792" y="222707"/>
                  <a:pt x="207034" y="226146"/>
                </a:cubicBezTo>
                <a:lnTo>
                  <a:pt x="207034" y="271371"/>
                </a:lnTo>
                <a:lnTo>
                  <a:pt x="227748" y="271371"/>
                </a:lnTo>
                <a:cubicBezTo>
                  <a:pt x="229657" y="271360"/>
                  <a:pt x="231482" y="272141"/>
                  <a:pt x="232790" y="273533"/>
                </a:cubicBezTo>
                <a:lnTo>
                  <a:pt x="232800" y="273554"/>
                </a:lnTo>
                <a:cubicBezTo>
                  <a:pt x="234108" y="274830"/>
                  <a:pt x="234836" y="276591"/>
                  <a:pt x="234825" y="278416"/>
                </a:cubicBezTo>
                <a:cubicBezTo>
                  <a:pt x="234941" y="282223"/>
                  <a:pt x="231957" y="285398"/>
                  <a:pt x="228149" y="285514"/>
                </a:cubicBezTo>
                <a:cubicBezTo>
                  <a:pt x="228075" y="285514"/>
                  <a:pt x="228002" y="285514"/>
                  <a:pt x="227928" y="285514"/>
                </a:cubicBezTo>
                <a:lnTo>
                  <a:pt x="200327" y="285514"/>
                </a:lnTo>
                <a:cubicBezTo>
                  <a:pt x="196403" y="285514"/>
                  <a:pt x="193218" y="282329"/>
                  <a:pt x="193218" y="278405"/>
                </a:cubicBezTo>
                <a:lnTo>
                  <a:pt x="193218" y="226146"/>
                </a:lnTo>
                <a:cubicBezTo>
                  <a:pt x="193492" y="222328"/>
                  <a:pt x="196804" y="219459"/>
                  <a:pt x="200622" y="219733"/>
                </a:cubicBezTo>
                <a:close/>
                <a:moveTo>
                  <a:pt x="312303" y="219301"/>
                </a:moveTo>
                <a:cubicBezTo>
                  <a:pt x="316100" y="219301"/>
                  <a:pt x="319180" y="222381"/>
                  <a:pt x="319190" y="226188"/>
                </a:cubicBezTo>
                <a:lnTo>
                  <a:pt x="319370" y="226156"/>
                </a:lnTo>
                <a:lnTo>
                  <a:pt x="319380" y="226156"/>
                </a:lnTo>
                <a:lnTo>
                  <a:pt x="319380" y="278026"/>
                </a:lnTo>
                <a:cubicBezTo>
                  <a:pt x="319380" y="281949"/>
                  <a:pt x="316195" y="285135"/>
                  <a:pt x="312272" y="285135"/>
                </a:cubicBezTo>
                <a:cubicBezTo>
                  <a:pt x="310521" y="285135"/>
                  <a:pt x="308833" y="284449"/>
                  <a:pt x="307578" y="283215"/>
                </a:cubicBezTo>
                <a:cubicBezTo>
                  <a:pt x="307325" y="283215"/>
                  <a:pt x="298054" y="270991"/>
                  <a:pt x="290165" y="260803"/>
                </a:cubicBezTo>
                <a:lnTo>
                  <a:pt x="279154" y="246596"/>
                </a:lnTo>
                <a:lnTo>
                  <a:pt x="279154" y="278216"/>
                </a:lnTo>
                <a:cubicBezTo>
                  <a:pt x="279292" y="282002"/>
                  <a:pt x="276338" y="285177"/>
                  <a:pt x="272552" y="285314"/>
                </a:cubicBezTo>
                <a:cubicBezTo>
                  <a:pt x="272457" y="285314"/>
                  <a:pt x="272362" y="285314"/>
                  <a:pt x="272267" y="285314"/>
                </a:cubicBezTo>
                <a:cubicBezTo>
                  <a:pt x="270548" y="285293"/>
                  <a:pt x="268892" y="284649"/>
                  <a:pt x="267616" y="283500"/>
                </a:cubicBezTo>
                <a:cubicBezTo>
                  <a:pt x="266161" y="282203"/>
                  <a:pt x="265338" y="280336"/>
                  <a:pt x="265338" y="278385"/>
                </a:cubicBezTo>
                <a:lnTo>
                  <a:pt x="265338" y="226441"/>
                </a:lnTo>
                <a:cubicBezTo>
                  <a:pt x="265338" y="222676"/>
                  <a:pt x="268259" y="219565"/>
                  <a:pt x="272014" y="219333"/>
                </a:cubicBezTo>
                <a:cubicBezTo>
                  <a:pt x="274060" y="219290"/>
                  <a:pt x="276033" y="220134"/>
                  <a:pt x="277414" y="221642"/>
                </a:cubicBezTo>
                <a:cubicBezTo>
                  <a:pt x="277699" y="222001"/>
                  <a:pt x="291979" y="240542"/>
                  <a:pt x="300006" y="251058"/>
                </a:cubicBezTo>
                <a:cubicBezTo>
                  <a:pt x="303201" y="255181"/>
                  <a:pt x="305406" y="258166"/>
                  <a:pt x="305406" y="258166"/>
                </a:cubicBezTo>
                <a:lnTo>
                  <a:pt x="305406" y="226188"/>
                </a:lnTo>
                <a:cubicBezTo>
                  <a:pt x="305406" y="222381"/>
                  <a:pt x="308496" y="219301"/>
                  <a:pt x="312303" y="219301"/>
                </a:cubicBezTo>
                <a:close/>
                <a:moveTo>
                  <a:pt x="246765" y="219269"/>
                </a:moveTo>
                <a:lnTo>
                  <a:pt x="249781" y="219269"/>
                </a:lnTo>
                <a:cubicBezTo>
                  <a:pt x="252764" y="219269"/>
                  <a:pt x="255181" y="221687"/>
                  <a:pt x="255181" y="224669"/>
                </a:cubicBezTo>
                <a:lnTo>
                  <a:pt x="255181" y="279808"/>
                </a:lnTo>
                <a:cubicBezTo>
                  <a:pt x="255181" y="282790"/>
                  <a:pt x="252764" y="285208"/>
                  <a:pt x="249781" y="285208"/>
                </a:cubicBezTo>
                <a:lnTo>
                  <a:pt x="246765" y="285208"/>
                </a:lnTo>
                <a:cubicBezTo>
                  <a:pt x="243783" y="285208"/>
                  <a:pt x="241365" y="282790"/>
                  <a:pt x="241365" y="279808"/>
                </a:cubicBezTo>
                <a:lnTo>
                  <a:pt x="241365" y="224669"/>
                </a:lnTo>
                <a:cubicBezTo>
                  <a:pt x="241365" y="221687"/>
                  <a:pt x="243783" y="219269"/>
                  <a:pt x="246765" y="219269"/>
                </a:cubicBezTo>
                <a:close/>
                <a:moveTo>
                  <a:pt x="336635" y="219258"/>
                </a:moveTo>
                <a:lnTo>
                  <a:pt x="364236" y="219258"/>
                </a:lnTo>
                <a:cubicBezTo>
                  <a:pt x="368054" y="218984"/>
                  <a:pt x="371366" y="221853"/>
                  <a:pt x="371640" y="225671"/>
                </a:cubicBezTo>
                <a:cubicBezTo>
                  <a:pt x="371914" y="229489"/>
                  <a:pt x="369046" y="232800"/>
                  <a:pt x="365228" y="233075"/>
                </a:cubicBezTo>
                <a:cubicBezTo>
                  <a:pt x="364901" y="233096"/>
                  <a:pt x="364563" y="233096"/>
                  <a:pt x="364236" y="233075"/>
                </a:cubicBezTo>
                <a:lnTo>
                  <a:pt x="343564" y="233075"/>
                </a:lnTo>
                <a:lnTo>
                  <a:pt x="343575" y="233085"/>
                </a:lnTo>
                <a:lnTo>
                  <a:pt x="343575" y="245341"/>
                </a:lnTo>
                <a:lnTo>
                  <a:pt x="364247" y="245341"/>
                </a:lnTo>
                <a:cubicBezTo>
                  <a:pt x="368033" y="245203"/>
                  <a:pt x="371208" y="248157"/>
                  <a:pt x="371345" y="251943"/>
                </a:cubicBezTo>
                <a:cubicBezTo>
                  <a:pt x="371345" y="252038"/>
                  <a:pt x="371345" y="252133"/>
                  <a:pt x="371345" y="252228"/>
                </a:cubicBezTo>
                <a:cubicBezTo>
                  <a:pt x="371345" y="256035"/>
                  <a:pt x="368265" y="259125"/>
                  <a:pt x="364458" y="259125"/>
                </a:cubicBezTo>
                <a:cubicBezTo>
                  <a:pt x="364384" y="259125"/>
                  <a:pt x="364310" y="259125"/>
                  <a:pt x="364236" y="259125"/>
                </a:cubicBezTo>
                <a:lnTo>
                  <a:pt x="343564" y="259125"/>
                </a:lnTo>
                <a:lnTo>
                  <a:pt x="343564" y="271381"/>
                </a:lnTo>
                <a:lnTo>
                  <a:pt x="364236" y="271381"/>
                </a:lnTo>
                <a:cubicBezTo>
                  <a:pt x="366071" y="271402"/>
                  <a:pt x="367822" y="272119"/>
                  <a:pt x="369141" y="273406"/>
                </a:cubicBezTo>
                <a:cubicBezTo>
                  <a:pt x="371851" y="276085"/>
                  <a:pt x="371872" y="280441"/>
                  <a:pt x="369204" y="283151"/>
                </a:cubicBezTo>
                <a:cubicBezTo>
                  <a:pt x="367896" y="284480"/>
                  <a:pt x="366103" y="285218"/>
                  <a:pt x="364247" y="285197"/>
                </a:cubicBezTo>
                <a:lnTo>
                  <a:pt x="336646" y="285197"/>
                </a:lnTo>
                <a:cubicBezTo>
                  <a:pt x="332838" y="285197"/>
                  <a:pt x="329748" y="282117"/>
                  <a:pt x="329748" y="278310"/>
                </a:cubicBezTo>
                <a:cubicBezTo>
                  <a:pt x="329748" y="278236"/>
                  <a:pt x="329748" y="278162"/>
                  <a:pt x="329748" y="278089"/>
                </a:cubicBezTo>
                <a:lnTo>
                  <a:pt x="329748" y="226145"/>
                </a:lnTo>
                <a:cubicBezTo>
                  <a:pt x="329864" y="222391"/>
                  <a:pt x="332880" y="219364"/>
                  <a:pt x="336635" y="219258"/>
                </a:cubicBezTo>
                <a:close/>
                <a:moveTo>
                  <a:pt x="270000" y="142298"/>
                </a:moveTo>
                <a:cubicBezTo>
                  <a:pt x="195391" y="142298"/>
                  <a:pt x="135000" y="190361"/>
                  <a:pt x="135000" y="249655"/>
                </a:cubicBezTo>
                <a:cubicBezTo>
                  <a:pt x="135000" y="288162"/>
                  <a:pt x="160545" y="321986"/>
                  <a:pt x="198946" y="341065"/>
                </a:cubicBezTo>
                <a:cubicBezTo>
                  <a:pt x="215684" y="349186"/>
                  <a:pt x="233729" y="354259"/>
                  <a:pt x="252239" y="356052"/>
                </a:cubicBezTo>
                <a:cubicBezTo>
                  <a:pt x="256289" y="356495"/>
                  <a:pt x="259211" y="360134"/>
                  <a:pt x="258778" y="364184"/>
                </a:cubicBezTo>
                <a:lnTo>
                  <a:pt x="255941" y="389549"/>
                </a:lnTo>
                <a:cubicBezTo>
                  <a:pt x="255772" y="390994"/>
                  <a:pt x="256036" y="392449"/>
                  <a:pt x="256700" y="393746"/>
                </a:cubicBezTo>
                <a:cubicBezTo>
                  <a:pt x="258546" y="397364"/>
                  <a:pt x="262976" y="398798"/>
                  <a:pt x="266593" y="396942"/>
                </a:cubicBezTo>
                <a:cubicBezTo>
                  <a:pt x="322576" y="369984"/>
                  <a:pt x="355904" y="342236"/>
                  <a:pt x="375870" y="318220"/>
                </a:cubicBezTo>
                <a:cubicBezTo>
                  <a:pt x="379424" y="313843"/>
                  <a:pt x="391215" y="297253"/>
                  <a:pt x="393630" y="292887"/>
                </a:cubicBezTo>
                <a:cubicBezTo>
                  <a:pt x="398756" y="283700"/>
                  <a:pt x="402258" y="273702"/>
                  <a:pt x="403966" y="263324"/>
                </a:cubicBezTo>
                <a:cubicBezTo>
                  <a:pt x="404473" y="260624"/>
                  <a:pt x="404821" y="257892"/>
                  <a:pt x="405000" y="255150"/>
                </a:cubicBezTo>
                <a:lnTo>
                  <a:pt x="405000" y="244677"/>
                </a:lnTo>
                <a:cubicBezTo>
                  <a:pt x="403407" y="217150"/>
                  <a:pt x="388768" y="192312"/>
                  <a:pt x="365924" y="174055"/>
                </a:cubicBezTo>
                <a:cubicBezTo>
                  <a:pt x="341297" y="154448"/>
                  <a:pt x="307441" y="142298"/>
                  <a:pt x="270000" y="142298"/>
                </a:cubicBezTo>
                <a:close/>
                <a:moveTo>
                  <a:pt x="270000" y="0"/>
                </a:moveTo>
                <a:cubicBezTo>
                  <a:pt x="419112" y="0"/>
                  <a:pt x="540000" y="120888"/>
                  <a:pt x="540000" y="270000"/>
                </a:cubicBezTo>
                <a:cubicBezTo>
                  <a:pt x="540000" y="419112"/>
                  <a:pt x="419112" y="540000"/>
                  <a:pt x="270000" y="540000"/>
                </a:cubicBezTo>
                <a:cubicBezTo>
                  <a:pt x="120888" y="540000"/>
                  <a:pt x="0" y="419112"/>
                  <a:pt x="0" y="270000"/>
                </a:cubicBezTo>
                <a:cubicBezTo>
                  <a:pt x="0" y="120888"/>
                  <a:pt x="120888" y="0"/>
                  <a:pt x="270000" y="0"/>
                </a:cubicBezTo>
                <a:close/>
              </a:path>
            </a:pathLst>
          </a:custGeom>
          <a:solidFill>
            <a:schemeClr val="tx1"/>
          </a:solidFill>
          <a:ln w="104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7" name="Freeform 386">
            <a:extLst>
              <a:ext uri="{FF2B5EF4-FFF2-40B4-BE49-F238E27FC236}">
                <a16:creationId xmlns:a16="http://schemas.microsoft.com/office/drawing/2014/main" id="{BE84CAFD-B539-A372-EA97-7D051663EB3B}"/>
              </a:ext>
            </a:extLst>
          </p:cNvPr>
          <p:cNvSpPr/>
          <p:nvPr/>
        </p:nvSpPr>
        <p:spPr>
          <a:xfrm>
            <a:off x="6871591" y="5087826"/>
            <a:ext cx="540000" cy="540000"/>
          </a:xfrm>
          <a:custGeom>
            <a:avLst/>
            <a:gdLst>
              <a:gd name="connsiteX0" fmla="*/ 293487 w 540000"/>
              <a:gd name="connsiteY0" fmla="*/ 270284 h 540000"/>
              <a:gd name="connsiteX1" fmla="*/ 307694 w 540000"/>
              <a:gd name="connsiteY1" fmla="*/ 277139 h 540000"/>
              <a:gd name="connsiteX2" fmla="*/ 307694 w 540000"/>
              <a:gd name="connsiteY2" fmla="*/ 284490 h 540000"/>
              <a:gd name="connsiteX3" fmla="*/ 293487 w 540000"/>
              <a:gd name="connsiteY3" fmla="*/ 291103 h 540000"/>
              <a:gd name="connsiteX4" fmla="*/ 286874 w 540000"/>
              <a:gd name="connsiteY4" fmla="*/ 276897 h 540000"/>
              <a:gd name="connsiteX5" fmla="*/ 293487 w 540000"/>
              <a:gd name="connsiteY5" fmla="*/ 270284 h 540000"/>
              <a:gd name="connsiteX6" fmla="*/ 350441 w 540000"/>
              <a:gd name="connsiteY6" fmla="*/ 269673 h 540000"/>
              <a:gd name="connsiteX7" fmla="*/ 362359 w 540000"/>
              <a:gd name="connsiteY7" fmla="*/ 280304 h 540000"/>
              <a:gd name="connsiteX8" fmla="*/ 361410 w 540000"/>
              <a:gd name="connsiteY8" fmla="*/ 285514 h 540000"/>
              <a:gd name="connsiteX9" fmla="*/ 361410 w 540000"/>
              <a:gd name="connsiteY9" fmla="*/ 285525 h 540000"/>
              <a:gd name="connsiteX10" fmla="*/ 346254 w 540000"/>
              <a:gd name="connsiteY10" fmla="*/ 290419 h 540000"/>
              <a:gd name="connsiteX11" fmla="*/ 343649 w 540000"/>
              <a:gd name="connsiteY11" fmla="*/ 288573 h 540000"/>
              <a:gd name="connsiteX12" fmla="*/ 339778 w 540000"/>
              <a:gd name="connsiteY12" fmla="*/ 280336 h 540000"/>
              <a:gd name="connsiteX13" fmla="*/ 350441 w 540000"/>
              <a:gd name="connsiteY13" fmla="*/ 269673 h 540000"/>
              <a:gd name="connsiteX14" fmla="*/ 311313 w 540000"/>
              <a:gd name="connsiteY14" fmla="*/ 233359 h 540000"/>
              <a:gd name="connsiteX15" fmla="*/ 248959 w 540000"/>
              <a:gd name="connsiteY15" fmla="*/ 334874 h 540000"/>
              <a:gd name="connsiteX16" fmla="*/ 353552 w 540000"/>
              <a:gd name="connsiteY16" fmla="*/ 368307 h 540000"/>
              <a:gd name="connsiteX17" fmla="*/ 380626 w 540000"/>
              <a:gd name="connsiteY17" fmla="*/ 382514 h 540000"/>
              <a:gd name="connsiteX18" fmla="*/ 373022 w 540000"/>
              <a:gd name="connsiteY18" fmla="*/ 358815 h 540000"/>
              <a:gd name="connsiteX19" fmla="*/ 373011 w 540000"/>
              <a:gd name="connsiteY19" fmla="*/ 358826 h 540000"/>
              <a:gd name="connsiteX20" fmla="*/ 364985 w 540000"/>
              <a:gd name="connsiteY20" fmla="*/ 243042 h 540000"/>
              <a:gd name="connsiteX21" fmla="*/ 311313 w 540000"/>
              <a:gd name="connsiteY21" fmla="*/ 233359 h 540000"/>
              <a:gd name="connsiteX22" fmla="*/ 195075 w 540000"/>
              <a:gd name="connsiteY22" fmla="*/ 198946 h 540000"/>
              <a:gd name="connsiteX23" fmla="*/ 208111 w 540000"/>
              <a:gd name="connsiteY23" fmla="*/ 201045 h 540000"/>
              <a:gd name="connsiteX24" fmla="*/ 210632 w 540000"/>
              <a:gd name="connsiteY24" fmla="*/ 220472 h 540000"/>
              <a:gd name="connsiteX25" fmla="*/ 191204 w 540000"/>
              <a:gd name="connsiteY25" fmla="*/ 222993 h 540000"/>
              <a:gd name="connsiteX26" fmla="*/ 187175 w 540000"/>
              <a:gd name="connsiteY26" fmla="*/ 217424 h 540000"/>
              <a:gd name="connsiteX27" fmla="*/ 195075 w 540000"/>
              <a:gd name="connsiteY27" fmla="*/ 198946 h 540000"/>
              <a:gd name="connsiteX28" fmla="*/ 267743 w 540000"/>
              <a:gd name="connsiteY28" fmla="*/ 198482 h 540000"/>
              <a:gd name="connsiteX29" fmla="*/ 281148 w 540000"/>
              <a:gd name="connsiteY29" fmla="*/ 212699 h 540000"/>
              <a:gd name="connsiteX30" fmla="*/ 258736 w 540000"/>
              <a:gd name="connsiteY30" fmla="*/ 222961 h 540000"/>
              <a:gd name="connsiteX31" fmla="*/ 258736 w 540000"/>
              <a:gd name="connsiteY31" fmla="*/ 222971 h 540000"/>
              <a:gd name="connsiteX32" fmla="*/ 258736 w 540000"/>
              <a:gd name="connsiteY32" fmla="*/ 223109 h 540000"/>
              <a:gd name="connsiteX33" fmla="*/ 253526 w 540000"/>
              <a:gd name="connsiteY33" fmla="*/ 211887 h 540000"/>
              <a:gd name="connsiteX34" fmla="*/ 267743 w 540000"/>
              <a:gd name="connsiteY34" fmla="*/ 198482 h 540000"/>
              <a:gd name="connsiteX35" fmla="*/ 234330 w 540000"/>
              <a:gd name="connsiteY35" fmla="*/ 157518 h 540000"/>
              <a:gd name="connsiteX36" fmla="*/ 137415 w 540000"/>
              <a:gd name="connsiteY36" fmla="*/ 258630 h 540000"/>
              <a:gd name="connsiteX37" fmla="*/ 174076 w 540000"/>
              <a:gd name="connsiteY37" fmla="*/ 308370 h 540000"/>
              <a:gd name="connsiteX38" fmla="*/ 164310 w 540000"/>
              <a:gd name="connsiteY38" fmla="*/ 337500 h 540000"/>
              <a:gd name="connsiteX39" fmla="*/ 197205 w 540000"/>
              <a:gd name="connsiteY39" fmla="*/ 319739 h 540000"/>
              <a:gd name="connsiteX40" fmla="*/ 197205 w 540000"/>
              <a:gd name="connsiteY40" fmla="*/ 319729 h 540000"/>
              <a:gd name="connsiteX41" fmla="*/ 238380 w 540000"/>
              <a:gd name="connsiteY41" fmla="*/ 325382 h 540000"/>
              <a:gd name="connsiteX42" fmla="*/ 330750 w 540000"/>
              <a:gd name="connsiteY42" fmla="*/ 227929 h 540000"/>
              <a:gd name="connsiteX43" fmla="*/ 287761 w 540000"/>
              <a:gd name="connsiteY43" fmla="*/ 171724 h 540000"/>
              <a:gd name="connsiteX44" fmla="*/ 288362 w 540000"/>
              <a:gd name="connsiteY44" fmla="*/ 171724 h 540000"/>
              <a:gd name="connsiteX45" fmla="*/ 234330 w 540000"/>
              <a:gd name="connsiteY45" fmla="*/ 157518 h 540000"/>
              <a:gd name="connsiteX46" fmla="*/ 270000 w 540000"/>
              <a:gd name="connsiteY46" fmla="*/ 0 h 540000"/>
              <a:gd name="connsiteX47" fmla="*/ 540000 w 540000"/>
              <a:gd name="connsiteY47" fmla="*/ 270000 h 540000"/>
              <a:gd name="connsiteX48" fmla="*/ 270000 w 540000"/>
              <a:gd name="connsiteY48" fmla="*/ 540000 h 540000"/>
              <a:gd name="connsiteX49" fmla="*/ 0 w 540000"/>
              <a:gd name="connsiteY49" fmla="*/ 270000 h 540000"/>
              <a:gd name="connsiteX50" fmla="*/ 270000 w 540000"/>
              <a:gd name="connsiteY50" fmla="*/ 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540000" h="540000">
                <a:moveTo>
                  <a:pt x="293487" y="270284"/>
                </a:moveTo>
                <a:cubicBezTo>
                  <a:pt x="299299" y="268248"/>
                  <a:pt x="305669" y="271317"/>
                  <a:pt x="307694" y="277139"/>
                </a:cubicBezTo>
                <a:lnTo>
                  <a:pt x="307694" y="284490"/>
                </a:lnTo>
                <a:cubicBezTo>
                  <a:pt x="305595" y="290239"/>
                  <a:pt x="299235" y="293202"/>
                  <a:pt x="293487" y="291103"/>
                </a:cubicBezTo>
                <a:cubicBezTo>
                  <a:pt x="287739" y="289005"/>
                  <a:pt x="284776" y="282645"/>
                  <a:pt x="286874" y="276897"/>
                </a:cubicBezTo>
                <a:cubicBezTo>
                  <a:pt x="287992" y="273828"/>
                  <a:pt x="290418" y="271402"/>
                  <a:pt x="293487" y="270284"/>
                </a:cubicBezTo>
                <a:close/>
                <a:moveTo>
                  <a:pt x="350441" y="269673"/>
                </a:moveTo>
                <a:cubicBezTo>
                  <a:pt x="356674" y="269314"/>
                  <a:pt x="362011" y="274082"/>
                  <a:pt x="362359" y="280304"/>
                </a:cubicBezTo>
                <a:cubicBezTo>
                  <a:pt x="362464" y="282087"/>
                  <a:pt x="362137" y="283880"/>
                  <a:pt x="361410" y="285514"/>
                </a:cubicBezTo>
                <a:lnTo>
                  <a:pt x="361410" y="285525"/>
                </a:lnTo>
                <a:cubicBezTo>
                  <a:pt x="358573" y="291062"/>
                  <a:pt x="351791" y="293256"/>
                  <a:pt x="346254" y="290419"/>
                </a:cubicBezTo>
                <a:cubicBezTo>
                  <a:pt x="345305" y="289934"/>
                  <a:pt x="344419" y="289311"/>
                  <a:pt x="343649" y="288573"/>
                </a:cubicBezTo>
                <a:cubicBezTo>
                  <a:pt x="341645" y="286221"/>
                  <a:pt x="340305" y="283373"/>
                  <a:pt x="339778" y="280336"/>
                </a:cubicBezTo>
                <a:cubicBezTo>
                  <a:pt x="340949" y="275147"/>
                  <a:pt x="344503" y="269673"/>
                  <a:pt x="350441" y="269673"/>
                </a:cubicBezTo>
                <a:close/>
                <a:moveTo>
                  <a:pt x="311313" y="233359"/>
                </a:moveTo>
                <a:cubicBezTo>
                  <a:pt x="259824" y="239679"/>
                  <a:pt x="220925" y="288884"/>
                  <a:pt x="248959" y="334874"/>
                </a:cubicBezTo>
                <a:cubicBezTo>
                  <a:pt x="266266" y="363762"/>
                  <a:pt x="306271" y="381987"/>
                  <a:pt x="353552" y="368307"/>
                </a:cubicBezTo>
                <a:cubicBezTo>
                  <a:pt x="363045" y="372136"/>
                  <a:pt x="371461" y="378105"/>
                  <a:pt x="380626" y="382514"/>
                </a:cubicBezTo>
                <a:cubicBezTo>
                  <a:pt x="378285" y="374551"/>
                  <a:pt x="375722" y="366662"/>
                  <a:pt x="373022" y="358815"/>
                </a:cubicBezTo>
                <a:lnTo>
                  <a:pt x="373011" y="358826"/>
                </a:lnTo>
                <a:cubicBezTo>
                  <a:pt x="421896" y="323968"/>
                  <a:pt x="411170" y="266456"/>
                  <a:pt x="364985" y="243042"/>
                </a:cubicBezTo>
                <a:cubicBezTo>
                  <a:pt x="347037" y="233911"/>
                  <a:pt x="328475" y="231252"/>
                  <a:pt x="311313" y="233359"/>
                </a:cubicBezTo>
                <a:close/>
                <a:moveTo>
                  <a:pt x="195075" y="198946"/>
                </a:moveTo>
                <a:cubicBezTo>
                  <a:pt x="199494" y="197395"/>
                  <a:pt x="204398" y="198186"/>
                  <a:pt x="208111" y="201045"/>
                </a:cubicBezTo>
                <a:cubicBezTo>
                  <a:pt x="214175" y="205706"/>
                  <a:pt x="215304" y="214407"/>
                  <a:pt x="210632" y="220472"/>
                </a:cubicBezTo>
                <a:cubicBezTo>
                  <a:pt x="205970" y="226536"/>
                  <a:pt x="197269" y="227665"/>
                  <a:pt x="191204" y="222993"/>
                </a:cubicBezTo>
                <a:cubicBezTo>
                  <a:pt x="189422" y="221495"/>
                  <a:pt x="188040" y="219586"/>
                  <a:pt x="187175" y="217424"/>
                </a:cubicBezTo>
                <a:cubicBezTo>
                  <a:pt x="184254" y="210136"/>
                  <a:pt x="187787" y="201867"/>
                  <a:pt x="195075" y="198946"/>
                </a:cubicBezTo>
                <a:close/>
                <a:moveTo>
                  <a:pt x="267743" y="198482"/>
                </a:moveTo>
                <a:cubicBezTo>
                  <a:pt x="275368" y="198703"/>
                  <a:pt x="281370" y="205073"/>
                  <a:pt x="281148" y="212699"/>
                </a:cubicBezTo>
                <a:cubicBezTo>
                  <a:pt x="281264" y="223530"/>
                  <a:pt x="266836" y="230312"/>
                  <a:pt x="258736" y="222961"/>
                </a:cubicBezTo>
                <a:lnTo>
                  <a:pt x="258736" y="222971"/>
                </a:lnTo>
                <a:lnTo>
                  <a:pt x="258736" y="223109"/>
                </a:lnTo>
                <a:cubicBezTo>
                  <a:pt x="255329" y="220398"/>
                  <a:pt x="253399" y="216243"/>
                  <a:pt x="253526" y="211887"/>
                </a:cubicBezTo>
                <a:cubicBezTo>
                  <a:pt x="253747" y="204261"/>
                  <a:pt x="260118" y="198260"/>
                  <a:pt x="267743" y="198482"/>
                </a:cubicBezTo>
                <a:close/>
                <a:moveTo>
                  <a:pt x="234330" y="157518"/>
                </a:moveTo>
                <a:cubicBezTo>
                  <a:pt x="175426" y="157518"/>
                  <a:pt x="123525" y="204947"/>
                  <a:pt x="137415" y="258630"/>
                </a:cubicBezTo>
                <a:cubicBezTo>
                  <a:pt x="142098" y="279345"/>
                  <a:pt x="156632" y="296757"/>
                  <a:pt x="174076" y="308370"/>
                </a:cubicBezTo>
                <a:cubicBezTo>
                  <a:pt x="170617" y="317957"/>
                  <a:pt x="167368" y="327670"/>
                  <a:pt x="164310" y="337500"/>
                </a:cubicBezTo>
                <a:cubicBezTo>
                  <a:pt x="175289" y="331573"/>
                  <a:pt x="186226" y="325561"/>
                  <a:pt x="197205" y="319739"/>
                </a:cubicBezTo>
                <a:lnTo>
                  <a:pt x="197205" y="319729"/>
                </a:lnTo>
                <a:cubicBezTo>
                  <a:pt x="210505" y="323958"/>
                  <a:pt x="224438" y="325877"/>
                  <a:pt x="238380" y="325382"/>
                </a:cubicBezTo>
                <a:cubicBezTo>
                  <a:pt x="220904" y="275780"/>
                  <a:pt x="265243" y="223277"/>
                  <a:pt x="330750" y="227929"/>
                </a:cubicBezTo>
                <a:cubicBezTo>
                  <a:pt x="325213" y="203861"/>
                  <a:pt x="309540" y="183368"/>
                  <a:pt x="287761" y="171724"/>
                </a:cubicBezTo>
                <a:lnTo>
                  <a:pt x="288362" y="171724"/>
                </a:lnTo>
                <a:cubicBezTo>
                  <a:pt x="271888" y="162390"/>
                  <a:pt x="253273" y="157496"/>
                  <a:pt x="234330" y="157518"/>
                </a:cubicBezTo>
                <a:close/>
                <a:moveTo>
                  <a:pt x="270000" y="0"/>
                </a:moveTo>
                <a:cubicBezTo>
                  <a:pt x="419112" y="0"/>
                  <a:pt x="540000" y="120888"/>
                  <a:pt x="540000" y="270000"/>
                </a:cubicBezTo>
                <a:cubicBezTo>
                  <a:pt x="540000" y="419112"/>
                  <a:pt x="419112" y="540000"/>
                  <a:pt x="270000" y="540000"/>
                </a:cubicBezTo>
                <a:cubicBezTo>
                  <a:pt x="120888" y="540000"/>
                  <a:pt x="0" y="419112"/>
                  <a:pt x="0" y="270000"/>
                </a:cubicBezTo>
                <a:cubicBezTo>
                  <a:pt x="0" y="120888"/>
                  <a:pt x="120888" y="0"/>
                  <a:pt x="270000" y="0"/>
                </a:cubicBezTo>
                <a:close/>
              </a:path>
            </a:pathLst>
          </a:custGeom>
          <a:solidFill>
            <a:schemeClr val="tx1"/>
          </a:solidFill>
          <a:ln w="104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1" name="Freeform 390">
            <a:extLst>
              <a:ext uri="{FF2B5EF4-FFF2-40B4-BE49-F238E27FC236}">
                <a16:creationId xmlns:a16="http://schemas.microsoft.com/office/drawing/2014/main" id="{09AF8D58-1535-3AFA-18A5-202E5C59C3DA}"/>
              </a:ext>
            </a:extLst>
          </p:cNvPr>
          <p:cNvSpPr/>
          <p:nvPr/>
        </p:nvSpPr>
        <p:spPr>
          <a:xfrm>
            <a:off x="11025085" y="5087825"/>
            <a:ext cx="540000" cy="540000"/>
          </a:xfrm>
          <a:custGeom>
            <a:avLst/>
            <a:gdLst>
              <a:gd name="connsiteX0" fmla="*/ 255751 w 540000"/>
              <a:gd name="connsiteY0" fmla="*/ 225017 h 540000"/>
              <a:gd name="connsiteX1" fmla="*/ 290988 w 540000"/>
              <a:gd name="connsiteY1" fmla="*/ 261646 h 540000"/>
              <a:gd name="connsiteX2" fmla="*/ 290999 w 540000"/>
              <a:gd name="connsiteY2" fmla="*/ 261646 h 540000"/>
              <a:gd name="connsiteX3" fmla="*/ 357222 w 540000"/>
              <a:gd name="connsiteY3" fmla="*/ 225017 h 540000"/>
              <a:gd name="connsiteX4" fmla="*/ 283394 w 540000"/>
              <a:gd name="connsiteY4" fmla="*/ 303317 h 540000"/>
              <a:gd name="connsiteX5" fmla="*/ 249043 w 540000"/>
              <a:gd name="connsiteY5" fmla="*/ 266656 h 540000"/>
              <a:gd name="connsiteX6" fmla="*/ 181965 w 540000"/>
              <a:gd name="connsiteY6" fmla="*/ 303317 h 540000"/>
              <a:gd name="connsiteX7" fmla="*/ 269989 w 540000"/>
              <a:gd name="connsiteY7" fmla="*/ 135011 h 540000"/>
              <a:gd name="connsiteX8" fmla="*/ 134989 w 540000"/>
              <a:gd name="connsiteY8" fmla="*/ 260023 h 540000"/>
              <a:gd name="connsiteX9" fmla="*/ 185298 w 540000"/>
              <a:gd name="connsiteY9" fmla="*/ 357328 h 540000"/>
              <a:gd name="connsiteX10" fmla="*/ 185298 w 540000"/>
              <a:gd name="connsiteY10" fmla="*/ 405000 h 540000"/>
              <a:gd name="connsiteX11" fmla="*/ 231272 w 540000"/>
              <a:gd name="connsiteY11" fmla="*/ 379772 h 540000"/>
              <a:gd name="connsiteX12" fmla="*/ 269994 w 540000"/>
              <a:gd name="connsiteY12" fmla="*/ 385034 h 540000"/>
              <a:gd name="connsiteX13" fmla="*/ 269989 w 540000"/>
              <a:gd name="connsiteY13" fmla="*/ 385035 h 540000"/>
              <a:gd name="connsiteX14" fmla="*/ 270000 w 540000"/>
              <a:gd name="connsiteY14" fmla="*/ 385035 h 540000"/>
              <a:gd name="connsiteX15" fmla="*/ 269994 w 540000"/>
              <a:gd name="connsiteY15" fmla="*/ 385034 h 540000"/>
              <a:gd name="connsiteX16" fmla="*/ 322558 w 540000"/>
              <a:gd name="connsiteY16" fmla="*/ 375208 h 540000"/>
              <a:gd name="connsiteX17" fmla="*/ 404989 w 540000"/>
              <a:gd name="connsiteY17" fmla="*/ 260023 h 540000"/>
              <a:gd name="connsiteX18" fmla="*/ 269989 w 540000"/>
              <a:gd name="connsiteY18" fmla="*/ 135011 h 540000"/>
              <a:gd name="connsiteX19" fmla="*/ 270000 w 540000"/>
              <a:gd name="connsiteY19" fmla="*/ 0 h 540000"/>
              <a:gd name="connsiteX20" fmla="*/ 540000 w 540000"/>
              <a:gd name="connsiteY20" fmla="*/ 270000 h 540000"/>
              <a:gd name="connsiteX21" fmla="*/ 270000 w 540000"/>
              <a:gd name="connsiteY21" fmla="*/ 540000 h 540000"/>
              <a:gd name="connsiteX22" fmla="*/ 0 w 540000"/>
              <a:gd name="connsiteY22" fmla="*/ 270000 h 540000"/>
              <a:gd name="connsiteX23" fmla="*/ 270000 w 540000"/>
              <a:gd name="connsiteY23" fmla="*/ 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40000" h="540000">
                <a:moveTo>
                  <a:pt x="255751" y="225017"/>
                </a:moveTo>
                <a:lnTo>
                  <a:pt x="290988" y="261646"/>
                </a:lnTo>
                <a:lnTo>
                  <a:pt x="290999" y="261646"/>
                </a:lnTo>
                <a:lnTo>
                  <a:pt x="357222" y="225017"/>
                </a:lnTo>
                <a:lnTo>
                  <a:pt x="283394" y="303317"/>
                </a:lnTo>
                <a:lnTo>
                  <a:pt x="249043" y="266656"/>
                </a:lnTo>
                <a:lnTo>
                  <a:pt x="181965" y="303317"/>
                </a:lnTo>
                <a:close/>
                <a:moveTo>
                  <a:pt x="269989" y="135011"/>
                </a:moveTo>
                <a:cubicBezTo>
                  <a:pt x="195381" y="135011"/>
                  <a:pt x="134989" y="190962"/>
                  <a:pt x="134989" y="260023"/>
                </a:cubicBezTo>
                <a:cubicBezTo>
                  <a:pt x="135359" y="298603"/>
                  <a:pt x="154027" y="334716"/>
                  <a:pt x="185298" y="357328"/>
                </a:cubicBezTo>
                <a:lnTo>
                  <a:pt x="185298" y="405000"/>
                </a:lnTo>
                <a:lnTo>
                  <a:pt x="231272" y="379772"/>
                </a:lnTo>
                <a:lnTo>
                  <a:pt x="269994" y="385034"/>
                </a:lnTo>
                <a:lnTo>
                  <a:pt x="269989" y="385035"/>
                </a:lnTo>
                <a:lnTo>
                  <a:pt x="270000" y="385035"/>
                </a:lnTo>
                <a:lnTo>
                  <a:pt x="269994" y="385034"/>
                </a:lnTo>
                <a:lnTo>
                  <a:pt x="322558" y="375208"/>
                </a:lnTo>
                <a:cubicBezTo>
                  <a:pt x="371019" y="356224"/>
                  <a:pt x="404989" y="311787"/>
                  <a:pt x="404989" y="260023"/>
                </a:cubicBezTo>
                <a:cubicBezTo>
                  <a:pt x="404989" y="191004"/>
                  <a:pt x="344598" y="135011"/>
                  <a:pt x="269989" y="135011"/>
                </a:cubicBezTo>
                <a:close/>
                <a:moveTo>
                  <a:pt x="270000" y="0"/>
                </a:moveTo>
                <a:cubicBezTo>
                  <a:pt x="419112" y="0"/>
                  <a:pt x="540000" y="120888"/>
                  <a:pt x="540000" y="270000"/>
                </a:cubicBezTo>
                <a:cubicBezTo>
                  <a:pt x="540000" y="419112"/>
                  <a:pt x="419112" y="540000"/>
                  <a:pt x="270000" y="540000"/>
                </a:cubicBezTo>
                <a:cubicBezTo>
                  <a:pt x="120888" y="540000"/>
                  <a:pt x="0" y="419112"/>
                  <a:pt x="0" y="270000"/>
                </a:cubicBezTo>
                <a:cubicBezTo>
                  <a:pt x="0" y="120888"/>
                  <a:pt x="120888" y="0"/>
                  <a:pt x="270000" y="0"/>
                </a:cubicBezTo>
                <a:close/>
              </a:path>
            </a:pathLst>
          </a:custGeom>
          <a:solidFill>
            <a:schemeClr val="tx1"/>
          </a:solidFill>
          <a:ln w="104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0" name="Freeform 389">
            <a:extLst>
              <a:ext uri="{FF2B5EF4-FFF2-40B4-BE49-F238E27FC236}">
                <a16:creationId xmlns:a16="http://schemas.microsoft.com/office/drawing/2014/main" id="{06770AD1-C252-60F9-3B3D-4F5AFE9A8F71}"/>
              </a:ext>
            </a:extLst>
          </p:cNvPr>
          <p:cNvSpPr/>
          <p:nvPr/>
        </p:nvSpPr>
        <p:spPr>
          <a:xfrm>
            <a:off x="10332836" y="5087826"/>
            <a:ext cx="540000" cy="540000"/>
          </a:xfrm>
          <a:custGeom>
            <a:avLst/>
            <a:gdLst>
              <a:gd name="connsiteX0" fmla="*/ 227369 w 540000"/>
              <a:gd name="connsiteY0" fmla="*/ 346633 h 540000"/>
              <a:gd name="connsiteX1" fmla="*/ 312166 w 540000"/>
              <a:gd name="connsiteY1" fmla="*/ 346633 h 540000"/>
              <a:gd name="connsiteX2" fmla="*/ 319728 w 540000"/>
              <a:gd name="connsiteY2" fmla="*/ 346633 h 540000"/>
              <a:gd name="connsiteX3" fmla="*/ 319738 w 540000"/>
              <a:gd name="connsiteY3" fmla="*/ 346633 h 540000"/>
              <a:gd name="connsiteX4" fmla="*/ 320034 w 540000"/>
              <a:gd name="connsiteY4" fmla="*/ 354269 h 540000"/>
              <a:gd name="connsiteX5" fmla="*/ 319738 w 540000"/>
              <a:gd name="connsiteY5" fmla="*/ 354565 h 540000"/>
              <a:gd name="connsiteX6" fmla="*/ 219870 w 540000"/>
              <a:gd name="connsiteY6" fmla="*/ 354565 h 540000"/>
              <a:gd name="connsiteX7" fmla="*/ 220281 w 540000"/>
              <a:gd name="connsiteY7" fmla="*/ 346834 h 540000"/>
              <a:gd name="connsiteX8" fmla="*/ 227369 w 540000"/>
              <a:gd name="connsiteY8" fmla="*/ 346633 h 540000"/>
              <a:gd name="connsiteX9" fmla="*/ 319486 w 540000"/>
              <a:gd name="connsiteY9" fmla="*/ 277720 h 540000"/>
              <a:gd name="connsiteX10" fmla="*/ 342077 w 540000"/>
              <a:gd name="connsiteY10" fmla="*/ 300459 h 540000"/>
              <a:gd name="connsiteX11" fmla="*/ 342077 w 540000"/>
              <a:gd name="connsiteY11" fmla="*/ 300638 h 540000"/>
              <a:gd name="connsiteX12" fmla="*/ 342088 w 540000"/>
              <a:gd name="connsiteY12" fmla="*/ 300628 h 540000"/>
              <a:gd name="connsiteX13" fmla="*/ 319180 w 540000"/>
              <a:gd name="connsiteY13" fmla="*/ 322618 h 540000"/>
              <a:gd name="connsiteX14" fmla="*/ 297190 w 540000"/>
              <a:gd name="connsiteY14" fmla="*/ 299710 h 540000"/>
              <a:gd name="connsiteX15" fmla="*/ 319486 w 540000"/>
              <a:gd name="connsiteY15" fmla="*/ 277720 h 540000"/>
              <a:gd name="connsiteX16" fmla="*/ 219596 w 540000"/>
              <a:gd name="connsiteY16" fmla="*/ 277689 h 540000"/>
              <a:gd name="connsiteX17" fmla="*/ 242894 w 540000"/>
              <a:gd name="connsiteY17" fmla="*/ 299995 h 540000"/>
              <a:gd name="connsiteX18" fmla="*/ 242894 w 540000"/>
              <a:gd name="connsiteY18" fmla="*/ 300628 h 540000"/>
              <a:gd name="connsiteX19" fmla="*/ 220588 w 540000"/>
              <a:gd name="connsiteY19" fmla="*/ 323293 h 540000"/>
              <a:gd name="connsiteX20" fmla="*/ 197290 w 540000"/>
              <a:gd name="connsiteY20" fmla="*/ 300987 h 540000"/>
              <a:gd name="connsiteX21" fmla="*/ 219596 w 540000"/>
              <a:gd name="connsiteY21" fmla="*/ 277689 h 540000"/>
              <a:gd name="connsiteX22" fmla="*/ 288046 w 540000"/>
              <a:gd name="connsiteY22" fmla="*/ 140875 h 540000"/>
              <a:gd name="connsiteX23" fmla="*/ 281791 w 540000"/>
              <a:gd name="connsiteY23" fmla="*/ 144956 h 540000"/>
              <a:gd name="connsiteX24" fmla="*/ 264495 w 540000"/>
              <a:gd name="connsiteY24" fmla="*/ 224321 h 540000"/>
              <a:gd name="connsiteX25" fmla="*/ 186901 w 540000"/>
              <a:gd name="connsiteY25" fmla="*/ 249191 h 540000"/>
              <a:gd name="connsiteX26" fmla="*/ 165048 w 540000"/>
              <a:gd name="connsiteY26" fmla="*/ 239773 h 540000"/>
              <a:gd name="connsiteX27" fmla="*/ 152044 w 540000"/>
              <a:gd name="connsiteY27" fmla="*/ 297570 h 540000"/>
              <a:gd name="connsiteX28" fmla="*/ 150557 w 540000"/>
              <a:gd name="connsiteY28" fmla="*/ 311776 h 540000"/>
              <a:gd name="connsiteX29" fmla="*/ 270243 w 540000"/>
              <a:gd name="connsiteY29" fmla="*/ 399347 h 540000"/>
              <a:gd name="connsiteX30" fmla="*/ 390182 w 540000"/>
              <a:gd name="connsiteY30" fmla="*/ 311776 h 540000"/>
              <a:gd name="connsiteX31" fmla="*/ 388441 w 540000"/>
              <a:gd name="connsiteY31" fmla="*/ 297285 h 540000"/>
              <a:gd name="connsiteX32" fmla="*/ 388463 w 540000"/>
              <a:gd name="connsiteY32" fmla="*/ 297295 h 540000"/>
              <a:gd name="connsiteX33" fmla="*/ 375068 w 540000"/>
              <a:gd name="connsiteY33" fmla="*/ 239709 h 540000"/>
              <a:gd name="connsiteX34" fmla="*/ 353500 w 540000"/>
              <a:gd name="connsiteY34" fmla="*/ 248906 h 540000"/>
              <a:gd name="connsiteX35" fmla="*/ 275337 w 540000"/>
              <a:gd name="connsiteY35" fmla="*/ 224469 h 540000"/>
              <a:gd name="connsiteX36" fmla="*/ 291073 w 540000"/>
              <a:gd name="connsiteY36" fmla="*/ 152423 h 540000"/>
              <a:gd name="connsiteX37" fmla="*/ 341276 w 540000"/>
              <a:gd name="connsiteY37" fmla="*/ 163825 h 540000"/>
              <a:gd name="connsiteX38" fmla="*/ 363582 w 540000"/>
              <a:gd name="connsiteY38" fmla="*/ 186490 h 540000"/>
              <a:gd name="connsiteX39" fmla="*/ 383548 w 540000"/>
              <a:gd name="connsiteY39" fmla="*/ 174371 h 540000"/>
              <a:gd name="connsiteX40" fmla="*/ 374024 w 540000"/>
              <a:gd name="connsiteY40" fmla="*/ 143817 h 540000"/>
              <a:gd name="connsiteX41" fmla="*/ 343470 w 540000"/>
              <a:gd name="connsiteY41" fmla="*/ 153341 h 540000"/>
              <a:gd name="connsiteX42" fmla="*/ 270000 w 540000"/>
              <a:gd name="connsiteY42" fmla="*/ 0 h 540000"/>
              <a:gd name="connsiteX43" fmla="*/ 540000 w 540000"/>
              <a:gd name="connsiteY43" fmla="*/ 270000 h 540000"/>
              <a:gd name="connsiteX44" fmla="*/ 270000 w 540000"/>
              <a:gd name="connsiteY44" fmla="*/ 540000 h 540000"/>
              <a:gd name="connsiteX45" fmla="*/ 0 w 540000"/>
              <a:gd name="connsiteY45" fmla="*/ 270000 h 540000"/>
              <a:gd name="connsiteX46" fmla="*/ 270000 w 540000"/>
              <a:gd name="connsiteY46" fmla="*/ 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540000" h="540000">
                <a:moveTo>
                  <a:pt x="227369" y="346633"/>
                </a:moveTo>
                <a:cubicBezTo>
                  <a:pt x="243179" y="363087"/>
                  <a:pt x="295649" y="363371"/>
                  <a:pt x="312166" y="346633"/>
                </a:cubicBezTo>
                <a:cubicBezTo>
                  <a:pt x="314265" y="344566"/>
                  <a:pt x="317629" y="344566"/>
                  <a:pt x="319728" y="346633"/>
                </a:cubicBezTo>
                <a:lnTo>
                  <a:pt x="319738" y="346633"/>
                </a:lnTo>
                <a:cubicBezTo>
                  <a:pt x="321922" y="348658"/>
                  <a:pt x="322059" y="352076"/>
                  <a:pt x="320034" y="354269"/>
                </a:cubicBezTo>
                <a:cubicBezTo>
                  <a:pt x="319939" y="354375"/>
                  <a:pt x="319844" y="354470"/>
                  <a:pt x="319738" y="354565"/>
                </a:cubicBezTo>
                <a:cubicBezTo>
                  <a:pt x="299024" y="375563"/>
                  <a:pt x="240584" y="375563"/>
                  <a:pt x="219870" y="354565"/>
                </a:cubicBezTo>
                <a:cubicBezTo>
                  <a:pt x="217845" y="352318"/>
                  <a:pt x="218035" y="348859"/>
                  <a:pt x="220281" y="346834"/>
                </a:cubicBezTo>
                <a:cubicBezTo>
                  <a:pt x="222275" y="345041"/>
                  <a:pt x="225281" y="344956"/>
                  <a:pt x="227369" y="346633"/>
                </a:cubicBezTo>
                <a:close/>
                <a:moveTo>
                  <a:pt x="319486" y="277720"/>
                </a:moveTo>
                <a:cubicBezTo>
                  <a:pt x="332005" y="277762"/>
                  <a:pt x="342119" y="287940"/>
                  <a:pt x="342077" y="300459"/>
                </a:cubicBezTo>
                <a:cubicBezTo>
                  <a:pt x="342077" y="300522"/>
                  <a:pt x="342077" y="300575"/>
                  <a:pt x="342077" y="300638"/>
                </a:cubicBezTo>
                <a:lnTo>
                  <a:pt x="342088" y="300628"/>
                </a:lnTo>
                <a:cubicBezTo>
                  <a:pt x="341835" y="313020"/>
                  <a:pt x="331573" y="322871"/>
                  <a:pt x="319180" y="322618"/>
                </a:cubicBezTo>
                <a:cubicBezTo>
                  <a:pt x="306787" y="322365"/>
                  <a:pt x="296937" y="312103"/>
                  <a:pt x="297190" y="299710"/>
                </a:cubicBezTo>
                <a:cubicBezTo>
                  <a:pt x="297443" y="287550"/>
                  <a:pt x="307325" y="277804"/>
                  <a:pt x="319486" y="277720"/>
                </a:cubicBezTo>
                <a:close/>
                <a:moveTo>
                  <a:pt x="219596" y="277689"/>
                </a:moveTo>
                <a:cubicBezTo>
                  <a:pt x="232189" y="277414"/>
                  <a:pt x="242620" y="287402"/>
                  <a:pt x="242894" y="299995"/>
                </a:cubicBezTo>
                <a:cubicBezTo>
                  <a:pt x="242894" y="300206"/>
                  <a:pt x="242894" y="300417"/>
                  <a:pt x="242894" y="300628"/>
                </a:cubicBezTo>
                <a:cubicBezTo>
                  <a:pt x="242957" y="313031"/>
                  <a:pt x="232991" y="323156"/>
                  <a:pt x="220588" y="323293"/>
                </a:cubicBezTo>
                <a:cubicBezTo>
                  <a:pt x="207995" y="323567"/>
                  <a:pt x="197564" y="313580"/>
                  <a:pt x="197290" y="300987"/>
                </a:cubicBezTo>
                <a:cubicBezTo>
                  <a:pt x="197015" y="288394"/>
                  <a:pt x="207003" y="277963"/>
                  <a:pt x="219596" y="277689"/>
                </a:cubicBezTo>
                <a:close/>
                <a:moveTo>
                  <a:pt x="288046" y="140875"/>
                </a:moveTo>
                <a:cubicBezTo>
                  <a:pt x="285198" y="140295"/>
                  <a:pt x="282414" y="142119"/>
                  <a:pt x="281791" y="144956"/>
                </a:cubicBezTo>
                <a:lnTo>
                  <a:pt x="264495" y="224321"/>
                </a:lnTo>
                <a:cubicBezTo>
                  <a:pt x="236798" y="225091"/>
                  <a:pt x="209883" y="233719"/>
                  <a:pt x="186901" y="249191"/>
                </a:cubicBezTo>
                <a:cubicBezTo>
                  <a:pt x="181216" y="243179"/>
                  <a:pt x="173317" y="239773"/>
                  <a:pt x="165048" y="239773"/>
                </a:cubicBezTo>
                <a:cubicBezTo>
                  <a:pt x="133429" y="239773"/>
                  <a:pt x="123050" y="282857"/>
                  <a:pt x="152044" y="297570"/>
                </a:cubicBezTo>
                <a:cubicBezTo>
                  <a:pt x="151031" y="302231"/>
                  <a:pt x="150536" y="306998"/>
                  <a:pt x="150557" y="311776"/>
                </a:cubicBezTo>
                <a:cubicBezTo>
                  <a:pt x="150557" y="360271"/>
                  <a:pt x="204019" y="399347"/>
                  <a:pt x="270243" y="399347"/>
                </a:cubicBezTo>
                <a:cubicBezTo>
                  <a:pt x="336466" y="399347"/>
                  <a:pt x="390182" y="360165"/>
                  <a:pt x="390182" y="311776"/>
                </a:cubicBezTo>
                <a:cubicBezTo>
                  <a:pt x="390234" y="306893"/>
                  <a:pt x="389654" y="302020"/>
                  <a:pt x="388441" y="297285"/>
                </a:cubicBezTo>
                <a:lnTo>
                  <a:pt x="388463" y="297295"/>
                </a:lnTo>
                <a:cubicBezTo>
                  <a:pt x="416844" y="282519"/>
                  <a:pt x="406403" y="239741"/>
                  <a:pt x="375068" y="239709"/>
                </a:cubicBezTo>
                <a:cubicBezTo>
                  <a:pt x="366926" y="239730"/>
                  <a:pt x="359153" y="243053"/>
                  <a:pt x="353500" y="248906"/>
                </a:cubicBezTo>
                <a:cubicBezTo>
                  <a:pt x="330339" y="233402"/>
                  <a:pt x="303202" y="224912"/>
                  <a:pt x="275337" y="224469"/>
                </a:cubicBezTo>
                <a:lnTo>
                  <a:pt x="291073" y="152423"/>
                </a:lnTo>
                <a:lnTo>
                  <a:pt x="341276" y="163825"/>
                </a:lnTo>
                <a:cubicBezTo>
                  <a:pt x="341191" y="176238"/>
                  <a:pt x="351169" y="186374"/>
                  <a:pt x="363582" y="186490"/>
                </a:cubicBezTo>
                <a:cubicBezTo>
                  <a:pt x="371967" y="186458"/>
                  <a:pt x="379645" y="181796"/>
                  <a:pt x="383548" y="174371"/>
                </a:cubicBezTo>
                <a:cubicBezTo>
                  <a:pt x="389359" y="163308"/>
                  <a:pt x="385088" y="149629"/>
                  <a:pt x="374024" y="143817"/>
                </a:cubicBezTo>
                <a:cubicBezTo>
                  <a:pt x="362960" y="138006"/>
                  <a:pt x="349281" y="142277"/>
                  <a:pt x="343470" y="153341"/>
                </a:cubicBezTo>
                <a:close/>
                <a:moveTo>
                  <a:pt x="270000" y="0"/>
                </a:moveTo>
                <a:cubicBezTo>
                  <a:pt x="419112" y="0"/>
                  <a:pt x="540000" y="120888"/>
                  <a:pt x="540000" y="270000"/>
                </a:cubicBezTo>
                <a:cubicBezTo>
                  <a:pt x="540000" y="419112"/>
                  <a:pt x="419112" y="540000"/>
                  <a:pt x="270000" y="540000"/>
                </a:cubicBezTo>
                <a:cubicBezTo>
                  <a:pt x="120888" y="540000"/>
                  <a:pt x="0" y="419112"/>
                  <a:pt x="0" y="270000"/>
                </a:cubicBezTo>
                <a:cubicBezTo>
                  <a:pt x="0" y="120888"/>
                  <a:pt x="120888" y="0"/>
                  <a:pt x="270000" y="0"/>
                </a:cubicBezTo>
                <a:close/>
              </a:path>
            </a:pathLst>
          </a:custGeom>
          <a:solidFill>
            <a:schemeClr val="tx1"/>
          </a:solidFill>
          <a:ln w="104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46" name="Graphic 19">
            <a:extLst>
              <a:ext uri="{FF2B5EF4-FFF2-40B4-BE49-F238E27FC236}">
                <a16:creationId xmlns:a16="http://schemas.microsoft.com/office/drawing/2014/main" id="{20D02A7A-86E2-A6BD-852F-5833F2B1A51D}"/>
              </a:ext>
            </a:extLst>
          </p:cNvPr>
          <p:cNvSpPr/>
          <p:nvPr/>
        </p:nvSpPr>
        <p:spPr>
          <a:xfrm>
            <a:off x="9640587" y="5087826"/>
            <a:ext cx="540000" cy="540000"/>
          </a:xfrm>
          <a:custGeom>
            <a:avLst/>
            <a:gdLst>
              <a:gd name="connsiteX0" fmla="*/ 270000 w 540000"/>
              <a:gd name="connsiteY0" fmla="*/ 0 h 540000"/>
              <a:gd name="connsiteX1" fmla="*/ 0 w 540000"/>
              <a:gd name="connsiteY1" fmla="*/ 270000 h 540000"/>
              <a:gd name="connsiteX2" fmla="*/ 270000 w 540000"/>
              <a:gd name="connsiteY2" fmla="*/ 540000 h 540000"/>
              <a:gd name="connsiteX3" fmla="*/ 540000 w 540000"/>
              <a:gd name="connsiteY3" fmla="*/ 270000 h 540000"/>
              <a:gd name="connsiteX4" fmla="*/ 270000 w 540000"/>
              <a:gd name="connsiteY4" fmla="*/ 0 h 540000"/>
              <a:gd name="connsiteX5" fmla="*/ 401446 w 540000"/>
              <a:gd name="connsiteY5" fmla="*/ 220472 h 540000"/>
              <a:gd name="connsiteX6" fmla="*/ 348152 w 540000"/>
              <a:gd name="connsiteY6" fmla="*/ 325023 h 540000"/>
              <a:gd name="connsiteX7" fmla="*/ 266446 w 540000"/>
              <a:gd name="connsiteY7" fmla="*/ 393451 h 540000"/>
              <a:gd name="connsiteX8" fmla="*/ 257418 w 540000"/>
              <a:gd name="connsiteY8" fmla="*/ 394337 h 540000"/>
              <a:gd name="connsiteX9" fmla="*/ 196636 w 540000"/>
              <a:gd name="connsiteY9" fmla="*/ 274609 h 540000"/>
              <a:gd name="connsiteX10" fmla="*/ 174677 w 540000"/>
              <a:gd name="connsiteY10" fmla="*/ 235037 h 540000"/>
              <a:gd name="connsiteX11" fmla="*/ 148711 w 540000"/>
              <a:gd name="connsiteY11" fmla="*/ 248896 h 540000"/>
              <a:gd name="connsiteX12" fmla="*/ 148426 w 540000"/>
              <a:gd name="connsiteY12" fmla="*/ 249149 h 540000"/>
              <a:gd name="connsiteX13" fmla="*/ 138554 w 540000"/>
              <a:gd name="connsiteY13" fmla="*/ 247693 h 540000"/>
              <a:gd name="connsiteX14" fmla="*/ 132943 w 540000"/>
              <a:gd name="connsiteY14" fmla="*/ 240585 h 540000"/>
              <a:gd name="connsiteX15" fmla="*/ 133935 w 540000"/>
              <a:gd name="connsiteY15" fmla="*/ 230713 h 540000"/>
              <a:gd name="connsiteX16" fmla="*/ 138554 w 540000"/>
              <a:gd name="connsiteY16" fmla="*/ 226589 h 540000"/>
              <a:gd name="connsiteX17" fmla="*/ 221970 w 540000"/>
              <a:gd name="connsiteY17" fmla="*/ 170279 h 540000"/>
              <a:gd name="connsiteX18" fmla="*/ 253589 w 540000"/>
              <a:gd name="connsiteY18" fmla="*/ 205801 h 540000"/>
              <a:gd name="connsiteX19" fmla="*/ 266446 w 540000"/>
              <a:gd name="connsiteY19" fmla="*/ 258841 h 540000"/>
              <a:gd name="connsiteX20" fmla="*/ 283816 w 540000"/>
              <a:gd name="connsiteY20" fmla="*/ 310816 h 540000"/>
              <a:gd name="connsiteX21" fmla="*/ 304604 w 540000"/>
              <a:gd name="connsiteY21" fmla="*/ 283141 h 540000"/>
              <a:gd name="connsiteX22" fmla="*/ 324211 w 540000"/>
              <a:gd name="connsiteY22" fmla="*/ 247113 h 540000"/>
              <a:gd name="connsiteX23" fmla="*/ 323177 w 540000"/>
              <a:gd name="connsiteY23" fmla="*/ 232158 h 540000"/>
              <a:gd name="connsiteX24" fmla="*/ 308254 w 540000"/>
              <a:gd name="connsiteY24" fmla="*/ 226863 h 540000"/>
              <a:gd name="connsiteX25" fmla="*/ 296779 w 540000"/>
              <a:gd name="connsiteY25" fmla="*/ 228498 h 540000"/>
              <a:gd name="connsiteX26" fmla="*/ 290081 w 540000"/>
              <a:gd name="connsiteY26" fmla="*/ 224522 h 540000"/>
              <a:gd name="connsiteX27" fmla="*/ 290208 w 540000"/>
              <a:gd name="connsiteY27" fmla="*/ 221400 h 540000"/>
              <a:gd name="connsiteX28" fmla="*/ 362148 w 540000"/>
              <a:gd name="connsiteY28" fmla="*/ 166978 h 540000"/>
              <a:gd name="connsiteX29" fmla="*/ 390245 w 540000"/>
              <a:gd name="connsiteY29" fmla="*/ 178137 h 540000"/>
              <a:gd name="connsiteX30" fmla="*/ 401435 w 540000"/>
              <a:gd name="connsiteY30" fmla="*/ 220482 h 540000"/>
              <a:gd name="connsiteX31" fmla="*/ 401435 w 540000"/>
              <a:gd name="connsiteY31" fmla="*/ 220482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40000" h="540000">
                <a:moveTo>
                  <a:pt x="270000" y="0"/>
                </a:moveTo>
                <a:cubicBezTo>
                  <a:pt x="120888" y="0"/>
                  <a:pt x="0" y="120888"/>
                  <a:pt x="0" y="270000"/>
                </a:cubicBezTo>
                <a:cubicBezTo>
                  <a:pt x="0" y="419112"/>
                  <a:pt x="120888" y="540000"/>
                  <a:pt x="270000" y="540000"/>
                </a:cubicBezTo>
                <a:cubicBezTo>
                  <a:pt x="419112" y="540000"/>
                  <a:pt x="540000" y="419112"/>
                  <a:pt x="540000" y="270000"/>
                </a:cubicBezTo>
                <a:cubicBezTo>
                  <a:pt x="540000" y="120888"/>
                  <a:pt x="419112" y="0"/>
                  <a:pt x="270000" y="0"/>
                </a:cubicBezTo>
                <a:close/>
                <a:moveTo>
                  <a:pt x="401446" y="220472"/>
                </a:moveTo>
                <a:cubicBezTo>
                  <a:pt x="400307" y="245943"/>
                  <a:pt x="382155" y="280863"/>
                  <a:pt x="348152" y="325023"/>
                </a:cubicBezTo>
                <a:cubicBezTo>
                  <a:pt x="315214" y="367864"/>
                  <a:pt x="288858" y="388969"/>
                  <a:pt x="266446" y="393451"/>
                </a:cubicBezTo>
                <a:cubicBezTo>
                  <a:pt x="263471" y="394042"/>
                  <a:pt x="260455" y="394337"/>
                  <a:pt x="257418" y="394337"/>
                </a:cubicBezTo>
                <a:cubicBezTo>
                  <a:pt x="234183" y="394337"/>
                  <a:pt x="211518" y="329252"/>
                  <a:pt x="196636" y="274609"/>
                </a:cubicBezTo>
                <a:cubicBezTo>
                  <a:pt x="188789" y="246470"/>
                  <a:pt x="182250" y="234679"/>
                  <a:pt x="174677" y="235037"/>
                </a:cubicBezTo>
                <a:cubicBezTo>
                  <a:pt x="167569" y="235396"/>
                  <a:pt x="158477" y="242146"/>
                  <a:pt x="148711" y="248896"/>
                </a:cubicBezTo>
                <a:lnTo>
                  <a:pt x="148426" y="249149"/>
                </a:lnTo>
                <a:cubicBezTo>
                  <a:pt x="145294" y="251448"/>
                  <a:pt x="140885" y="250794"/>
                  <a:pt x="138554" y="247693"/>
                </a:cubicBezTo>
                <a:lnTo>
                  <a:pt x="132943" y="240585"/>
                </a:lnTo>
                <a:cubicBezTo>
                  <a:pt x="130539" y="237568"/>
                  <a:pt x="130982" y="233181"/>
                  <a:pt x="133935" y="230713"/>
                </a:cubicBezTo>
                <a:lnTo>
                  <a:pt x="138554" y="226589"/>
                </a:lnTo>
                <a:cubicBezTo>
                  <a:pt x="168750" y="200370"/>
                  <a:pt x="205516" y="170279"/>
                  <a:pt x="221970" y="170279"/>
                </a:cubicBezTo>
                <a:cubicBezTo>
                  <a:pt x="243601" y="170279"/>
                  <a:pt x="246839" y="182113"/>
                  <a:pt x="253589" y="205801"/>
                </a:cubicBezTo>
                <a:cubicBezTo>
                  <a:pt x="253905" y="206898"/>
                  <a:pt x="259801" y="232980"/>
                  <a:pt x="266446" y="258841"/>
                </a:cubicBezTo>
                <a:cubicBezTo>
                  <a:pt x="273090" y="284702"/>
                  <a:pt x="280652" y="310816"/>
                  <a:pt x="283816" y="310816"/>
                </a:cubicBezTo>
                <a:cubicBezTo>
                  <a:pt x="285736" y="310816"/>
                  <a:pt x="292454" y="302252"/>
                  <a:pt x="304604" y="283141"/>
                </a:cubicBezTo>
                <a:cubicBezTo>
                  <a:pt x="314624" y="267437"/>
                  <a:pt x="322650" y="252661"/>
                  <a:pt x="324211" y="247113"/>
                </a:cubicBezTo>
                <a:cubicBezTo>
                  <a:pt x="326099" y="240543"/>
                  <a:pt x="325740" y="235533"/>
                  <a:pt x="323177" y="232158"/>
                </a:cubicBezTo>
                <a:cubicBezTo>
                  <a:pt x="319908" y="227791"/>
                  <a:pt x="313263" y="226863"/>
                  <a:pt x="308254" y="226863"/>
                </a:cubicBezTo>
                <a:cubicBezTo>
                  <a:pt x="304372" y="226895"/>
                  <a:pt x="300512" y="227443"/>
                  <a:pt x="296779" y="228498"/>
                </a:cubicBezTo>
                <a:cubicBezTo>
                  <a:pt x="293836" y="229247"/>
                  <a:pt x="290830" y="227464"/>
                  <a:pt x="290081" y="224522"/>
                </a:cubicBezTo>
                <a:cubicBezTo>
                  <a:pt x="289818" y="223488"/>
                  <a:pt x="289860" y="222402"/>
                  <a:pt x="290208" y="221400"/>
                </a:cubicBezTo>
                <a:cubicBezTo>
                  <a:pt x="303708" y="184138"/>
                  <a:pt x="327902" y="165913"/>
                  <a:pt x="362148" y="166978"/>
                </a:cubicBezTo>
                <a:cubicBezTo>
                  <a:pt x="374266" y="167337"/>
                  <a:pt x="383716" y="171102"/>
                  <a:pt x="390245" y="178137"/>
                </a:cubicBezTo>
                <a:cubicBezTo>
                  <a:pt x="398450" y="187049"/>
                  <a:pt x="402184" y="201266"/>
                  <a:pt x="401435" y="220482"/>
                </a:cubicBezTo>
                <a:lnTo>
                  <a:pt x="401435" y="220482"/>
                </a:lnTo>
                <a:close/>
              </a:path>
            </a:pathLst>
          </a:custGeom>
          <a:solidFill>
            <a:schemeClr val="tx1"/>
          </a:solidFill>
          <a:ln w="104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9" name="Freeform 388">
            <a:extLst>
              <a:ext uri="{FF2B5EF4-FFF2-40B4-BE49-F238E27FC236}">
                <a16:creationId xmlns:a16="http://schemas.microsoft.com/office/drawing/2014/main" id="{EA6092F8-65D4-4679-B8CC-494A296BDA0B}"/>
              </a:ext>
            </a:extLst>
          </p:cNvPr>
          <p:cNvSpPr/>
          <p:nvPr/>
        </p:nvSpPr>
        <p:spPr>
          <a:xfrm>
            <a:off x="8948338" y="5087826"/>
            <a:ext cx="540000" cy="540000"/>
          </a:xfrm>
          <a:custGeom>
            <a:avLst/>
            <a:gdLst>
              <a:gd name="connsiteX0" fmla="*/ 311142 w 540000"/>
              <a:gd name="connsiteY0" fmla="*/ 205452 h 540000"/>
              <a:gd name="connsiteX1" fmla="*/ 311142 w 540000"/>
              <a:gd name="connsiteY1" fmla="*/ 275863 h 540000"/>
              <a:gd name="connsiteX2" fmla="*/ 334662 w 540000"/>
              <a:gd name="connsiteY2" fmla="*/ 275863 h 540000"/>
              <a:gd name="connsiteX3" fmla="*/ 334662 w 540000"/>
              <a:gd name="connsiteY3" fmla="*/ 205452 h 540000"/>
              <a:gd name="connsiteX4" fmla="*/ 246480 w 540000"/>
              <a:gd name="connsiteY4" fmla="*/ 205452 h 540000"/>
              <a:gd name="connsiteX5" fmla="*/ 246480 w 540000"/>
              <a:gd name="connsiteY5" fmla="*/ 275863 h 540000"/>
              <a:gd name="connsiteX6" fmla="*/ 269999 w 540000"/>
              <a:gd name="connsiteY6" fmla="*/ 275863 h 540000"/>
              <a:gd name="connsiteX7" fmla="*/ 269999 w 540000"/>
              <a:gd name="connsiteY7" fmla="*/ 205452 h 540000"/>
              <a:gd name="connsiteX8" fmla="*/ 181785 w 540000"/>
              <a:gd name="connsiteY8" fmla="*/ 158445 h 540000"/>
              <a:gd name="connsiteX9" fmla="*/ 375869 w 540000"/>
              <a:gd name="connsiteY9" fmla="*/ 158445 h 540000"/>
              <a:gd name="connsiteX10" fmla="*/ 375869 w 540000"/>
              <a:gd name="connsiteY10" fmla="*/ 287760 h 540000"/>
              <a:gd name="connsiteX11" fmla="*/ 334694 w 540000"/>
              <a:gd name="connsiteY11" fmla="*/ 328650 h 540000"/>
              <a:gd name="connsiteX12" fmla="*/ 269999 w 540000"/>
              <a:gd name="connsiteY12" fmla="*/ 328650 h 540000"/>
              <a:gd name="connsiteX13" fmla="*/ 234720 w 540000"/>
              <a:gd name="connsiteY13" fmla="*/ 363856 h 540000"/>
              <a:gd name="connsiteX14" fmla="*/ 234720 w 540000"/>
              <a:gd name="connsiteY14" fmla="*/ 328650 h 540000"/>
              <a:gd name="connsiteX15" fmla="*/ 181785 w 540000"/>
              <a:gd name="connsiteY15" fmla="*/ 328650 h 540000"/>
              <a:gd name="connsiteX16" fmla="*/ 158382 w 540000"/>
              <a:gd name="connsiteY16" fmla="*/ 135000 h 540000"/>
              <a:gd name="connsiteX17" fmla="*/ 140621 w 540000"/>
              <a:gd name="connsiteY17" fmla="*/ 181965 h 540000"/>
              <a:gd name="connsiteX18" fmla="*/ 140621 w 540000"/>
              <a:gd name="connsiteY18" fmla="*/ 369752 h 540000"/>
              <a:gd name="connsiteX19" fmla="*/ 205316 w 540000"/>
              <a:gd name="connsiteY19" fmla="*/ 369752 h 540000"/>
              <a:gd name="connsiteX20" fmla="*/ 205316 w 540000"/>
              <a:gd name="connsiteY20" fmla="*/ 404989 h 540000"/>
              <a:gd name="connsiteX21" fmla="*/ 240627 w 540000"/>
              <a:gd name="connsiteY21" fmla="*/ 404989 h 540000"/>
              <a:gd name="connsiteX22" fmla="*/ 275864 w 540000"/>
              <a:gd name="connsiteY22" fmla="*/ 369752 h 540000"/>
              <a:gd name="connsiteX23" fmla="*/ 328799 w 540000"/>
              <a:gd name="connsiteY23" fmla="*/ 369752 h 540000"/>
              <a:gd name="connsiteX24" fmla="*/ 399389 w 540000"/>
              <a:gd name="connsiteY24" fmla="*/ 299341 h 540000"/>
              <a:gd name="connsiteX25" fmla="*/ 399400 w 540000"/>
              <a:gd name="connsiteY25" fmla="*/ 299341 h 540000"/>
              <a:gd name="connsiteX26" fmla="*/ 399537 w 540000"/>
              <a:gd name="connsiteY26" fmla="*/ 135000 h 540000"/>
              <a:gd name="connsiteX27" fmla="*/ 270000 w 540000"/>
              <a:gd name="connsiteY27" fmla="*/ 0 h 540000"/>
              <a:gd name="connsiteX28" fmla="*/ 540000 w 540000"/>
              <a:gd name="connsiteY28" fmla="*/ 270000 h 540000"/>
              <a:gd name="connsiteX29" fmla="*/ 270000 w 540000"/>
              <a:gd name="connsiteY29" fmla="*/ 540000 h 540000"/>
              <a:gd name="connsiteX30" fmla="*/ 0 w 540000"/>
              <a:gd name="connsiteY30" fmla="*/ 270000 h 540000"/>
              <a:gd name="connsiteX31" fmla="*/ 270000 w 540000"/>
              <a:gd name="connsiteY31" fmla="*/ 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40000" h="540000">
                <a:moveTo>
                  <a:pt x="311142" y="205452"/>
                </a:moveTo>
                <a:lnTo>
                  <a:pt x="311142" y="275863"/>
                </a:lnTo>
                <a:lnTo>
                  <a:pt x="334662" y="275863"/>
                </a:lnTo>
                <a:lnTo>
                  <a:pt x="334662" y="205452"/>
                </a:lnTo>
                <a:close/>
                <a:moveTo>
                  <a:pt x="246480" y="205452"/>
                </a:moveTo>
                <a:lnTo>
                  <a:pt x="246480" y="275863"/>
                </a:lnTo>
                <a:lnTo>
                  <a:pt x="269999" y="275863"/>
                </a:lnTo>
                <a:lnTo>
                  <a:pt x="269999" y="205452"/>
                </a:lnTo>
                <a:close/>
                <a:moveTo>
                  <a:pt x="181785" y="158445"/>
                </a:moveTo>
                <a:lnTo>
                  <a:pt x="375869" y="158445"/>
                </a:lnTo>
                <a:lnTo>
                  <a:pt x="375869" y="287760"/>
                </a:lnTo>
                <a:lnTo>
                  <a:pt x="334694" y="328650"/>
                </a:lnTo>
                <a:lnTo>
                  <a:pt x="269999" y="328650"/>
                </a:lnTo>
                <a:lnTo>
                  <a:pt x="234720" y="363856"/>
                </a:lnTo>
                <a:lnTo>
                  <a:pt x="234720" y="328650"/>
                </a:lnTo>
                <a:lnTo>
                  <a:pt x="181785" y="328650"/>
                </a:lnTo>
                <a:close/>
                <a:moveTo>
                  <a:pt x="158382" y="135000"/>
                </a:moveTo>
                <a:lnTo>
                  <a:pt x="140621" y="181965"/>
                </a:lnTo>
                <a:lnTo>
                  <a:pt x="140621" y="369752"/>
                </a:lnTo>
                <a:lnTo>
                  <a:pt x="205316" y="369752"/>
                </a:lnTo>
                <a:lnTo>
                  <a:pt x="205316" y="404989"/>
                </a:lnTo>
                <a:lnTo>
                  <a:pt x="240627" y="404989"/>
                </a:lnTo>
                <a:lnTo>
                  <a:pt x="275864" y="369752"/>
                </a:lnTo>
                <a:lnTo>
                  <a:pt x="328799" y="369752"/>
                </a:lnTo>
                <a:lnTo>
                  <a:pt x="399389" y="299341"/>
                </a:lnTo>
                <a:lnTo>
                  <a:pt x="399400" y="299341"/>
                </a:lnTo>
                <a:lnTo>
                  <a:pt x="399537" y="135000"/>
                </a:lnTo>
                <a:close/>
                <a:moveTo>
                  <a:pt x="270000" y="0"/>
                </a:moveTo>
                <a:cubicBezTo>
                  <a:pt x="419112" y="0"/>
                  <a:pt x="540000" y="120888"/>
                  <a:pt x="540000" y="270000"/>
                </a:cubicBezTo>
                <a:cubicBezTo>
                  <a:pt x="540000" y="419112"/>
                  <a:pt x="419112" y="540000"/>
                  <a:pt x="270000" y="540000"/>
                </a:cubicBezTo>
                <a:cubicBezTo>
                  <a:pt x="120888" y="540000"/>
                  <a:pt x="0" y="419112"/>
                  <a:pt x="0" y="270000"/>
                </a:cubicBezTo>
                <a:cubicBezTo>
                  <a:pt x="0" y="120888"/>
                  <a:pt x="120888" y="0"/>
                  <a:pt x="270000" y="0"/>
                </a:cubicBezTo>
                <a:close/>
              </a:path>
            </a:pathLst>
          </a:custGeom>
          <a:solidFill>
            <a:schemeClr val="tx1"/>
          </a:solidFill>
          <a:ln w="104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50" name="Graphic 23">
            <a:extLst>
              <a:ext uri="{FF2B5EF4-FFF2-40B4-BE49-F238E27FC236}">
                <a16:creationId xmlns:a16="http://schemas.microsoft.com/office/drawing/2014/main" id="{B545E476-1082-4B49-6F3A-E83DF54D27F7}"/>
              </a:ext>
            </a:extLst>
          </p:cNvPr>
          <p:cNvSpPr/>
          <p:nvPr/>
        </p:nvSpPr>
        <p:spPr>
          <a:xfrm>
            <a:off x="4102595" y="5087826"/>
            <a:ext cx="540000" cy="540000"/>
          </a:xfrm>
          <a:custGeom>
            <a:avLst/>
            <a:gdLst>
              <a:gd name="connsiteX0" fmla="*/ 270000 w 540000"/>
              <a:gd name="connsiteY0" fmla="*/ 0 h 540000"/>
              <a:gd name="connsiteX1" fmla="*/ 0 w 540000"/>
              <a:gd name="connsiteY1" fmla="*/ 270000 h 540000"/>
              <a:gd name="connsiteX2" fmla="*/ 270000 w 540000"/>
              <a:gd name="connsiteY2" fmla="*/ 540000 h 540000"/>
              <a:gd name="connsiteX3" fmla="*/ 540000 w 540000"/>
              <a:gd name="connsiteY3" fmla="*/ 270000 h 540000"/>
              <a:gd name="connsiteX4" fmla="*/ 270000 w 540000"/>
              <a:gd name="connsiteY4" fmla="*/ 0 h 540000"/>
              <a:gd name="connsiteX5" fmla="*/ 201287 w 540000"/>
              <a:gd name="connsiteY5" fmla="*/ 395866 h 540000"/>
              <a:gd name="connsiteX6" fmla="*/ 192154 w 540000"/>
              <a:gd name="connsiteY6" fmla="*/ 405000 h 540000"/>
              <a:gd name="connsiteX7" fmla="*/ 153362 w 540000"/>
              <a:gd name="connsiteY7" fmla="*/ 405000 h 540000"/>
              <a:gd name="connsiteX8" fmla="*/ 144229 w 540000"/>
              <a:gd name="connsiteY8" fmla="*/ 395940 h 540000"/>
              <a:gd name="connsiteX9" fmla="*/ 144229 w 540000"/>
              <a:gd name="connsiteY9" fmla="*/ 395866 h 540000"/>
              <a:gd name="connsiteX10" fmla="*/ 144229 w 540000"/>
              <a:gd name="connsiteY10" fmla="*/ 233191 h 540000"/>
              <a:gd name="connsiteX11" fmla="*/ 153362 w 540000"/>
              <a:gd name="connsiteY11" fmla="*/ 224058 h 540000"/>
              <a:gd name="connsiteX12" fmla="*/ 192154 w 540000"/>
              <a:gd name="connsiteY12" fmla="*/ 224058 h 540000"/>
              <a:gd name="connsiteX13" fmla="*/ 201287 w 540000"/>
              <a:gd name="connsiteY13" fmla="*/ 233191 h 540000"/>
              <a:gd name="connsiteX14" fmla="*/ 201287 w 540000"/>
              <a:gd name="connsiteY14" fmla="*/ 395866 h 540000"/>
              <a:gd name="connsiteX15" fmla="*/ 172863 w 540000"/>
              <a:gd name="connsiteY15" fmla="*/ 208754 h 540000"/>
              <a:gd name="connsiteX16" fmla="*/ 135844 w 540000"/>
              <a:gd name="connsiteY16" fmla="*/ 172020 h 540000"/>
              <a:gd name="connsiteX17" fmla="*/ 172579 w 540000"/>
              <a:gd name="connsiteY17" fmla="*/ 135000 h 540000"/>
              <a:gd name="connsiteX18" fmla="*/ 209598 w 540000"/>
              <a:gd name="connsiteY18" fmla="*/ 171735 h 540000"/>
              <a:gd name="connsiteX19" fmla="*/ 209598 w 540000"/>
              <a:gd name="connsiteY19" fmla="*/ 171840 h 540000"/>
              <a:gd name="connsiteX20" fmla="*/ 172758 w 540000"/>
              <a:gd name="connsiteY20" fmla="*/ 208754 h 540000"/>
              <a:gd name="connsiteX21" fmla="*/ 172758 w 540000"/>
              <a:gd name="connsiteY21" fmla="*/ 208754 h 540000"/>
              <a:gd name="connsiteX22" fmla="*/ 172863 w 540000"/>
              <a:gd name="connsiteY22" fmla="*/ 208754 h 540000"/>
              <a:gd name="connsiteX23" fmla="*/ 404209 w 540000"/>
              <a:gd name="connsiteY23" fmla="*/ 396615 h 540000"/>
              <a:gd name="connsiteX24" fmla="*/ 395824 w 540000"/>
              <a:gd name="connsiteY24" fmla="*/ 405000 h 540000"/>
              <a:gd name="connsiteX25" fmla="*/ 354080 w 540000"/>
              <a:gd name="connsiteY25" fmla="*/ 405000 h 540000"/>
              <a:gd name="connsiteX26" fmla="*/ 345695 w 540000"/>
              <a:gd name="connsiteY26" fmla="*/ 396615 h 540000"/>
              <a:gd name="connsiteX27" fmla="*/ 345695 w 540000"/>
              <a:gd name="connsiteY27" fmla="*/ 396615 h 540000"/>
              <a:gd name="connsiteX28" fmla="*/ 345695 w 540000"/>
              <a:gd name="connsiteY28" fmla="*/ 320309 h 540000"/>
              <a:gd name="connsiteX29" fmla="*/ 315921 w 540000"/>
              <a:gd name="connsiteY29" fmla="*/ 270570 h 540000"/>
              <a:gd name="connsiteX30" fmla="*/ 283943 w 540000"/>
              <a:gd name="connsiteY30" fmla="*/ 308760 h 540000"/>
              <a:gd name="connsiteX31" fmla="*/ 283943 w 540000"/>
              <a:gd name="connsiteY31" fmla="*/ 396795 h 540000"/>
              <a:gd name="connsiteX32" fmla="*/ 275632 w 540000"/>
              <a:gd name="connsiteY32" fmla="*/ 405000 h 540000"/>
              <a:gd name="connsiteX33" fmla="*/ 235343 w 540000"/>
              <a:gd name="connsiteY33" fmla="*/ 405000 h 540000"/>
              <a:gd name="connsiteX34" fmla="*/ 226958 w 540000"/>
              <a:gd name="connsiteY34" fmla="*/ 396689 h 540000"/>
              <a:gd name="connsiteX35" fmla="*/ 226958 w 540000"/>
              <a:gd name="connsiteY35" fmla="*/ 396615 h 540000"/>
              <a:gd name="connsiteX36" fmla="*/ 226958 w 540000"/>
              <a:gd name="connsiteY36" fmla="*/ 232485 h 540000"/>
              <a:gd name="connsiteX37" fmla="*/ 235311 w 540000"/>
              <a:gd name="connsiteY37" fmla="*/ 224068 h 540000"/>
              <a:gd name="connsiteX38" fmla="*/ 235343 w 540000"/>
              <a:gd name="connsiteY38" fmla="*/ 224068 h 540000"/>
              <a:gd name="connsiteX39" fmla="*/ 275632 w 540000"/>
              <a:gd name="connsiteY39" fmla="*/ 224068 h 540000"/>
              <a:gd name="connsiteX40" fmla="*/ 284196 w 540000"/>
              <a:gd name="connsiteY40" fmla="*/ 232348 h 540000"/>
              <a:gd name="connsiteX41" fmla="*/ 284196 w 540000"/>
              <a:gd name="connsiteY41" fmla="*/ 232495 h 540000"/>
              <a:gd name="connsiteX42" fmla="*/ 284196 w 540000"/>
              <a:gd name="connsiteY42" fmla="*/ 246702 h 540000"/>
              <a:gd name="connsiteX43" fmla="*/ 337943 w 540000"/>
              <a:gd name="connsiteY43" fmla="*/ 221368 h 540000"/>
              <a:gd name="connsiteX44" fmla="*/ 404272 w 540000"/>
              <a:gd name="connsiteY44" fmla="*/ 317893 h 540000"/>
              <a:gd name="connsiteX45" fmla="*/ 404198 w 540000"/>
              <a:gd name="connsiteY45" fmla="*/ 396615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40000" h="540000">
                <a:moveTo>
                  <a:pt x="270000" y="0"/>
                </a:moveTo>
                <a:cubicBezTo>
                  <a:pt x="120888" y="0"/>
                  <a:pt x="0" y="120888"/>
                  <a:pt x="0" y="270000"/>
                </a:cubicBezTo>
                <a:cubicBezTo>
                  <a:pt x="0" y="419112"/>
                  <a:pt x="120888" y="540000"/>
                  <a:pt x="270000" y="540000"/>
                </a:cubicBezTo>
                <a:cubicBezTo>
                  <a:pt x="419112" y="540000"/>
                  <a:pt x="540000" y="419112"/>
                  <a:pt x="540000" y="270000"/>
                </a:cubicBezTo>
                <a:cubicBezTo>
                  <a:pt x="540000" y="120888"/>
                  <a:pt x="419112" y="0"/>
                  <a:pt x="270000" y="0"/>
                </a:cubicBezTo>
                <a:close/>
                <a:moveTo>
                  <a:pt x="201287" y="395866"/>
                </a:moveTo>
                <a:cubicBezTo>
                  <a:pt x="201287" y="400908"/>
                  <a:pt x="197195" y="405000"/>
                  <a:pt x="192154" y="405000"/>
                </a:cubicBezTo>
                <a:lnTo>
                  <a:pt x="153362" y="405000"/>
                </a:lnTo>
                <a:cubicBezTo>
                  <a:pt x="148342" y="405021"/>
                  <a:pt x="144250" y="400961"/>
                  <a:pt x="144229" y="395940"/>
                </a:cubicBezTo>
                <a:cubicBezTo>
                  <a:pt x="144229" y="395919"/>
                  <a:pt x="144229" y="395888"/>
                  <a:pt x="144229" y="395866"/>
                </a:cubicBezTo>
                <a:lnTo>
                  <a:pt x="144229" y="233191"/>
                </a:lnTo>
                <a:cubicBezTo>
                  <a:pt x="144229" y="228150"/>
                  <a:pt x="148321" y="224058"/>
                  <a:pt x="153362" y="224058"/>
                </a:cubicBezTo>
                <a:lnTo>
                  <a:pt x="192154" y="224058"/>
                </a:lnTo>
                <a:cubicBezTo>
                  <a:pt x="197195" y="224058"/>
                  <a:pt x="201287" y="228150"/>
                  <a:pt x="201287" y="233191"/>
                </a:cubicBezTo>
                <a:lnTo>
                  <a:pt x="201287" y="395866"/>
                </a:lnTo>
                <a:close/>
                <a:moveTo>
                  <a:pt x="172863" y="208754"/>
                </a:moveTo>
                <a:cubicBezTo>
                  <a:pt x="152497" y="208828"/>
                  <a:pt x="135928" y="192386"/>
                  <a:pt x="135844" y="172020"/>
                </a:cubicBezTo>
                <a:cubicBezTo>
                  <a:pt x="135759" y="151654"/>
                  <a:pt x="152213" y="135084"/>
                  <a:pt x="172579" y="135000"/>
                </a:cubicBezTo>
                <a:cubicBezTo>
                  <a:pt x="192945" y="134916"/>
                  <a:pt x="209514" y="151369"/>
                  <a:pt x="209598" y="171735"/>
                </a:cubicBezTo>
                <a:cubicBezTo>
                  <a:pt x="209598" y="171766"/>
                  <a:pt x="209598" y="171809"/>
                  <a:pt x="209598" y="171840"/>
                </a:cubicBezTo>
                <a:cubicBezTo>
                  <a:pt x="209619" y="192206"/>
                  <a:pt x="193124" y="208733"/>
                  <a:pt x="172758" y="208754"/>
                </a:cubicBezTo>
                <a:lnTo>
                  <a:pt x="172758" y="208754"/>
                </a:lnTo>
                <a:lnTo>
                  <a:pt x="172863" y="208754"/>
                </a:lnTo>
                <a:close/>
                <a:moveTo>
                  <a:pt x="404209" y="396615"/>
                </a:moveTo>
                <a:cubicBezTo>
                  <a:pt x="404209" y="401245"/>
                  <a:pt x="400454" y="405000"/>
                  <a:pt x="395824" y="405000"/>
                </a:cubicBezTo>
                <a:lnTo>
                  <a:pt x="354080" y="405000"/>
                </a:lnTo>
                <a:cubicBezTo>
                  <a:pt x="349450" y="405000"/>
                  <a:pt x="345695" y="401245"/>
                  <a:pt x="345695" y="396615"/>
                </a:cubicBezTo>
                <a:lnTo>
                  <a:pt x="345695" y="396615"/>
                </a:lnTo>
                <a:lnTo>
                  <a:pt x="345695" y="320309"/>
                </a:lnTo>
                <a:cubicBezTo>
                  <a:pt x="345695" y="308907"/>
                  <a:pt x="348996" y="270570"/>
                  <a:pt x="315921" y="270570"/>
                </a:cubicBezTo>
                <a:cubicBezTo>
                  <a:pt x="290271" y="270570"/>
                  <a:pt x="285050" y="296926"/>
                  <a:pt x="283943" y="308760"/>
                </a:cubicBezTo>
                <a:lnTo>
                  <a:pt x="283943" y="396795"/>
                </a:lnTo>
                <a:cubicBezTo>
                  <a:pt x="283848" y="401330"/>
                  <a:pt x="280167" y="404968"/>
                  <a:pt x="275632" y="405000"/>
                </a:cubicBezTo>
                <a:lnTo>
                  <a:pt x="235343" y="405000"/>
                </a:lnTo>
                <a:cubicBezTo>
                  <a:pt x="230734" y="405021"/>
                  <a:pt x="226979" y="401298"/>
                  <a:pt x="226958" y="396689"/>
                </a:cubicBezTo>
                <a:cubicBezTo>
                  <a:pt x="226958" y="396668"/>
                  <a:pt x="226958" y="396647"/>
                  <a:pt x="226958" y="396615"/>
                </a:cubicBezTo>
                <a:lnTo>
                  <a:pt x="226958" y="232485"/>
                </a:lnTo>
                <a:cubicBezTo>
                  <a:pt x="226937" y="227855"/>
                  <a:pt x="230681" y="224089"/>
                  <a:pt x="235311" y="224068"/>
                </a:cubicBezTo>
                <a:cubicBezTo>
                  <a:pt x="235322" y="224068"/>
                  <a:pt x="235332" y="224068"/>
                  <a:pt x="235343" y="224068"/>
                </a:cubicBezTo>
                <a:lnTo>
                  <a:pt x="275632" y="224068"/>
                </a:lnTo>
                <a:cubicBezTo>
                  <a:pt x="280283" y="223995"/>
                  <a:pt x="284112" y="227696"/>
                  <a:pt x="284196" y="232348"/>
                </a:cubicBezTo>
                <a:cubicBezTo>
                  <a:pt x="284196" y="232400"/>
                  <a:pt x="284196" y="232443"/>
                  <a:pt x="284196" y="232495"/>
                </a:cubicBezTo>
                <a:lnTo>
                  <a:pt x="284196" y="246702"/>
                </a:lnTo>
                <a:cubicBezTo>
                  <a:pt x="293720" y="232495"/>
                  <a:pt x="307853" y="221368"/>
                  <a:pt x="337943" y="221368"/>
                </a:cubicBezTo>
                <a:cubicBezTo>
                  <a:pt x="404663" y="221368"/>
                  <a:pt x="404272" y="283679"/>
                  <a:pt x="404272" y="317893"/>
                </a:cubicBezTo>
                <a:lnTo>
                  <a:pt x="404198" y="396615"/>
                </a:lnTo>
                <a:close/>
              </a:path>
            </a:pathLst>
          </a:custGeom>
          <a:solidFill>
            <a:schemeClr val="tx1"/>
          </a:solidFill>
          <a:ln w="104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4" name="Freeform 383">
            <a:extLst>
              <a:ext uri="{FF2B5EF4-FFF2-40B4-BE49-F238E27FC236}">
                <a16:creationId xmlns:a16="http://schemas.microsoft.com/office/drawing/2014/main" id="{BE28FD78-77EA-6A33-70CA-171FDB1AD5F8}"/>
              </a:ext>
            </a:extLst>
          </p:cNvPr>
          <p:cNvSpPr/>
          <p:nvPr/>
        </p:nvSpPr>
        <p:spPr>
          <a:xfrm>
            <a:off x="3410345" y="5087825"/>
            <a:ext cx="540000" cy="540000"/>
          </a:xfrm>
          <a:custGeom>
            <a:avLst/>
            <a:gdLst>
              <a:gd name="connsiteX0" fmla="*/ 237705 w 540000"/>
              <a:gd name="connsiteY0" fmla="*/ 218278 h 540000"/>
              <a:gd name="connsiteX1" fmla="*/ 321943 w 540000"/>
              <a:gd name="connsiteY1" fmla="*/ 270000 h 540000"/>
              <a:gd name="connsiteX2" fmla="*/ 237705 w 540000"/>
              <a:gd name="connsiteY2" fmla="*/ 321764 h 540000"/>
              <a:gd name="connsiteX3" fmla="*/ 270132 w 540000"/>
              <a:gd name="connsiteY3" fmla="*/ 171355 h 540000"/>
              <a:gd name="connsiteX4" fmla="*/ 181174 w 540000"/>
              <a:gd name="connsiteY4" fmla="*/ 176070 h 540000"/>
              <a:gd name="connsiteX5" fmla="*/ 141318 w 540000"/>
              <a:gd name="connsiteY5" fmla="*/ 205063 h 540000"/>
              <a:gd name="connsiteX6" fmla="*/ 141318 w 540000"/>
              <a:gd name="connsiteY6" fmla="*/ 334979 h 540000"/>
              <a:gd name="connsiteX7" fmla="*/ 181037 w 540000"/>
              <a:gd name="connsiteY7" fmla="*/ 363973 h 540000"/>
              <a:gd name="connsiteX8" fmla="*/ 358952 w 540000"/>
              <a:gd name="connsiteY8" fmla="*/ 363973 h 540000"/>
              <a:gd name="connsiteX9" fmla="*/ 398672 w 540000"/>
              <a:gd name="connsiteY9" fmla="*/ 334979 h 540000"/>
              <a:gd name="connsiteX10" fmla="*/ 398809 w 540000"/>
              <a:gd name="connsiteY10" fmla="*/ 205063 h 540000"/>
              <a:gd name="connsiteX11" fmla="*/ 359089 w 540000"/>
              <a:gd name="connsiteY11" fmla="*/ 176070 h 540000"/>
              <a:gd name="connsiteX12" fmla="*/ 270132 w 540000"/>
              <a:gd name="connsiteY12" fmla="*/ 171355 h 540000"/>
              <a:gd name="connsiteX13" fmla="*/ 270000 w 540000"/>
              <a:gd name="connsiteY13" fmla="*/ 0 h 540000"/>
              <a:gd name="connsiteX14" fmla="*/ 540000 w 540000"/>
              <a:gd name="connsiteY14" fmla="*/ 270000 h 540000"/>
              <a:gd name="connsiteX15" fmla="*/ 270000 w 540000"/>
              <a:gd name="connsiteY15" fmla="*/ 540000 h 540000"/>
              <a:gd name="connsiteX16" fmla="*/ 0 w 540000"/>
              <a:gd name="connsiteY16" fmla="*/ 270000 h 540000"/>
              <a:gd name="connsiteX17" fmla="*/ 270000 w 540000"/>
              <a:gd name="connsiteY17" fmla="*/ 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40000" h="540000">
                <a:moveTo>
                  <a:pt x="237705" y="218278"/>
                </a:moveTo>
                <a:lnTo>
                  <a:pt x="321943" y="270000"/>
                </a:lnTo>
                <a:lnTo>
                  <a:pt x="237705" y="321764"/>
                </a:lnTo>
                <a:close/>
                <a:moveTo>
                  <a:pt x="270132" y="171355"/>
                </a:moveTo>
                <a:cubicBezTo>
                  <a:pt x="240437" y="171355"/>
                  <a:pt x="210742" y="172927"/>
                  <a:pt x="181174" y="176070"/>
                </a:cubicBezTo>
                <a:cubicBezTo>
                  <a:pt x="164584" y="178379"/>
                  <a:pt x="146718" y="188293"/>
                  <a:pt x="141318" y="205063"/>
                </a:cubicBezTo>
                <a:cubicBezTo>
                  <a:pt x="132901" y="247957"/>
                  <a:pt x="132901" y="292085"/>
                  <a:pt x="141318" y="334979"/>
                </a:cubicBezTo>
                <a:cubicBezTo>
                  <a:pt x="146718" y="351570"/>
                  <a:pt x="164584" y="361663"/>
                  <a:pt x="181037" y="363973"/>
                </a:cubicBezTo>
                <a:cubicBezTo>
                  <a:pt x="240173" y="370259"/>
                  <a:pt x="299816" y="370259"/>
                  <a:pt x="358952" y="363973"/>
                </a:cubicBezTo>
                <a:cubicBezTo>
                  <a:pt x="375405" y="361663"/>
                  <a:pt x="393272" y="351570"/>
                  <a:pt x="398672" y="334979"/>
                </a:cubicBezTo>
                <a:cubicBezTo>
                  <a:pt x="407130" y="292096"/>
                  <a:pt x="407183" y="247968"/>
                  <a:pt x="398809" y="205063"/>
                </a:cubicBezTo>
                <a:cubicBezTo>
                  <a:pt x="393409" y="188430"/>
                  <a:pt x="375543" y="178379"/>
                  <a:pt x="359089" y="176070"/>
                </a:cubicBezTo>
                <a:cubicBezTo>
                  <a:pt x="329521" y="172927"/>
                  <a:pt x="299827" y="171355"/>
                  <a:pt x="270132" y="171355"/>
                </a:cubicBezTo>
                <a:close/>
                <a:moveTo>
                  <a:pt x="270000" y="0"/>
                </a:moveTo>
                <a:cubicBezTo>
                  <a:pt x="419112" y="0"/>
                  <a:pt x="540000" y="120888"/>
                  <a:pt x="540000" y="270000"/>
                </a:cubicBezTo>
                <a:cubicBezTo>
                  <a:pt x="540000" y="419112"/>
                  <a:pt x="419112" y="540000"/>
                  <a:pt x="270000" y="540000"/>
                </a:cubicBezTo>
                <a:cubicBezTo>
                  <a:pt x="120888" y="540000"/>
                  <a:pt x="0" y="419112"/>
                  <a:pt x="0" y="270000"/>
                </a:cubicBezTo>
                <a:cubicBezTo>
                  <a:pt x="0" y="120888"/>
                  <a:pt x="120888" y="0"/>
                  <a:pt x="270000" y="0"/>
                </a:cubicBezTo>
                <a:close/>
              </a:path>
            </a:pathLst>
          </a:custGeom>
          <a:solidFill>
            <a:schemeClr val="tx1"/>
          </a:solidFill>
          <a:ln w="104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54" name="Graphic 27">
            <a:extLst>
              <a:ext uri="{FF2B5EF4-FFF2-40B4-BE49-F238E27FC236}">
                <a16:creationId xmlns:a16="http://schemas.microsoft.com/office/drawing/2014/main" id="{3D329E74-9D2E-18FF-CC05-FABAAB00B3EC}"/>
              </a:ext>
            </a:extLst>
          </p:cNvPr>
          <p:cNvSpPr/>
          <p:nvPr/>
        </p:nvSpPr>
        <p:spPr>
          <a:xfrm>
            <a:off x="8256089" y="5087826"/>
            <a:ext cx="540000" cy="540000"/>
          </a:xfrm>
          <a:custGeom>
            <a:avLst/>
            <a:gdLst>
              <a:gd name="connsiteX0" fmla="*/ 270000 w 540000"/>
              <a:gd name="connsiteY0" fmla="*/ 0 h 540000"/>
              <a:gd name="connsiteX1" fmla="*/ 0 w 540000"/>
              <a:gd name="connsiteY1" fmla="*/ 270000 h 540000"/>
              <a:gd name="connsiteX2" fmla="*/ 270000 w 540000"/>
              <a:gd name="connsiteY2" fmla="*/ 540000 h 540000"/>
              <a:gd name="connsiteX3" fmla="*/ 540000 w 540000"/>
              <a:gd name="connsiteY3" fmla="*/ 270000 h 540000"/>
              <a:gd name="connsiteX4" fmla="*/ 270000 w 540000"/>
              <a:gd name="connsiteY4" fmla="*/ 0 h 540000"/>
              <a:gd name="connsiteX5" fmla="*/ 394516 w 540000"/>
              <a:gd name="connsiteY5" fmla="*/ 354270 h 540000"/>
              <a:gd name="connsiteX6" fmla="*/ 355862 w 540000"/>
              <a:gd name="connsiteY6" fmla="*/ 354270 h 540000"/>
              <a:gd name="connsiteX7" fmla="*/ 334547 w 540000"/>
              <a:gd name="connsiteY7" fmla="*/ 345779 h 540000"/>
              <a:gd name="connsiteX8" fmla="*/ 315963 w 540000"/>
              <a:gd name="connsiteY8" fmla="*/ 326130 h 540000"/>
              <a:gd name="connsiteX9" fmla="*/ 309888 w 540000"/>
              <a:gd name="connsiteY9" fmla="*/ 320657 h 540000"/>
              <a:gd name="connsiteX10" fmla="*/ 297422 w 540000"/>
              <a:gd name="connsiteY10" fmla="*/ 323610 h 540000"/>
              <a:gd name="connsiteX11" fmla="*/ 293583 w 540000"/>
              <a:gd name="connsiteY11" fmla="*/ 343396 h 540000"/>
              <a:gd name="connsiteX12" fmla="*/ 282551 w 540000"/>
              <a:gd name="connsiteY12" fmla="*/ 353668 h 540000"/>
              <a:gd name="connsiteX13" fmla="*/ 282540 w 540000"/>
              <a:gd name="connsiteY13" fmla="*/ 353668 h 540000"/>
              <a:gd name="connsiteX14" fmla="*/ 270000 w 540000"/>
              <a:gd name="connsiteY14" fmla="*/ 353668 h 540000"/>
              <a:gd name="connsiteX15" fmla="*/ 226547 w 540000"/>
              <a:gd name="connsiteY15" fmla="*/ 343005 h 540000"/>
              <a:gd name="connsiteX16" fmla="*/ 189422 w 540000"/>
              <a:gd name="connsiteY16" fmla="*/ 310532 h 540000"/>
              <a:gd name="connsiteX17" fmla="*/ 148279 w 540000"/>
              <a:gd name="connsiteY17" fmla="*/ 243032 h 540000"/>
              <a:gd name="connsiteX18" fmla="*/ 135422 w 540000"/>
              <a:gd name="connsiteY18" fmla="*/ 215177 h 540000"/>
              <a:gd name="connsiteX19" fmla="*/ 138723 w 540000"/>
              <a:gd name="connsiteY19" fmla="*/ 206044 h 540000"/>
              <a:gd name="connsiteX20" fmla="*/ 180963 w 540000"/>
              <a:gd name="connsiteY20" fmla="*/ 206044 h 540000"/>
              <a:gd name="connsiteX21" fmla="*/ 194210 w 540000"/>
              <a:gd name="connsiteY21" fmla="*/ 215568 h 540000"/>
              <a:gd name="connsiteX22" fmla="*/ 223805 w 540000"/>
              <a:gd name="connsiteY22" fmla="*/ 267511 h 540000"/>
              <a:gd name="connsiteX23" fmla="*/ 229806 w 540000"/>
              <a:gd name="connsiteY23" fmla="*/ 272985 h 540000"/>
              <a:gd name="connsiteX24" fmla="*/ 236239 w 540000"/>
              <a:gd name="connsiteY24" fmla="*/ 272879 h 540000"/>
              <a:gd name="connsiteX25" fmla="*/ 237410 w 540000"/>
              <a:gd name="connsiteY25" fmla="*/ 270707 h 540000"/>
              <a:gd name="connsiteX26" fmla="*/ 240142 w 540000"/>
              <a:gd name="connsiteY26" fmla="*/ 254865 h 540000"/>
              <a:gd name="connsiteX27" fmla="*/ 239541 w 540000"/>
              <a:gd name="connsiteY27" fmla="*/ 226441 h 540000"/>
              <a:gd name="connsiteX28" fmla="*/ 226716 w 540000"/>
              <a:gd name="connsiteY28" fmla="*/ 211845 h 540000"/>
              <a:gd name="connsiteX29" fmla="*/ 225334 w 540000"/>
              <a:gd name="connsiteY29" fmla="*/ 206191 h 540000"/>
              <a:gd name="connsiteX30" fmla="*/ 241502 w 540000"/>
              <a:gd name="connsiteY30" fmla="*/ 199726 h 540000"/>
              <a:gd name="connsiteX31" fmla="*/ 269926 w 540000"/>
              <a:gd name="connsiteY31" fmla="*/ 199726 h 540000"/>
              <a:gd name="connsiteX32" fmla="*/ 271983 w 540000"/>
              <a:gd name="connsiteY32" fmla="*/ 199726 h 540000"/>
              <a:gd name="connsiteX33" fmla="*/ 284386 w 540000"/>
              <a:gd name="connsiteY33" fmla="*/ 200971 h 540000"/>
              <a:gd name="connsiteX34" fmla="*/ 293372 w 540000"/>
              <a:gd name="connsiteY34" fmla="*/ 211064 h 540000"/>
              <a:gd name="connsiteX35" fmla="*/ 294015 w 540000"/>
              <a:gd name="connsiteY35" fmla="*/ 219196 h 540000"/>
              <a:gd name="connsiteX36" fmla="*/ 293055 w 540000"/>
              <a:gd name="connsiteY36" fmla="*/ 254085 h 540000"/>
              <a:gd name="connsiteX37" fmla="*/ 294300 w 540000"/>
              <a:gd name="connsiteY37" fmla="*/ 267796 h 540000"/>
              <a:gd name="connsiteX38" fmla="*/ 304246 w 540000"/>
              <a:gd name="connsiteY38" fmla="*/ 271065 h 540000"/>
              <a:gd name="connsiteX39" fmla="*/ 319064 w 540000"/>
              <a:gd name="connsiteY39" fmla="*/ 252482 h 540000"/>
              <a:gd name="connsiteX40" fmla="*/ 338745 w 540000"/>
              <a:gd name="connsiteY40" fmla="*/ 214323 h 540000"/>
              <a:gd name="connsiteX41" fmla="*/ 351000 w 540000"/>
              <a:gd name="connsiteY41" fmla="*/ 205907 h 540000"/>
              <a:gd name="connsiteX42" fmla="*/ 392882 w 540000"/>
              <a:gd name="connsiteY42" fmla="*/ 205907 h 540000"/>
              <a:gd name="connsiteX43" fmla="*/ 400275 w 540000"/>
              <a:gd name="connsiteY43" fmla="*/ 206866 h 540000"/>
              <a:gd name="connsiteX44" fmla="*/ 404810 w 540000"/>
              <a:gd name="connsiteY44" fmla="*/ 214692 h 540000"/>
              <a:gd name="connsiteX45" fmla="*/ 404684 w 540000"/>
              <a:gd name="connsiteY45" fmla="*/ 215104 h 540000"/>
              <a:gd name="connsiteX46" fmla="*/ 392323 w 540000"/>
              <a:gd name="connsiteY46" fmla="*/ 239614 h 540000"/>
              <a:gd name="connsiteX47" fmla="*/ 366103 w 540000"/>
              <a:gd name="connsiteY47" fmla="*/ 275358 h 540000"/>
              <a:gd name="connsiteX48" fmla="*/ 363087 w 540000"/>
              <a:gd name="connsiteY48" fmla="*/ 280114 h 540000"/>
              <a:gd name="connsiteX49" fmla="*/ 364795 w 540000"/>
              <a:gd name="connsiteY49" fmla="*/ 294321 h 540000"/>
              <a:gd name="connsiteX50" fmla="*/ 387851 w 540000"/>
              <a:gd name="connsiteY50" fmla="*/ 317524 h 540000"/>
              <a:gd name="connsiteX51" fmla="*/ 402416 w 540000"/>
              <a:gd name="connsiteY51" fmla="*/ 336424 h 540000"/>
              <a:gd name="connsiteX52" fmla="*/ 394527 w 540000"/>
              <a:gd name="connsiteY52" fmla="*/ 354259 h 540000"/>
              <a:gd name="connsiteX53" fmla="*/ 394527 w 540000"/>
              <a:gd name="connsiteY53" fmla="*/ 354259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540000" h="540000">
                <a:moveTo>
                  <a:pt x="270000" y="0"/>
                </a:moveTo>
                <a:cubicBezTo>
                  <a:pt x="120888" y="0"/>
                  <a:pt x="0" y="120888"/>
                  <a:pt x="0" y="270000"/>
                </a:cubicBezTo>
                <a:cubicBezTo>
                  <a:pt x="0" y="419112"/>
                  <a:pt x="120888" y="540000"/>
                  <a:pt x="270000" y="540000"/>
                </a:cubicBezTo>
                <a:cubicBezTo>
                  <a:pt x="419112" y="540000"/>
                  <a:pt x="540000" y="419112"/>
                  <a:pt x="540000" y="270000"/>
                </a:cubicBezTo>
                <a:cubicBezTo>
                  <a:pt x="540000" y="120888"/>
                  <a:pt x="419112" y="0"/>
                  <a:pt x="270000" y="0"/>
                </a:cubicBezTo>
                <a:close/>
                <a:moveTo>
                  <a:pt x="394516" y="354270"/>
                </a:moveTo>
                <a:cubicBezTo>
                  <a:pt x="388188" y="355155"/>
                  <a:pt x="357465" y="354270"/>
                  <a:pt x="355862" y="354270"/>
                </a:cubicBezTo>
                <a:cubicBezTo>
                  <a:pt x="347920" y="354354"/>
                  <a:pt x="340263" y="351295"/>
                  <a:pt x="334547" y="345779"/>
                </a:cubicBezTo>
                <a:cubicBezTo>
                  <a:pt x="328050" y="339525"/>
                  <a:pt x="322186" y="332670"/>
                  <a:pt x="315963" y="326130"/>
                </a:cubicBezTo>
                <a:cubicBezTo>
                  <a:pt x="314086" y="324148"/>
                  <a:pt x="312050" y="322323"/>
                  <a:pt x="309888" y="320657"/>
                </a:cubicBezTo>
                <a:cubicBezTo>
                  <a:pt x="304805" y="316744"/>
                  <a:pt x="299795" y="317640"/>
                  <a:pt x="297422" y="323610"/>
                </a:cubicBezTo>
                <a:cubicBezTo>
                  <a:pt x="295566" y="330086"/>
                  <a:pt x="294279" y="336698"/>
                  <a:pt x="293583" y="343396"/>
                </a:cubicBezTo>
                <a:cubicBezTo>
                  <a:pt x="293372" y="349281"/>
                  <a:pt x="288436" y="353879"/>
                  <a:pt x="282551" y="353668"/>
                </a:cubicBezTo>
                <a:cubicBezTo>
                  <a:pt x="282551" y="353668"/>
                  <a:pt x="282551" y="353668"/>
                  <a:pt x="282540" y="353668"/>
                </a:cubicBezTo>
                <a:cubicBezTo>
                  <a:pt x="278353" y="353879"/>
                  <a:pt x="274155" y="353953"/>
                  <a:pt x="270000" y="353668"/>
                </a:cubicBezTo>
                <a:cubicBezTo>
                  <a:pt x="254876" y="353605"/>
                  <a:pt x="239984" y="349956"/>
                  <a:pt x="226547" y="343005"/>
                </a:cubicBezTo>
                <a:cubicBezTo>
                  <a:pt x="212034" y="334895"/>
                  <a:pt x="199389" y="323831"/>
                  <a:pt x="189422" y="310532"/>
                </a:cubicBezTo>
                <a:cubicBezTo>
                  <a:pt x="173464" y="289480"/>
                  <a:pt x="159680" y="266868"/>
                  <a:pt x="148279" y="243032"/>
                </a:cubicBezTo>
                <a:cubicBezTo>
                  <a:pt x="147677" y="241861"/>
                  <a:pt x="135707" y="216390"/>
                  <a:pt x="135422" y="215177"/>
                </a:cubicBezTo>
                <a:cubicBezTo>
                  <a:pt x="133945" y="211739"/>
                  <a:pt x="135390" y="207742"/>
                  <a:pt x="138723" y="206044"/>
                </a:cubicBezTo>
                <a:cubicBezTo>
                  <a:pt x="140854" y="205232"/>
                  <a:pt x="180320" y="206044"/>
                  <a:pt x="180963" y="206044"/>
                </a:cubicBezTo>
                <a:cubicBezTo>
                  <a:pt x="186996" y="205959"/>
                  <a:pt x="192375" y="209820"/>
                  <a:pt x="194210" y="215568"/>
                </a:cubicBezTo>
                <a:cubicBezTo>
                  <a:pt x="201509" y="234225"/>
                  <a:pt x="211475" y="251712"/>
                  <a:pt x="223805" y="267511"/>
                </a:cubicBezTo>
                <a:cubicBezTo>
                  <a:pt x="225534" y="269610"/>
                  <a:pt x="227559" y="271455"/>
                  <a:pt x="229806" y="272985"/>
                </a:cubicBezTo>
                <a:cubicBezTo>
                  <a:pt x="231609" y="274736"/>
                  <a:pt x="234489" y="274683"/>
                  <a:pt x="236239" y="272879"/>
                </a:cubicBezTo>
                <a:cubicBezTo>
                  <a:pt x="236820" y="272278"/>
                  <a:pt x="237231" y="271529"/>
                  <a:pt x="237410" y="270707"/>
                </a:cubicBezTo>
                <a:cubicBezTo>
                  <a:pt x="238971" y="265560"/>
                  <a:pt x="239889" y="260234"/>
                  <a:pt x="240142" y="254865"/>
                </a:cubicBezTo>
                <a:cubicBezTo>
                  <a:pt x="240353" y="244202"/>
                  <a:pt x="240142" y="237104"/>
                  <a:pt x="239541" y="226441"/>
                </a:cubicBezTo>
                <a:cubicBezTo>
                  <a:pt x="239984" y="218879"/>
                  <a:pt x="234267" y="212372"/>
                  <a:pt x="226716" y="211845"/>
                </a:cubicBezTo>
                <a:cubicBezTo>
                  <a:pt x="223594" y="211307"/>
                  <a:pt x="223161" y="208754"/>
                  <a:pt x="225334" y="206191"/>
                </a:cubicBezTo>
                <a:cubicBezTo>
                  <a:pt x="229489" y="200897"/>
                  <a:pt x="235248" y="200043"/>
                  <a:pt x="241502" y="199726"/>
                </a:cubicBezTo>
                <a:cubicBezTo>
                  <a:pt x="250952" y="199188"/>
                  <a:pt x="260434" y="199726"/>
                  <a:pt x="269926" y="199726"/>
                </a:cubicBezTo>
                <a:lnTo>
                  <a:pt x="271983" y="199726"/>
                </a:lnTo>
                <a:cubicBezTo>
                  <a:pt x="276149" y="199726"/>
                  <a:pt x="280304" y="200138"/>
                  <a:pt x="284386" y="200971"/>
                </a:cubicBezTo>
                <a:cubicBezTo>
                  <a:pt x="289280" y="201973"/>
                  <a:pt x="292939" y="206075"/>
                  <a:pt x="293372" y="211064"/>
                </a:cubicBezTo>
                <a:cubicBezTo>
                  <a:pt x="293846" y="213754"/>
                  <a:pt x="294068" y="216475"/>
                  <a:pt x="294015" y="219196"/>
                </a:cubicBezTo>
                <a:cubicBezTo>
                  <a:pt x="293762" y="230850"/>
                  <a:pt x="293203" y="242462"/>
                  <a:pt x="293055" y="254085"/>
                </a:cubicBezTo>
                <a:cubicBezTo>
                  <a:pt x="292971" y="258683"/>
                  <a:pt x="293382" y="263282"/>
                  <a:pt x="294300" y="267796"/>
                </a:cubicBezTo>
                <a:cubicBezTo>
                  <a:pt x="295682" y="273976"/>
                  <a:pt x="299911" y="275537"/>
                  <a:pt x="304246" y="271065"/>
                </a:cubicBezTo>
                <a:cubicBezTo>
                  <a:pt x="309646" y="265254"/>
                  <a:pt x="314603" y="259042"/>
                  <a:pt x="319064" y="252482"/>
                </a:cubicBezTo>
                <a:cubicBezTo>
                  <a:pt x="327080" y="240564"/>
                  <a:pt x="333682" y="227760"/>
                  <a:pt x="338745" y="214323"/>
                </a:cubicBezTo>
                <a:cubicBezTo>
                  <a:pt x="341476" y="207436"/>
                  <a:pt x="343575" y="205907"/>
                  <a:pt x="351000" y="205907"/>
                </a:cubicBezTo>
                <a:lnTo>
                  <a:pt x="392882" y="205907"/>
                </a:lnTo>
                <a:cubicBezTo>
                  <a:pt x="395381" y="205864"/>
                  <a:pt x="397870" y="206191"/>
                  <a:pt x="400275" y="206866"/>
                </a:cubicBezTo>
                <a:cubicBezTo>
                  <a:pt x="403692" y="207773"/>
                  <a:pt x="405717" y="211275"/>
                  <a:pt x="404810" y="214692"/>
                </a:cubicBezTo>
                <a:cubicBezTo>
                  <a:pt x="404768" y="214829"/>
                  <a:pt x="404726" y="214966"/>
                  <a:pt x="404684" y="215104"/>
                </a:cubicBezTo>
                <a:cubicBezTo>
                  <a:pt x="402247" y="224016"/>
                  <a:pt x="398039" y="232358"/>
                  <a:pt x="392323" y="239614"/>
                </a:cubicBezTo>
                <a:cubicBezTo>
                  <a:pt x="383801" y="251691"/>
                  <a:pt x="374847" y="263450"/>
                  <a:pt x="366103" y="275358"/>
                </a:cubicBezTo>
                <a:cubicBezTo>
                  <a:pt x="364985" y="276877"/>
                  <a:pt x="363983" y="278469"/>
                  <a:pt x="363087" y="280114"/>
                </a:cubicBezTo>
                <a:cubicBezTo>
                  <a:pt x="359817" y="286052"/>
                  <a:pt x="360070" y="289354"/>
                  <a:pt x="364795" y="294321"/>
                </a:cubicBezTo>
                <a:cubicBezTo>
                  <a:pt x="372400" y="302168"/>
                  <a:pt x="380531" y="309488"/>
                  <a:pt x="387851" y="317524"/>
                </a:cubicBezTo>
                <a:cubicBezTo>
                  <a:pt x="393240" y="323399"/>
                  <a:pt x="398113" y="329716"/>
                  <a:pt x="402416" y="336424"/>
                </a:cubicBezTo>
                <a:cubicBezTo>
                  <a:pt x="407816" y="344883"/>
                  <a:pt x="404515" y="352835"/>
                  <a:pt x="394527" y="354259"/>
                </a:cubicBezTo>
                <a:lnTo>
                  <a:pt x="394527" y="354259"/>
                </a:lnTo>
                <a:close/>
              </a:path>
            </a:pathLst>
          </a:custGeom>
          <a:solidFill>
            <a:schemeClr val="tx1"/>
          </a:solidFill>
          <a:ln w="104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8" name="Freeform 387">
            <a:extLst>
              <a:ext uri="{FF2B5EF4-FFF2-40B4-BE49-F238E27FC236}">
                <a16:creationId xmlns:a16="http://schemas.microsoft.com/office/drawing/2014/main" id="{7A75FD1E-43B1-A510-1CCB-C04958851864}"/>
              </a:ext>
            </a:extLst>
          </p:cNvPr>
          <p:cNvSpPr/>
          <p:nvPr/>
        </p:nvSpPr>
        <p:spPr>
          <a:xfrm>
            <a:off x="7563840" y="5087826"/>
            <a:ext cx="540000" cy="540000"/>
          </a:xfrm>
          <a:custGeom>
            <a:avLst/>
            <a:gdLst>
              <a:gd name="connsiteX0" fmla="*/ 403829 w 540000"/>
              <a:gd name="connsiteY0" fmla="*/ 273164 h 540000"/>
              <a:gd name="connsiteX1" fmla="*/ 403827 w 540000"/>
              <a:gd name="connsiteY1" fmla="*/ 273175 h 540000"/>
              <a:gd name="connsiteX2" fmla="*/ 403819 w 540000"/>
              <a:gd name="connsiteY2" fmla="*/ 273175 h 540000"/>
              <a:gd name="connsiteX3" fmla="*/ 219491 w 540000"/>
              <a:gd name="connsiteY3" fmla="*/ 206866 h 540000"/>
              <a:gd name="connsiteX4" fmla="*/ 202616 w 540000"/>
              <a:gd name="connsiteY4" fmla="*/ 232590 h 540000"/>
              <a:gd name="connsiteX5" fmla="*/ 238137 w 540000"/>
              <a:gd name="connsiteY5" fmla="*/ 301155 h 540000"/>
              <a:gd name="connsiteX6" fmla="*/ 238559 w 540000"/>
              <a:gd name="connsiteY6" fmla="*/ 301545 h 540000"/>
              <a:gd name="connsiteX7" fmla="*/ 317218 w 540000"/>
              <a:gd name="connsiteY7" fmla="*/ 332848 h 540000"/>
              <a:gd name="connsiteX8" fmla="*/ 340421 w 540000"/>
              <a:gd name="connsiteY8" fmla="*/ 312630 h 540000"/>
              <a:gd name="connsiteX9" fmla="*/ 340410 w 540000"/>
              <a:gd name="connsiteY9" fmla="*/ 312641 h 540000"/>
              <a:gd name="connsiteX10" fmla="*/ 340484 w 540000"/>
              <a:gd name="connsiteY10" fmla="*/ 312430 h 540000"/>
              <a:gd name="connsiteX11" fmla="*/ 341602 w 540000"/>
              <a:gd name="connsiteY11" fmla="*/ 309972 h 540000"/>
              <a:gd name="connsiteX12" fmla="*/ 335021 w 540000"/>
              <a:gd name="connsiteY12" fmla="*/ 297938 h 540000"/>
              <a:gd name="connsiteX13" fmla="*/ 309086 w 540000"/>
              <a:gd name="connsiteY13" fmla="*/ 290482 h 540000"/>
              <a:gd name="connsiteX14" fmla="*/ 299320 w 540000"/>
              <a:gd name="connsiteY14" fmla="*/ 293466 h 540000"/>
              <a:gd name="connsiteX15" fmla="*/ 292960 w 540000"/>
              <a:gd name="connsiteY15" fmla="*/ 299900 h 540000"/>
              <a:gd name="connsiteX16" fmla="*/ 282698 w 540000"/>
              <a:gd name="connsiteY16" fmla="*/ 302062 h 540000"/>
              <a:gd name="connsiteX17" fmla="*/ 256763 w 540000"/>
              <a:gd name="connsiteY17" fmla="*/ 283479 h 540000"/>
              <a:gd name="connsiteX18" fmla="*/ 238042 w 540000"/>
              <a:gd name="connsiteY18" fmla="*/ 262691 h 540000"/>
              <a:gd name="connsiteX19" fmla="*/ 238791 w 540000"/>
              <a:gd name="connsiteY19" fmla="*/ 252207 h 540000"/>
              <a:gd name="connsiteX20" fmla="*/ 244328 w 540000"/>
              <a:gd name="connsiteY20" fmla="*/ 245098 h 540000"/>
              <a:gd name="connsiteX21" fmla="*/ 245499 w 540000"/>
              <a:gd name="connsiteY21" fmla="*/ 235290 h 540000"/>
              <a:gd name="connsiteX22" fmla="*/ 234594 w 540000"/>
              <a:gd name="connsiteY22" fmla="*/ 210420 h 540000"/>
              <a:gd name="connsiteX23" fmla="*/ 233064 w 540000"/>
              <a:gd name="connsiteY23" fmla="*/ 207952 h 540000"/>
              <a:gd name="connsiteX24" fmla="*/ 219491 w 540000"/>
              <a:gd name="connsiteY24" fmla="*/ 206866 h 540000"/>
              <a:gd name="connsiteX25" fmla="*/ 269858 w 540000"/>
              <a:gd name="connsiteY25" fmla="*/ 164343 h 540000"/>
              <a:gd name="connsiteX26" fmla="*/ 344070 w 540000"/>
              <a:gd name="connsiteY26" fmla="*/ 194853 h 540000"/>
              <a:gd name="connsiteX27" fmla="*/ 344608 w 540000"/>
              <a:gd name="connsiteY27" fmla="*/ 195391 h 540000"/>
              <a:gd name="connsiteX28" fmla="*/ 344598 w 540000"/>
              <a:gd name="connsiteY28" fmla="*/ 195402 h 540000"/>
              <a:gd name="connsiteX29" fmla="*/ 344239 w 540000"/>
              <a:gd name="connsiteY29" fmla="*/ 343047 h 540000"/>
              <a:gd name="connsiteX30" fmla="*/ 223446 w 540000"/>
              <a:gd name="connsiteY30" fmla="*/ 362802 h 540000"/>
              <a:gd name="connsiteX31" fmla="*/ 213996 w 540000"/>
              <a:gd name="connsiteY31" fmla="*/ 358108 h 540000"/>
              <a:gd name="connsiteX32" fmla="*/ 172536 w 540000"/>
              <a:gd name="connsiteY32" fmla="*/ 367948 h 540000"/>
              <a:gd name="connsiteX33" fmla="*/ 172536 w 540000"/>
              <a:gd name="connsiteY33" fmla="*/ 367411 h 540000"/>
              <a:gd name="connsiteX34" fmla="*/ 181174 w 540000"/>
              <a:gd name="connsiteY34" fmla="*/ 325561 h 540000"/>
              <a:gd name="connsiteX35" fmla="*/ 176554 w 540000"/>
              <a:gd name="connsiteY35" fmla="*/ 316469 h 540000"/>
              <a:gd name="connsiteX36" fmla="*/ 195802 w 540000"/>
              <a:gd name="connsiteY36" fmla="*/ 195254 h 540000"/>
              <a:gd name="connsiteX37" fmla="*/ 269858 w 540000"/>
              <a:gd name="connsiteY37" fmla="*/ 164343 h 540000"/>
              <a:gd name="connsiteX38" fmla="*/ 260398 w 540000"/>
              <a:gd name="connsiteY38" fmla="*/ 135231 h 540000"/>
              <a:gd name="connsiteX39" fmla="*/ 209176 w 540000"/>
              <a:gd name="connsiteY39" fmla="*/ 149555 h 540000"/>
              <a:gd name="connsiteX40" fmla="*/ 150768 w 540000"/>
              <a:gd name="connsiteY40" fmla="*/ 329738 h 540000"/>
              <a:gd name="connsiteX41" fmla="*/ 136561 w 540000"/>
              <a:gd name="connsiteY41" fmla="*/ 398725 h 540000"/>
              <a:gd name="connsiteX42" fmla="*/ 137373 w 540000"/>
              <a:gd name="connsiteY42" fmla="*/ 402743 h 540000"/>
              <a:gd name="connsiteX43" fmla="*/ 142847 w 540000"/>
              <a:gd name="connsiteY43" fmla="*/ 404873 h 540000"/>
              <a:gd name="connsiteX44" fmla="*/ 210347 w 540000"/>
              <a:gd name="connsiteY44" fmla="*/ 388811 h 540000"/>
              <a:gd name="connsiteX45" fmla="*/ 265570 w 540000"/>
              <a:gd name="connsiteY45" fmla="*/ 402711 h 540000"/>
              <a:gd name="connsiteX46" fmla="*/ 391612 w 540000"/>
              <a:gd name="connsiteY46" fmla="*/ 324944 h 540000"/>
              <a:gd name="connsiteX47" fmla="*/ 403827 w 540000"/>
              <a:gd name="connsiteY47" fmla="*/ 273175 h 540000"/>
              <a:gd name="connsiteX48" fmla="*/ 403924 w 540000"/>
              <a:gd name="connsiteY48" fmla="*/ 273175 h 540000"/>
              <a:gd name="connsiteX49" fmla="*/ 389359 w 540000"/>
              <a:gd name="connsiteY49" fmla="*/ 207963 h 540000"/>
              <a:gd name="connsiteX50" fmla="*/ 260398 w 540000"/>
              <a:gd name="connsiteY50" fmla="*/ 135231 h 540000"/>
              <a:gd name="connsiteX51" fmla="*/ 270000 w 540000"/>
              <a:gd name="connsiteY51" fmla="*/ 0 h 540000"/>
              <a:gd name="connsiteX52" fmla="*/ 540000 w 540000"/>
              <a:gd name="connsiteY52" fmla="*/ 270000 h 540000"/>
              <a:gd name="connsiteX53" fmla="*/ 270000 w 540000"/>
              <a:gd name="connsiteY53" fmla="*/ 540000 h 540000"/>
              <a:gd name="connsiteX54" fmla="*/ 0 w 540000"/>
              <a:gd name="connsiteY54" fmla="*/ 270000 h 540000"/>
              <a:gd name="connsiteX55" fmla="*/ 270000 w 540000"/>
              <a:gd name="connsiteY55" fmla="*/ 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540000" h="540000">
                <a:moveTo>
                  <a:pt x="403829" y="273164"/>
                </a:moveTo>
                <a:lnTo>
                  <a:pt x="403827" y="273175"/>
                </a:lnTo>
                <a:lnTo>
                  <a:pt x="403819" y="273175"/>
                </a:lnTo>
                <a:close/>
                <a:moveTo>
                  <a:pt x="219491" y="206866"/>
                </a:moveTo>
                <a:cubicBezTo>
                  <a:pt x="212245" y="212983"/>
                  <a:pt x="203649" y="222286"/>
                  <a:pt x="202616" y="232590"/>
                </a:cubicBezTo>
                <a:cubicBezTo>
                  <a:pt x="200875" y="250741"/>
                  <a:pt x="208691" y="273659"/>
                  <a:pt x="238137" y="301155"/>
                </a:cubicBezTo>
                <a:lnTo>
                  <a:pt x="238559" y="301545"/>
                </a:lnTo>
                <a:cubicBezTo>
                  <a:pt x="272415" y="332848"/>
                  <a:pt x="299457" y="337152"/>
                  <a:pt x="317218" y="332848"/>
                </a:cubicBezTo>
                <a:cubicBezTo>
                  <a:pt x="327280" y="330391"/>
                  <a:pt x="335337" y="320625"/>
                  <a:pt x="340421" y="312630"/>
                </a:cubicBezTo>
                <a:lnTo>
                  <a:pt x="340410" y="312641"/>
                </a:lnTo>
                <a:lnTo>
                  <a:pt x="340484" y="312430"/>
                </a:lnTo>
                <a:cubicBezTo>
                  <a:pt x="340969" y="311670"/>
                  <a:pt x="341349" y="310837"/>
                  <a:pt x="341602" y="309972"/>
                </a:cubicBezTo>
                <a:cubicBezTo>
                  <a:pt x="343110" y="304825"/>
                  <a:pt x="340157" y="299447"/>
                  <a:pt x="335021" y="297938"/>
                </a:cubicBezTo>
                <a:lnTo>
                  <a:pt x="309086" y="290482"/>
                </a:lnTo>
                <a:cubicBezTo>
                  <a:pt x="305532" y="289532"/>
                  <a:pt x="301746" y="290693"/>
                  <a:pt x="299320" y="293466"/>
                </a:cubicBezTo>
                <a:lnTo>
                  <a:pt x="292960" y="299900"/>
                </a:lnTo>
                <a:cubicBezTo>
                  <a:pt x="290302" y="302642"/>
                  <a:pt x="286242" y="303497"/>
                  <a:pt x="282698" y="302062"/>
                </a:cubicBezTo>
                <a:cubicBezTo>
                  <a:pt x="273185" y="297179"/>
                  <a:pt x="264452" y="290914"/>
                  <a:pt x="256763" y="283479"/>
                </a:cubicBezTo>
                <a:cubicBezTo>
                  <a:pt x="249612" y="277425"/>
                  <a:pt x="243305" y="270432"/>
                  <a:pt x="238042" y="262691"/>
                </a:cubicBezTo>
                <a:cubicBezTo>
                  <a:pt x="236144" y="259368"/>
                  <a:pt x="236439" y="255223"/>
                  <a:pt x="238791" y="252207"/>
                </a:cubicBezTo>
                <a:lnTo>
                  <a:pt x="244328" y="245098"/>
                </a:lnTo>
                <a:cubicBezTo>
                  <a:pt x="246501" y="242293"/>
                  <a:pt x="246955" y="238528"/>
                  <a:pt x="245499" y="235290"/>
                </a:cubicBezTo>
                <a:lnTo>
                  <a:pt x="234594" y="210420"/>
                </a:lnTo>
                <a:cubicBezTo>
                  <a:pt x="234214" y="209524"/>
                  <a:pt x="233697" y="208691"/>
                  <a:pt x="233064" y="207952"/>
                </a:cubicBezTo>
                <a:cubicBezTo>
                  <a:pt x="229616" y="203902"/>
                  <a:pt x="223541" y="203417"/>
                  <a:pt x="219491" y="206866"/>
                </a:cubicBezTo>
                <a:close/>
                <a:moveTo>
                  <a:pt x="269858" y="164343"/>
                </a:moveTo>
                <a:cubicBezTo>
                  <a:pt x="296689" y="164270"/>
                  <a:pt x="323546" y="174435"/>
                  <a:pt x="344070" y="194853"/>
                </a:cubicBezTo>
                <a:lnTo>
                  <a:pt x="344608" y="195391"/>
                </a:lnTo>
                <a:lnTo>
                  <a:pt x="344598" y="195402"/>
                </a:lnTo>
                <a:cubicBezTo>
                  <a:pt x="384992" y="236387"/>
                  <a:pt x="384834" y="302263"/>
                  <a:pt x="344239" y="343047"/>
                </a:cubicBezTo>
                <a:cubicBezTo>
                  <a:pt x="312387" y="374867"/>
                  <a:pt x="263777" y="382820"/>
                  <a:pt x="223446" y="362802"/>
                </a:cubicBezTo>
                <a:lnTo>
                  <a:pt x="213996" y="358108"/>
                </a:lnTo>
                <a:lnTo>
                  <a:pt x="172536" y="367948"/>
                </a:lnTo>
                <a:lnTo>
                  <a:pt x="172536" y="367411"/>
                </a:lnTo>
                <a:lnTo>
                  <a:pt x="181174" y="325561"/>
                </a:lnTo>
                <a:lnTo>
                  <a:pt x="176554" y="316469"/>
                </a:lnTo>
                <a:cubicBezTo>
                  <a:pt x="156178" y="276138"/>
                  <a:pt x="163940" y="227285"/>
                  <a:pt x="195802" y="195254"/>
                </a:cubicBezTo>
                <a:cubicBezTo>
                  <a:pt x="216221" y="174725"/>
                  <a:pt x="243026" y="164415"/>
                  <a:pt x="269858" y="164343"/>
                </a:cubicBezTo>
                <a:close/>
                <a:moveTo>
                  <a:pt x="260398" y="135231"/>
                </a:moveTo>
                <a:cubicBezTo>
                  <a:pt x="243044" y="136479"/>
                  <a:pt x="225648" y="141149"/>
                  <a:pt x="209176" y="149555"/>
                </a:cubicBezTo>
                <a:cubicBezTo>
                  <a:pt x="143290" y="183178"/>
                  <a:pt x="117144" y="263851"/>
                  <a:pt x="150768" y="329738"/>
                </a:cubicBezTo>
                <a:lnTo>
                  <a:pt x="136561" y="398725"/>
                </a:lnTo>
                <a:cubicBezTo>
                  <a:pt x="136255" y="400117"/>
                  <a:pt x="136550" y="401572"/>
                  <a:pt x="137373" y="402743"/>
                </a:cubicBezTo>
                <a:cubicBezTo>
                  <a:pt x="138586" y="404504"/>
                  <a:pt x="140759" y="405348"/>
                  <a:pt x="142847" y="404873"/>
                </a:cubicBezTo>
                <a:lnTo>
                  <a:pt x="210347" y="388811"/>
                </a:lnTo>
                <a:cubicBezTo>
                  <a:pt x="227549" y="397343"/>
                  <a:pt x="246375" y="402089"/>
                  <a:pt x="265570" y="402711"/>
                </a:cubicBezTo>
                <a:cubicBezTo>
                  <a:pt x="321037" y="404515"/>
                  <a:pt x="369722" y="372343"/>
                  <a:pt x="391612" y="324944"/>
                </a:cubicBezTo>
                <a:lnTo>
                  <a:pt x="403827" y="273175"/>
                </a:lnTo>
                <a:lnTo>
                  <a:pt x="403924" y="273175"/>
                </a:lnTo>
                <a:cubicBezTo>
                  <a:pt x="404663" y="250552"/>
                  <a:pt x="399642" y="228118"/>
                  <a:pt x="389359" y="207963"/>
                </a:cubicBezTo>
                <a:cubicBezTo>
                  <a:pt x="364142" y="158549"/>
                  <a:pt x="312459" y="131488"/>
                  <a:pt x="260398" y="135231"/>
                </a:cubicBezTo>
                <a:close/>
                <a:moveTo>
                  <a:pt x="270000" y="0"/>
                </a:moveTo>
                <a:cubicBezTo>
                  <a:pt x="419112" y="0"/>
                  <a:pt x="540000" y="120888"/>
                  <a:pt x="540000" y="270000"/>
                </a:cubicBezTo>
                <a:cubicBezTo>
                  <a:pt x="540000" y="419112"/>
                  <a:pt x="419112" y="540000"/>
                  <a:pt x="270000" y="540000"/>
                </a:cubicBezTo>
                <a:cubicBezTo>
                  <a:pt x="120888" y="540000"/>
                  <a:pt x="0" y="419112"/>
                  <a:pt x="0" y="270000"/>
                </a:cubicBezTo>
                <a:cubicBezTo>
                  <a:pt x="0" y="120888"/>
                  <a:pt x="120888" y="0"/>
                  <a:pt x="270000" y="0"/>
                </a:cubicBezTo>
                <a:close/>
              </a:path>
            </a:pathLst>
          </a:custGeom>
          <a:solidFill>
            <a:schemeClr val="tx1"/>
          </a:solidFill>
          <a:ln w="104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58" name="Graphic 31">
            <a:extLst>
              <a:ext uri="{FF2B5EF4-FFF2-40B4-BE49-F238E27FC236}">
                <a16:creationId xmlns:a16="http://schemas.microsoft.com/office/drawing/2014/main" id="{198D1303-830A-2227-17C7-47433AE666FC}"/>
              </a:ext>
            </a:extLst>
          </p:cNvPr>
          <p:cNvSpPr/>
          <p:nvPr/>
        </p:nvSpPr>
        <p:spPr>
          <a:xfrm>
            <a:off x="2718097" y="5087826"/>
            <a:ext cx="540000" cy="540000"/>
          </a:xfrm>
          <a:custGeom>
            <a:avLst/>
            <a:gdLst>
              <a:gd name="connsiteX0" fmla="*/ 270000 w 540000"/>
              <a:gd name="connsiteY0" fmla="*/ 0 h 540000"/>
              <a:gd name="connsiteX1" fmla="*/ 0 w 540000"/>
              <a:gd name="connsiteY1" fmla="*/ 270000 h 540000"/>
              <a:gd name="connsiteX2" fmla="*/ 270000 w 540000"/>
              <a:gd name="connsiteY2" fmla="*/ 540000 h 540000"/>
              <a:gd name="connsiteX3" fmla="*/ 540000 w 540000"/>
              <a:gd name="connsiteY3" fmla="*/ 270000 h 540000"/>
              <a:gd name="connsiteX4" fmla="*/ 270000 w 540000"/>
              <a:gd name="connsiteY4" fmla="*/ 0 h 540000"/>
              <a:gd name="connsiteX5" fmla="*/ 404462 w 540000"/>
              <a:gd name="connsiteY5" fmla="*/ 188293 h 540000"/>
              <a:gd name="connsiteX6" fmla="*/ 381333 w 540000"/>
              <a:gd name="connsiteY6" fmla="*/ 213690 h 540000"/>
              <a:gd name="connsiteX7" fmla="*/ 377779 w 540000"/>
              <a:gd name="connsiteY7" fmla="*/ 221400 h 540000"/>
              <a:gd name="connsiteX8" fmla="*/ 377779 w 540000"/>
              <a:gd name="connsiteY8" fmla="*/ 222286 h 540000"/>
              <a:gd name="connsiteX9" fmla="*/ 367337 w 540000"/>
              <a:gd name="connsiteY9" fmla="*/ 278627 h 540000"/>
              <a:gd name="connsiteX10" fmla="*/ 336604 w 540000"/>
              <a:gd name="connsiteY10" fmla="*/ 330138 h 540000"/>
              <a:gd name="connsiteX11" fmla="*/ 269989 w 540000"/>
              <a:gd name="connsiteY11" fmla="*/ 374150 h 540000"/>
              <a:gd name="connsiteX12" fmla="*/ 217624 w 540000"/>
              <a:gd name="connsiteY12" fmla="*/ 382282 h 540000"/>
              <a:gd name="connsiteX13" fmla="*/ 137331 w 540000"/>
              <a:gd name="connsiteY13" fmla="*/ 360650 h 540000"/>
              <a:gd name="connsiteX14" fmla="*/ 135127 w 540000"/>
              <a:gd name="connsiteY14" fmla="*/ 355535 h 540000"/>
              <a:gd name="connsiteX15" fmla="*/ 139461 w 540000"/>
              <a:gd name="connsiteY15" fmla="*/ 352192 h 540000"/>
              <a:gd name="connsiteX16" fmla="*/ 146211 w 540000"/>
              <a:gd name="connsiteY16" fmla="*/ 352192 h 540000"/>
              <a:gd name="connsiteX17" fmla="*/ 206392 w 540000"/>
              <a:gd name="connsiteY17" fmla="*/ 333935 h 540000"/>
              <a:gd name="connsiteX18" fmla="*/ 160207 w 540000"/>
              <a:gd name="connsiteY18" fmla="*/ 294247 h 540000"/>
              <a:gd name="connsiteX19" fmla="*/ 162148 w 540000"/>
              <a:gd name="connsiteY19" fmla="*/ 290387 h 540000"/>
              <a:gd name="connsiteX20" fmla="*/ 163761 w 540000"/>
              <a:gd name="connsiteY20" fmla="*/ 290303 h 540000"/>
              <a:gd name="connsiteX21" fmla="*/ 173570 w 540000"/>
              <a:gd name="connsiteY21" fmla="*/ 291231 h 540000"/>
              <a:gd name="connsiteX22" fmla="*/ 174814 w 540000"/>
              <a:gd name="connsiteY22" fmla="*/ 291231 h 540000"/>
              <a:gd name="connsiteX23" fmla="*/ 140811 w 540000"/>
              <a:gd name="connsiteY23" fmla="*/ 237547 h 540000"/>
              <a:gd name="connsiteX24" fmla="*/ 143891 w 540000"/>
              <a:gd name="connsiteY24" fmla="*/ 234510 h 540000"/>
              <a:gd name="connsiteX25" fmla="*/ 145325 w 540000"/>
              <a:gd name="connsiteY25" fmla="*/ 234879 h 540000"/>
              <a:gd name="connsiteX26" fmla="*/ 158614 w 540000"/>
              <a:gd name="connsiteY26" fmla="*/ 240026 h 540000"/>
              <a:gd name="connsiteX27" fmla="*/ 149196 w 540000"/>
              <a:gd name="connsiteY27" fmla="*/ 169288 h 540000"/>
              <a:gd name="connsiteX28" fmla="*/ 153373 w 540000"/>
              <a:gd name="connsiteY28" fmla="*/ 168191 h 540000"/>
              <a:gd name="connsiteX29" fmla="*/ 154206 w 540000"/>
              <a:gd name="connsiteY29" fmla="*/ 168898 h 540000"/>
              <a:gd name="connsiteX30" fmla="*/ 259042 w 540000"/>
              <a:gd name="connsiteY30" fmla="*/ 224923 h 540000"/>
              <a:gd name="connsiteX31" fmla="*/ 259327 w 540000"/>
              <a:gd name="connsiteY31" fmla="*/ 224923 h 540000"/>
              <a:gd name="connsiteX32" fmla="*/ 261468 w 540000"/>
              <a:gd name="connsiteY32" fmla="*/ 222655 h 540000"/>
              <a:gd name="connsiteX33" fmla="*/ 261468 w 540000"/>
              <a:gd name="connsiteY33" fmla="*/ 222539 h 540000"/>
              <a:gd name="connsiteX34" fmla="*/ 262818 w 540000"/>
              <a:gd name="connsiteY34" fmla="*/ 201224 h 540000"/>
              <a:gd name="connsiteX35" fmla="*/ 300829 w 540000"/>
              <a:gd name="connsiteY35" fmla="*/ 160587 h 540000"/>
              <a:gd name="connsiteX36" fmla="*/ 319264 w 540000"/>
              <a:gd name="connsiteY36" fmla="*/ 157750 h 540000"/>
              <a:gd name="connsiteX37" fmla="*/ 357771 w 540000"/>
              <a:gd name="connsiteY37" fmla="*/ 172283 h 540000"/>
              <a:gd name="connsiteX38" fmla="*/ 362781 w 540000"/>
              <a:gd name="connsiteY38" fmla="*/ 174203 h 540000"/>
              <a:gd name="connsiteX39" fmla="*/ 364553 w 540000"/>
              <a:gd name="connsiteY39" fmla="*/ 173950 h 540000"/>
              <a:gd name="connsiteX40" fmla="*/ 392977 w 540000"/>
              <a:gd name="connsiteY40" fmla="*/ 162221 h 540000"/>
              <a:gd name="connsiteX41" fmla="*/ 397132 w 540000"/>
              <a:gd name="connsiteY41" fmla="*/ 163202 h 540000"/>
              <a:gd name="connsiteX42" fmla="*/ 397417 w 540000"/>
              <a:gd name="connsiteY42" fmla="*/ 165765 h 540000"/>
              <a:gd name="connsiteX43" fmla="*/ 382103 w 540000"/>
              <a:gd name="connsiteY43" fmla="*/ 190171 h 540000"/>
              <a:gd name="connsiteX44" fmla="*/ 400718 w 540000"/>
              <a:gd name="connsiteY44" fmla="*/ 183885 h 540000"/>
              <a:gd name="connsiteX45" fmla="*/ 404652 w 540000"/>
              <a:gd name="connsiteY45" fmla="*/ 185667 h 540000"/>
              <a:gd name="connsiteX46" fmla="*/ 404452 w 540000"/>
              <a:gd name="connsiteY46" fmla="*/ 188251 h 540000"/>
              <a:gd name="connsiteX47" fmla="*/ 404452 w 540000"/>
              <a:gd name="connsiteY47" fmla="*/ 188251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40000" h="540000">
                <a:moveTo>
                  <a:pt x="270000" y="0"/>
                </a:moveTo>
                <a:cubicBezTo>
                  <a:pt x="120888" y="0"/>
                  <a:pt x="0" y="120888"/>
                  <a:pt x="0" y="270000"/>
                </a:cubicBezTo>
                <a:cubicBezTo>
                  <a:pt x="0" y="419112"/>
                  <a:pt x="120888" y="540000"/>
                  <a:pt x="270000" y="540000"/>
                </a:cubicBezTo>
                <a:cubicBezTo>
                  <a:pt x="419112" y="540000"/>
                  <a:pt x="540000" y="419112"/>
                  <a:pt x="540000" y="270000"/>
                </a:cubicBezTo>
                <a:cubicBezTo>
                  <a:pt x="540000" y="120888"/>
                  <a:pt x="419112" y="0"/>
                  <a:pt x="270000" y="0"/>
                </a:cubicBezTo>
                <a:close/>
                <a:moveTo>
                  <a:pt x="404462" y="188293"/>
                </a:moveTo>
                <a:cubicBezTo>
                  <a:pt x="398081" y="197880"/>
                  <a:pt x="390287" y="206445"/>
                  <a:pt x="381333" y="213690"/>
                </a:cubicBezTo>
                <a:cubicBezTo>
                  <a:pt x="379044" y="215599"/>
                  <a:pt x="377747" y="218426"/>
                  <a:pt x="377779" y="221400"/>
                </a:cubicBezTo>
                <a:lnTo>
                  <a:pt x="377779" y="222286"/>
                </a:lnTo>
                <a:cubicBezTo>
                  <a:pt x="377673" y="241534"/>
                  <a:pt x="374140" y="260624"/>
                  <a:pt x="367337" y="278627"/>
                </a:cubicBezTo>
                <a:cubicBezTo>
                  <a:pt x="360323" y="297527"/>
                  <a:pt x="349914" y="314993"/>
                  <a:pt x="336604" y="330138"/>
                </a:cubicBezTo>
                <a:cubicBezTo>
                  <a:pt x="318727" y="350494"/>
                  <a:pt x="295724" y="365692"/>
                  <a:pt x="269989" y="374150"/>
                </a:cubicBezTo>
                <a:cubicBezTo>
                  <a:pt x="253083" y="379635"/>
                  <a:pt x="235406" y="382388"/>
                  <a:pt x="217624" y="382282"/>
                </a:cubicBezTo>
                <a:cubicBezTo>
                  <a:pt x="189422" y="382282"/>
                  <a:pt x="161726" y="374815"/>
                  <a:pt x="137331" y="360650"/>
                </a:cubicBezTo>
                <a:cubicBezTo>
                  <a:pt x="135538" y="359627"/>
                  <a:pt x="134631" y="357539"/>
                  <a:pt x="135127" y="355535"/>
                </a:cubicBezTo>
                <a:cubicBezTo>
                  <a:pt x="135633" y="353563"/>
                  <a:pt x="137415" y="352181"/>
                  <a:pt x="139461" y="352192"/>
                </a:cubicBezTo>
                <a:lnTo>
                  <a:pt x="146211" y="352192"/>
                </a:lnTo>
                <a:cubicBezTo>
                  <a:pt x="167643" y="352234"/>
                  <a:pt x="188599" y="345874"/>
                  <a:pt x="206392" y="333935"/>
                </a:cubicBezTo>
                <a:cubicBezTo>
                  <a:pt x="184781" y="330402"/>
                  <a:pt x="166946" y="315088"/>
                  <a:pt x="160207" y="294247"/>
                </a:cubicBezTo>
                <a:cubicBezTo>
                  <a:pt x="159680" y="292644"/>
                  <a:pt x="160545" y="290914"/>
                  <a:pt x="162148" y="290387"/>
                </a:cubicBezTo>
                <a:cubicBezTo>
                  <a:pt x="162664" y="290218"/>
                  <a:pt x="163223" y="290187"/>
                  <a:pt x="163761" y="290303"/>
                </a:cubicBezTo>
                <a:cubicBezTo>
                  <a:pt x="166999" y="290914"/>
                  <a:pt x="170279" y="291220"/>
                  <a:pt x="173570" y="291231"/>
                </a:cubicBezTo>
                <a:lnTo>
                  <a:pt x="174814" y="291231"/>
                </a:lnTo>
                <a:cubicBezTo>
                  <a:pt x="153879" y="281623"/>
                  <a:pt x="140558" y="260592"/>
                  <a:pt x="140811" y="237547"/>
                </a:cubicBezTo>
                <a:cubicBezTo>
                  <a:pt x="140822" y="235860"/>
                  <a:pt x="142204" y="234499"/>
                  <a:pt x="143891" y="234510"/>
                </a:cubicBezTo>
                <a:cubicBezTo>
                  <a:pt x="144397" y="234510"/>
                  <a:pt x="144882" y="234636"/>
                  <a:pt x="145325" y="234879"/>
                </a:cubicBezTo>
                <a:cubicBezTo>
                  <a:pt x="149491" y="237210"/>
                  <a:pt x="153963" y="238939"/>
                  <a:pt x="158614" y="240026"/>
                </a:cubicBezTo>
                <a:cubicBezTo>
                  <a:pt x="139736" y="221337"/>
                  <a:pt x="135875" y="192270"/>
                  <a:pt x="149196" y="169288"/>
                </a:cubicBezTo>
                <a:cubicBezTo>
                  <a:pt x="150050" y="167832"/>
                  <a:pt x="151917" y="167337"/>
                  <a:pt x="153373" y="168191"/>
                </a:cubicBezTo>
                <a:cubicBezTo>
                  <a:pt x="153689" y="168381"/>
                  <a:pt x="153974" y="168613"/>
                  <a:pt x="154206" y="168898"/>
                </a:cubicBezTo>
                <a:cubicBezTo>
                  <a:pt x="180151" y="200960"/>
                  <a:pt x="217972" y="221168"/>
                  <a:pt x="259042" y="224923"/>
                </a:cubicBezTo>
                <a:lnTo>
                  <a:pt x="259327" y="224923"/>
                </a:lnTo>
                <a:cubicBezTo>
                  <a:pt x="260539" y="224891"/>
                  <a:pt x="261499" y="223868"/>
                  <a:pt x="261468" y="222655"/>
                </a:cubicBezTo>
                <a:cubicBezTo>
                  <a:pt x="261468" y="222613"/>
                  <a:pt x="261468" y="222581"/>
                  <a:pt x="261468" y="222539"/>
                </a:cubicBezTo>
                <a:cubicBezTo>
                  <a:pt x="260677" y="215409"/>
                  <a:pt x="261130" y="208195"/>
                  <a:pt x="262818" y="201224"/>
                </a:cubicBezTo>
                <a:cubicBezTo>
                  <a:pt x="267479" y="181944"/>
                  <a:pt x="281907" y="166525"/>
                  <a:pt x="300829" y="160587"/>
                </a:cubicBezTo>
                <a:cubicBezTo>
                  <a:pt x="306798" y="158720"/>
                  <a:pt x="313010" y="157760"/>
                  <a:pt x="319264" y="157750"/>
                </a:cubicBezTo>
                <a:cubicBezTo>
                  <a:pt x="333439" y="157729"/>
                  <a:pt x="347140" y="162896"/>
                  <a:pt x="357771" y="172283"/>
                </a:cubicBezTo>
                <a:cubicBezTo>
                  <a:pt x="359153" y="173517"/>
                  <a:pt x="360935" y="174203"/>
                  <a:pt x="362781" y="174203"/>
                </a:cubicBezTo>
                <a:cubicBezTo>
                  <a:pt x="363382" y="174192"/>
                  <a:pt x="363973" y="174108"/>
                  <a:pt x="364553" y="173950"/>
                </a:cubicBezTo>
                <a:cubicBezTo>
                  <a:pt x="374541" y="171418"/>
                  <a:pt x="384107" y="167474"/>
                  <a:pt x="392977" y="162221"/>
                </a:cubicBezTo>
                <a:cubicBezTo>
                  <a:pt x="394400" y="161346"/>
                  <a:pt x="396257" y="161789"/>
                  <a:pt x="397132" y="163202"/>
                </a:cubicBezTo>
                <a:cubicBezTo>
                  <a:pt x="397607" y="163972"/>
                  <a:pt x="397712" y="164911"/>
                  <a:pt x="397417" y="165765"/>
                </a:cubicBezTo>
                <a:cubicBezTo>
                  <a:pt x="394464" y="175068"/>
                  <a:pt x="389190" y="183463"/>
                  <a:pt x="382103" y="190171"/>
                </a:cubicBezTo>
                <a:cubicBezTo>
                  <a:pt x="388494" y="188663"/>
                  <a:pt x="394727" y="186564"/>
                  <a:pt x="400718" y="183885"/>
                </a:cubicBezTo>
                <a:cubicBezTo>
                  <a:pt x="402300" y="183294"/>
                  <a:pt x="404061" y="184096"/>
                  <a:pt x="404652" y="185667"/>
                </a:cubicBezTo>
                <a:cubicBezTo>
                  <a:pt x="404968" y="186511"/>
                  <a:pt x="404895" y="187460"/>
                  <a:pt x="404452" y="188251"/>
                </a:cubicBezTo>
                <a:lnTo>
                  <a:pt x="404452" y="188251"/>
                </a:lnTo>
                <a:close/>
              </a:path>
            </a:pathLst>
          </a:custGeom>
          <a:solidFill>
            <a:schemeClr val="tx1"/>
          </a:solidFill>
          <a:ln w="104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3" name="Freeform 382">
            <a:extLst>
              <a:ext uri="{FF2B5EF4-FFF2-40B4-BE49-F238E27FC236}">
                <a16:creationId xmlns:a16="http://schemas.microsoft.com/office/drawing/2014/main" id="{8D18E78C-B72E-AA4C-CC95-9D70CAEF0E89}"/>
              </a:ext>
            </a:extLst>
          </p:cNvPr>
          <p:cNvSpPr/>
          <p:nvPr/>
        </p:nvSpPr>
        <p:spPr>
          <a:xfrm>
            <a:off x="2025848" y="5087826"/>
            <a:ext cx="540000" cy="540000"/>
          </a:xfrm>
          <a:custGeom>
            <a:avLst/>
            <a:gdLst>
              <a:gd name="connsiteX0" fmla="*/ 269999 w 540000"/>
              <a:gd name="connsiteY0" fmla="*/ 227337 h 540000"/>
              <a:gd name="connsiteX1" fmla="*/ 312661 w 540000"/>
              <a:gd name="connsiteY1" fmla="*/ 269999 h 540000"/>
              <a:gd name="connsiteX2" fmla="*/ 269999 w 540000"/>
              <a:gd name="connsiteY2" fmla="*/ 312661 h 540000"/>
              <a:gd name="connsiteX3" fmla="*/ 227337 w 540000"/>
              <a:gd name="connsiteY3" fmla="*/ 269999 h 540000"/>
              <a:gd name="connsiteX4" fmla="*/ 269999 w 540000"/>
              <a:gd name="connsiteY4" fmla="*/ 227337 h 540000"/>
              <a:gd name="connsiteX5" fmla="*/ 269926 w 540000"/>
              <a:gd name="connsiteY5" fmla="*/ 200148 h 540000"/>
              <a:gd name="connsiteX6" fmla="*/ 200116 w 540000"/>
              <a:gd name="connsiteY6" fmla="*/ 270031 h 540000"/>
              <a:gd name="connsiteX7" fmla="*/ 270000 w 540000"/>
              <a:gd name="connsiteY7" fmla="*/ 339841 h 540000"/>
              <a:gd name="connsiteX8" fmla="*/ 270000 w 540000"/>
              <a:gd name="connsiteY8" fmla="*/ 339831 h 540000"/>
              <a:gd name="connsiteX9" fmla="*/ 339810 w 540000"/>
              <a:gd name="connsiteY9" fmla="*/ 269989 h 540000"/>
              <a:gd name="connsiteX10" fmla="*/ 339810 w 540000"/>
              <a:gd name="connsiteY10" fmla="*/ 269958 h 540000"/>
              <a:gd name="connsiteX11" fmla="*/ 269926 w 540000"/>
              <a:gd name="connsiteY11" fmla="*/ 200148 h 540000"/>
              <a:gd name="connsiteX12" fmla="*/ 340168 w 540000"/>
              <a:gd name="connsiteY12" fmla="*/ 182883 h 540000"/>
              <a:gd name="connsiteX13" fmla="*/ 322935 w 540000"/>
              <a:gd name="connsiteY13" fmla="*/ 200179 h 540000"/>
              <a:gd name="connsiteX14" fmla="*/ 340232 w 540000"/>
              <a:gd name="connsiteY14" fmla="*/ 217413 h 540000"/>
              <a:gd name="connsiteX15" fmla="*/ 340232 w 540000"/>
              <a:gd name="connsiteY15" fmla="*/ 217424 h 540000"/>
              <a:gd name="connsiteX16" fmla="*/ 357465 w 540000"/>
              <a:gd name="connsiteY16" fmla="*/ 200190 h 540000"/>
              <a:gd name="connsiteX17" fmla="*/ 357465 w 540000"/>
              <a:gd name="connsiteY17" fmla="*/ 200116 h 540000"/>
              <a:gd name="connsiteX18" fmla="*/ 340168 w 540000"/>
              <a:gd name="connsiteY18" fmla="*/ 182883 h 540000"/>
              <a:gd name="connsiteX19" fmla="*/ 215430 w 540000"/>
              <a:gd name="connsiteY19" fmla="*/ 162179 h 540000"/>
              <a:gd name="connsiteX20" fmla="*/ 324569 w 540000"/>
              <a:gd name="connsiteY20" fmla="*/ 162179 h 540000"/>
              <a:gd name="connsiteX21" fmla="*/ 377863 w 540000"/>
              <a:gd name="connsiteY21" fmla="*/ 215430 h 540000"/>
              <a:gd name="connsiteX22" fmla="*/ 377863 w 540000"/>
              <a:gd name="connsiteY22" fmla="*/ 324569 h 540000"/>
              <a:gd name="connsiteX23" fmla="*/ 324569 w 540000"/>
              <a:gd name="connsiteY23" fmla="*/ 377863 h 540000"/>
              <a:gd name="connsiteX24" fmla="*/ 215430 w 540000"/>
              <a:gd name="connsiteY24" fmla="*/ 377863 h 540000"/>
              <a:gd name="connsiteX25" fmla="*/ 162137 w 540000"/>
              <a:gd name="connsiteY25" fmla="*/ 324569 h 540000"/>
              <a:gd name="connsiteX26" fmla="*/ 162137 w 540000"/>
              <a:gd name="connsiteY26" fmla="*/ 215472 h 540000"/>
              <a:gd name="connsiteX27" fmla="*/ 215430 w 540000"/>
              <a:gd name="connsiteY27" fmla="*/ 162179 h 540000"/>
              <a:gd name="connsiteX28" fmla="*/ 215430 w 540000"/>
              <a:gd name="connsiteY28" fmla="*/ 135000 h 540000"/>
              <a:gd name="connsiteX29" fmla="*/ 135000 w 540000"/>
              <a:gd name="connsiteY29" fmla="*/ 215430 h 540000"/>
              <a:gd name="connsiteX30" fmla="*/ 135000 w 540000"/>
              <a:gd name="connsiteY30" fmla="*/ 324570 h 540000"/>
              <a:gd name="connsiteX31" fmla="*/ 215430 w 540000"/>
              <a:gd name="connsiteY31" fmla="*/ 405000 h 540000"/>
              <a:gd name="connsiteX32" fmla="*/ 324570 w 540000"/>
              <a:gd name="connsiteY32" fmla="*/ 405000 h 540000"/>
              <a:gd name="connsiteX33" fmla="*/ 405000 w 540000"/>
              <a:gd name="connsiteY33" fmla="*/ 324570 h 540000"/>
              <a:gd name="connsiteX34" fmla="*/ 405000 w 540000"/>
              <a:gd name="connsiteY34" fmla="*/ 215430 h 540000"/>
              <a:gd name="connsiteX35" fmla="*/ 324570 w 540000"/>
              <a:gd name="connsiteY35" fmla="*/ 135000 h 540000"/>
              <a:gd name="connsiteX36" fmla="*/ 270000 w 540000"/>
              <a:gd name="connsiteY36" fmla="*/ 0 h 540000"/>
              <a:gd name="connsiteX37" fmla="*/ 540000 w 540000"/>
              <a:gd name="connsiteY37" fmla="*/ 270000 h 540000"/>
              <a:gd name="connsiteX38" fmla="*/ 270000 w 540000"/>
              <a:gd name="connsiteY38" fmla="*/ 540000 h 540000"/>
              <a:gd name="connsiteX39" fmla="*/ 0 w 540000"/>
              <a:gd name="connsiteY39" fmla="*/ 270000 h 540000"/>
              <a:gd name="connsiteX40" fmla="*/ 270000 w 540000"/>
              <a:gd name="connsiteY40" fmla="*/ 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540000" h="540000">
                <a:moveTo>
                  <a:pt x="269999" y="227337"/>
                </a:moveTo>
                <a:cubicBezTo>
                  <a:pt x="293561" y="227337"/>
                  <a:pt x="312661" y="246437"/>
                  <a:pt x="312661" y="269999"/>
                </a:cubicBezTo>
                <a:cubicBezTo>
                  <a:pt x="312661" y="293561"/>
                  <a:pt x="293561" y="312661"/>
                  <a:pt x="269999" y="312661"/>
                </a:cubicBezTo>
                <a:cubicBezTo>
                  <a:pt x="246437" y="312661"/>
                  <a:pt x="227337" y="293561"/>
                  <a:pt x="227337" y="269999"/>
                </a:cubicBezTo>
                <a:cubicBezTo>
                  <a:pt x="227337" y="246437"/>
                  <a:pt x="246437" y="227337"/>
                  <a:pt x="269999" y="227337"/>
                </a:cubicBezTo>
                <a:close/>
                <a:moveTo>
                  <a:pt x="269926" y="200148"/>
                </a:moveTo>
                <a:cubicBezTo>
                  <a:pt x="231356" y="200169"/>
                  <a:pt x="200095" y="231461"/>
                  <a:pt x="200116" y="270031"/>
                </a:cubicBezTo>
                <a:cubicBezTo>
                  <a:pt x="200137" y="308601"/>
                  <a:pt x="231430" y="339862"/>
                  <a:pt x="270000" y="339841"/>
                </a:cubicBezTo>
                <a:lnTo>
                  <a:pt x="270000" y="339831"/>
                </a:lnTo>
                <a:cubicBezTo>
                  <a:pt x="308549" y="339778"/>
                  <a:pt x="339767" y="308538"/>
                  <a:pt x="339810" y="269989"/>
                </a:cubicBezTo>
                <a:lnTo>
                  <a:pt x="339810" y="269958"/>
                </a:lnTo>
                <a:cubicBezTo>
                  <a:pt x="339789" y="231388"/>
                  <a:pt x="308496" y="200127"/>
                  <a:pt x="269926" y="200148"/>
                </a:cubicBezTo>
                <a:close/>
                <a:moveTo>
                  <a:pt x="340168" y="182883"/>
                </a:moveTo>
                <a:cubicBezTo>
                  <a:pt x="330634" y="182893"/>
                  <a:pt x="322924" y="190645"/>
                  <a:pt x="322935" y="200179"/>
                </a:cubicBezTo>
                <a:cubicBezTo>
                  <a:pt x="322945" y="209714"/>
                  <a:pt x="330697" y="217434"/>
                  <a:pt x="340232" y="217413"/>
                </a:cubicBezTo>
                <a:lnTo>
                  <a:pt x="340232" y="217424"/>
                </a:lnTo>
                <a:cubicBezTo>
                  <a:pt x="349745" y="217402"/>
                  <a:pt x="357444" y="209693"/>
                  <a:pt x="357465" y="200190"/>
                </a:cubicBezTo>
                <a:cubicBezTo>
                  <a:pt x="357465" y="200158"/>
                  <a:pt x="357465" y="200137"/>
                  <a:pt x="357465" y="200116"/>
                </a:cubicBezTo>
                <a:cubicBezTo>
                  <a:pt x="357455" y="190582"/>
                  <a:pt x="349703" y="182861"/>
                  <a:pt x="340168" y="182883"/>
                </a:cubicBezTo>
                <a:close/>
                <a:moveTo>
                  <a:pt x="215430" y="162179"/>
                </a:moveTo>
                <a:lnTo>
                  <a:pt x="324569" y="162179"/>
                </a:lnTo>
                <a:cubicBezTo>
                  <a:pt x="353995" y="162179"/>
                  <a:pt x="377842" y="186015"/>
                  <a:pt x="377863" y="215430"/>
                </a:cubicBezTo>
                <a:lnTo>
                  <a:pt x="377863" y="324569"/>
                </a:lnTo>
                <a:cubicBezTo>
                  <a:pt x="377863" y="354006"/>
                  <a:pt x="353995" y="377863"/>
                  <a:pt x="324569" y="377863"/>
                </a:cubicBezTo>
                <a:lnTo>
                  <a:pt x="215430" y="377863"/>
                </a:lnTo>
                <a:cubicBezTo>
                  <a:pt x="185994" y="377863"/>
                  <a:pt x="162137" y="353995"/>
                  <a:pt x="162137" y="324569"/>
                </a:cubicBezTo>
                <a:lnTo>
                  <a:pt x="162137" y="215472"/>
                </a:lnTo>
                <a:cubicBezTo>
                  <a:pt x="162137" y="186036"/>
                  <a:pt x="186005" y="162179"/>
                  <a:pt x="215430" y="162179"/>
                </a:cubicBezTo>
                <a:close/>
                <a:moveTo>
                  <a:pt x="215430" y="135000"/>
                </a:moveTo>
                <a:cubicBezTo>
                  <a:pt x="171039" y="135053"/>
                  <a:pt x="135063" y="171039"/>
                  <a:pt x="135000" y="215430"/>
                </a:cubicBezTo>
                <a:lnTo>
                  <a:pt x="135000" y="324570"/>
                </a:lnTo>
                <a:cubicBezTo>
                  <a:pt x="135053" y="368961"/>
                  <a:pt x="171039" y="404937"/>
                  <a:pt x="215430" y="405000"/>
                </a:cubicBezTo>
                <a:lnTo>
                  <a:pt x="324570" y="405000"/>
                </a:lnTo>
                <a:cubicBezTo>
                  <a:pt x="368972" y="404958"/>
                  <a:pt x="404958" y="368972"/>
                  <a:pt x="405000" y="324570"/>
                </a:cubicBezTo>
                <a:lnTo>
                  <a:pt x="405000" y="215430"/>
                </a:lnTo>
                <a:cubicBezTo>
                  <a:pt x="404947" y="171039"/>
                  <a:pt x="368961" y="135063"/>
                  <a:pt x="324570" y="135000"/>
                </a:cubicBezTo>
                <a:close/>
                <a:moveTo>
                  <a:pt x="270000" y="0"/>
                </a:moveTo>
                <a:cubicBezTo>
                  <a:pt x="419112" y="0"/>
                  <a:pt x="540000" y="120888"/>
                  <a:pt x="540000" y="270000"/>
                </a:cubicBezTo>
                <a:cubicBezTo>
                  <a:pt x="540000" y="419112"/>
                  <a:pt x="419112" y="540000"/>
                  <a:pt x="270000" y="540000"/>
                </a:cubicBezTo>
                <a:cubicBezTo>
                  <a:pt x="120888" y="540000"/>
                  <a:pt x="0" y="419112"/>
                  <a:pt x="0" y="270000"/>
                </a:cubicBezTo>
                <a:cubicBezTo>
                  <a:pt x="0" y="120888"/>
                  <a:pt x="120888" y="0"/>
                  <a:pt x="270000" y="0"/>
                </a:cubicBezTo>
                <a:close/>
              </a:path>
            </a:pathLst>
          </a:custGeom>
          <a:solidFill>
            <a:schemeClr val="tx1"/>
          </a:solidFill>
          <a:ln w="104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63" name="Graphic 35">
            <a:extLst>
              <a:ext uri="{FF2B5EF4-FFF2-40B4-BE49-F238E27FC236}">
                <a16:creationId xmlns:a16="http://schemas.microsoft.com/office/drawing/2014/main" id="{18F87BA9-A486-7572-22F0-B3756F1E8D15}"/>
              </a:ext>
            </a:extLst>
          </p:cNvPr>
          <p:cNvSpPr/>
          <p:nvPr/>
        </p:nvSpPr>
        <p:spPr>
          <a:xfrm>
            <a:off x="1333599" y="5087826"/>
            <a:ext cx="540000" cy="540000"/>
          </a:xfrm>
          <a:custGeom>
            <a:avLst/>
            <a:gdLst>
              <a:gd name="connsiteX0" fmla="*/ 270000 w 540000"/>
              <a:gd name="connsiteY0" fmla="*/ 0 h 540000"/>
              <a:gd name="connsiteX1" fmla="*/ 0 w 540000"/>
              <a:gd name="connsiteY1" fmla="*/ 270000 h 540000"/>
              <a:gd name="connsiteX2" fmla="*/ 270000 w 540000"/>
              <a:gd name="connsiteY2" fmla="*/ 540000 h 540000"/>
              <a:gd name="connsiteX3" fmla="*/ 540000 w 540000"/>
              <a:gd name="connsiteY3" fmla="*/ 270000 h 540000"/>
              <a:gd name="connsiteX4" fmla="*/ 270000 w 540000"/>
              <a:gd name="connsiteY4" fmla="*/ 0 h 540000"/>
              <a:gd name="connsiteX5" fmla="*/ 338428 w 540000"/>
              <a:gd name="connsiteY5" fmla="*/ 244424 h 540000"/>
              <a:gd name="connsiteX6" fmla="*/ 333956 w 540000"/>
              <a:gd name="connsiteY6" fmla="*/ 282045 h 540000"/>
              <a:gd name="connsiteX7" fmla="*/ 326848 w 540000"/>
              <a:gd name="connsiteY7" fmla="*/ 288373 h 540000"/>
              <a:gd name="connsiteX8" fmla="*/ 287772 w 540000"/>
              <a:gd name="connsiteY8" fmla="*/ 288373 h 540000"/>
              <a:gd name="connsiteX9" fmla="*/ 287772 w 540000"/>
              <a:gd name="connsiteY9" fmla="*/ 399927 h 540000"/>
              <a:gd name="connsiteX10" fmla="*/ 282793 w 540000"/>
              <a:gd name="connsiteY10" fmla="*/ 405011 h 540000"/>
              <a:gd name="connsiteX11" fmla="*/ 243000 w 540000"/>
              <a:gd name="connsiteY11" fmla="*/ 405011 h 540000"/>
              <a:gd name="connsiteX12" fmla="*/ 238022 w 540000"/>
              <a:gd name="connsiteY12" fmla="*/ 399895 h 540000"/>
              <a:gd name="connsiteX13" fmla="*/ 238022 w 540000"/>
              <a:gd name="connsiteY13" fmla="*/ 399895 h 540000"/>
              <a:gd name="connsiteX14" fmla="*/ 238233 w 540000"/>
              <a:gd name="connsiteY14" fmla="*/ 288383 h 540000"/>
              <a:gd name="connsiteX15" fmla="*/ 208638 w 540000"/>
              <a:gd name="connsiteY15" fmla="*/ 288383 h 540000"/>
              <a:gd name="connsiteX16" fmla="*/ 201530 w 540000"/>
              <a:gd name="connsiteY16" fmla="*/ 281275 h 540000"/>
              <a:gd name="connsiteX17" fmla="*/ 201530 w 540000"/>
              <a:gd name="connsiteY17" fmla="*/ 243686 h 540000"/>
              <a:gd name="connsiteX18" fmla="*/ 208638 w 540000"/>
              <a:gd name="connsiteY18" fmla="*/ 236577 h 540000"/>
              <a:gd name="connsiteX19" fmla="*/ 238022 w 540000"/>
              <a:gd name="connsiteY19" fmla="*/ 236577 h 540000"/>
              <a:gd name="connsiteX20" fmla="*/ 238022 w 540000"/>
              <a:gd name="connsiteY20" fmla="*/ 200127 h 540000"/>
              <a:gd name="connsiteX21" fmla="*/ 299837 w 540000"/>
              <a:gd name="connsiteY21" fmla="*/ 135011 h 540000"/>
              <a:gd name="connsiteX22" fmla="*/ 329927 w 540000"/>
              <a:gd name="connsiteY22" fmla="*/ 135011 h 540000"/>
              <a:gd name="connsiteX23" fmla="*/ 337036 w 540000"/>
              <a:gd name="connsiteY23" fmla="*/ 142119 h 540000"/>
              <a:gd name="connsiteX24" fmla="*/ 337036 w 540000"/>
              <a:gd name="connsiteY24" fmla="*/ 173770 h 540000"/>
              <a:gd name="connsiteX25" fmla="*/ 329927 w 540000"/>
              <a:gd name="connsiteY25" fmla="*/ 180879 h 540000"/>
              <a:gd name="connsiteX26" fmla="*/ 311491 w 540000"/>
              <a:gd name="connsiteY26" fmla="*/ 180879 h 540000"/>
              <a:gd name="connsiteX27" fmla="*/ 287761 w 540000"/>
              <a:gd name="connsiteY27" fmla="*/ 205042 h 540000"/>
              <a:gd name="connsiteX28" fmla="*/ 287761 w 540000"/>
              <a:gd name="connsiteY28" fmla="*/ 236482 h 540000"/>
              <a:gd name="connsiteX29" fmla="*/ 331530 w 540000"/>
              <a:gd name="connsiteY29" fmla="*/ 236482 h 540000"/>
              <a:gd name="connsiteX30" fmla="*/ 338470 w 540000"/>
              <a:gd name="connsiteY30" fmla="*/ 243749 h 540000"/>
              <a:gd name="connsiteX31" fmla="*/ 338418 w 540000"/>
              <a:gd name="connsiteY31" fmla="*/ 244445 h 540000"/>
              <a:gd name="connsiteX32" fmla="*/ 338418 w 540000"/>
              <a:gd name="connsiteY32" fmla="*/ 244445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540000" h="540000">
                <a:moveTo>
                  <a:pt x="270000" y="0"/>
                </a:moveTo>
                <a:cubicBezTo>
                  <a:pt x="120888" y="0"/>
                  <a:pt x="0" y="120888"/>
                  <a:pt x="0" y="270000"/>
                </a:cubicBezTo>
                <a:cubicBezTo>
                  <a:pt x="0" y="419112"/>
                  <a:pt x="120888" y="540000"/>
                  <a:pt x="270000" y="540000"/>
                </a:cubicBezTo>
                <a:cubicBezTo>
                  <a:pt x="419112" y="540000"/>
                  <a:pt x="540000" y="419112"/>
                  <a:pt x="540000" y="270000"/>
                </a:cubicBezTo>
                <a:cubicBezTo>
                  <a:pt x="540000" y="120888"/>
                  <a:pt x="419112" y="0"/>
                  <a:pt x="270000" y="0"/>
                </a:cubicBezTo>
                <a:close/>
                <a:moveTo>
                  <a:pt x="338428" y="244424"/>
                </a:moveTo>
                <a:lnTo>
                  <a:pt x="333956" y="282045"/>
                </a:lnTo>
                <a:cubicBezTo>
                  <a:pt x="333555" y="285662"/>
                  <a:pt x="330486" y="288394"/>
                  <a:pt x="326848" y="288373"/>
                </a:cubicBezTo>
                <a:lnTo>
                  <a:pt x="287772" y="288373"/>
                </a:lnTo>
                <a:lnTo>
                  <a:pt x="287772" y="399927"/>
                </a:lnTo>
                <a:cubicBezTo>
                  <a:pt x="287793" y="402701"/>
                  <a:pt x="285567" y="404968"/>
                  <a:pt x="282793" y="405011"/>
                </a:cubicBezTo>
                <a:lnTo>
                  <a:pt x="243000" y="405011"/>
                </a:lnTo>
                <a:cubicBezTo>
                  <a:pt x="240216" y="404968"/>
                  <a:pt x="237990" y="402680"/>
                  <a:pt x="238022" y="399895"/>
                </a:cubicBezTo>
                <a:cubicBezTo>
                  <a:pt x="238022" y="399895"/>
                  <a:pt x="238022" y="399895"/>
                  <a:pt x="238022" y="399895"/>
                </a:cubicBezTo>
                <a:lnTo>
                  <a:pt x="238233" y="288383"/>
                </a:lnTo>
                <a:lnTo>
                  <a:pt x="208638" y="288383"/>
                </a:lnTo>
                <a:cubicBezTo>
                  <a:pt x="204715" y="288383"/>
                  <a:pt x="201530" y="285198"/>
                  <a:pt x="201530" y="281275"/>
                </a:cubicBezTo>
                <a:lnTo>
                  <a:pt x="201530" y="243686"/>
                </a:lnTo>
                <a:cubicBezTo>
                  <a:pt x="201530" y="239762"/>
                  <a:pt x="204715" y="236577"/>
                  <a:pt x="208638" y="236577"/>
                </a:cubicBezTo>
                <a:lnTo>
                  <a:pt x="238022" y="236577"/>
                </a:lnTo>
                <a:lnTo>
                  <a:pt x="238022" y="200127"/>
                </a:lnTo>
                <a:cubicBezTo>
                  <a:pt x="238022" y="157961"/>
                  <a:pt x="263134" y="135011"/>
                  <a:pt x="299837" y="135011"/>
                </a:cubicBezTo>
                <a:lnTo>
                  <a:pt x="329927" y="135011"/>
                </a:lnTo>
                <a:cubicBezTo>
                  <a:pt x="333851" y="135011"/>
                  <a:pt x="337036" y="138196"/>
                  <a:pt x="337036" y="142119"/>
                </a:cubicBezTo>
                <a:lnTo>
                  <a:pt x="337036" y="173770"/>
                </a:lnTo>
                <a:cubicBezTo>
                  <a:pt x="337036" y="177694"/>
                  <a:pt x="333851" y="180879"/>
                  <a:pt x="329927" y="180879"/>
                </a:cubicBezTo>
                <a:lnTo>
                  <a:pt x="311491" y="180879"/>
                </a:lnTo>
                <a:cubicBezTo>
                  <a:pt x="291526" y="181195"/>
                  <a:pt x="287761" y="190751"/>
                  <a:pt x="287761" y="205042"/>
                </a:cubicBezTo>
                <a:lnTo>
                  <a:pt x="287761" y="236482"/>
                </a:lnTo>
                <a:lnTo>
                  <a:pt x="331530" y="236482"/>
                </a:lnTo>
                <a:cubicBezTo>
                  <a:pt x="335454" y="236566"/>
                  <a:pt x="338565" y="239825"/>
                  <a:pt x="338470" y="243749"/>
                </a:cubicBezTo>
                <a:cubicBezTo>
                  <a:pt x="338470" y="243981"/>
                  <a:pt x="338449" y="244213"/>
                  <a:pt x="338418" y="244445"/>
                </a:cubicBezTo>
                <a:lnTo>
                  <a:pt x="338418" y="244445"/>
                </a:lnTo>
                <a:close/>
              </a:path>
            </a:pathLst>
          </a:custGeom>
          <a:solidFill>
            <a:schemeClr val="tx1"/>
          </a:solidFill>
          <a:ln w="104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grpSp>
        <p:nvGrpSpPr>
          <p:cNvPr id="5" name="Graphic 3">
            <a:extLst>
              <a:ext uri="{FF2B5EF4-FFF2-40B4-BE49-F238E27FC236}">
                <a16:creationId xmlns:a16="http://schemas.microsoft.com/office/drawing/2014/main" id="{ABF19640-2F53-114C-1F0D-209433146632}"/>
              </a:ext>
            </a:extLst>
          </p:cNvPr>
          <p:cNvGrpSpPr/>
          <p:nvPr/>
        </p:nvGrpSpPr>
        <p:grpSpPr>
          <a:xfrm>
            <a:off x="2760290" y="3642289"/>
            <a:ext cx="454637" cy="428329"/>
            <a:chOff x="614614" y="685203"/>
            <a:chExt cx="454637" cy="428329"/>
          </a:xfrm>
          <a:noFill/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7912230-95C0-3E13-AEF9-ED3F4AE3F5EF}"/>
                </a:ext>
              </a:extLst>
            </p:cNvPr>
            <p:cNvSpPr/>
            <p:nvPr/>
          </p:nvSpPr>
          <p:spPr>
            <a:xfrm>
              <a:off x="614614" y="685203"/>
              <a:ext cx="454637" cy="351150"/>
            </a:xfrm>
            <a:custGeom>
              <a:avLst/>
              <a:gdLst>
                <a:gd name="connsiteX0" fmla="*/ 454637 w 454637"/>
                <a:gd name="connsiteY0" fmla="*/ 96468 h 351150"/>
                <a:gd name="connsiteX1" fmla="*/ 454637 w 454637"/>
                <a:gd name="connsiteY1" fmla="*/ 254682 h 351150"/>
                <a:gd name="connsiteX2" fmla="*/ 358318 w 454637"/>
                <a:gd name="connsiteY2" fmla="*/ 351151 h 351150"/>
                <a:gd name="connsiteX3" fmla="*/ 96305 w 454637"/>
                <a:gd name="connsiteY3" fmla="*/ 351151 h 351150"/>
                <a:gd name="connsiteX4" fmla="*/ 0 w 454637"/>
                <a:gd name="connsiteY4" fmla="*/ 254697 h 351150"/>
                <a:gd name="connsiteX5" fmla="*/ 0 w 454637"/>
                <a:gd name="connsiteY5" fmla="*/ 96468 h 351150"/>
                <a:gd name="connsiteX6" fmla="*/ 96320 w 454637"/>
                <a:gd name="connsiteY6" fmla="*/ 0 h 351150"/>
                <a:gd name="connsiteX7" fmla="*/ 358318 w 454637"/>
                <a:gd name="connsiteY7" fmla="*/ 0 h 351150"/>
                <a:gd name="connsiteX8" fmla="*/ 454637 w 454637"/>
                <a:gd name="connsiteY8" fmla="*/ 96468 h 35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4637" h="351150">
                  <a:moveTo>
                    <a:pt x="454637" y="96468"/>
                  </a:moveTo>
                  <a:lnTo>
                    <a:pt x="454637" y="254682"/>
                  </a:lnTo>
                  <a:cubicBezTo>
                    <a:pt x="454637" y="307963"/>
                    <a:pt x="411516" y="351151"/>
                    <a:pt x="358318" y="351151"/>
                  </a:cubicBezTo>
                  <a:lnTo>
                    <a:pt x="96305" y="351151"/>
                  </a:lnTo>
                  <a:cubicBezTo>
                    <a:pt x="43121" y="351151"/>
                    <a:pt x="0" y="307970"/>
                    <a:pt x="0" y="254697"/>
                  </a:cubicBezTo>
                  <a:lnTo>
                    <a:pt x="0" y="96468"/>
                  </a:lnTo>
                  <a:cubicBezTo>
                    <a:pt x="0" y="43187"/>
                    <a:pt x="43121" y="0"/>
                    <a:pt x="96320" y="0"/>
                  </a:cubicBezTo>
                  <a:lnTo>
                    <a:pt x="358318" y="0"/>
                  </a:lnTo>
                  <a:cubicBezTo>
                    <a:pt x="411516" y="0"/>
                    <a:pt x="454637" y="43187"/>
                    <a:pt x="454637" y="96468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9686E4BB-166F-3A09-4E1F-1506EF41A95E}"/>
                </a:ext>
              </a:extLst>
            </p:cNvPr>
            <p:cNvSpPr/>
            <p:nvPr/>
          </p:nvSpPr>
          <p:spPr>
            <a:xfrm>
              <a:off x="749467" y="1113532"/>
              <a:ext cx="184938" cy="723"/>
            </a:xfrm>
            <a:custGeom>
              <a:avLst/>
              <a:gdLst>
                <a:gd name="connsiteX0" fmla="*/ 184938 w 184938"/>
                <a:gd name="connsiteY0" fmla="*/ 0 h 723"/>
                <a:gd name="connsiteX1" fmla="*/ 0 w 184938"/>
                <a:gd name="connsiteY1" fmla="*/ 0 h 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4938" h="723">
                  <a:moveTo>
                    <a:pt x="184938" y="0"/>
                  </a:move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77FC87A2-0C75-B968-ECF4-064D9B85AB83}"/>
                </a:ext>
              </a:extLst>
            </p:cNvPr>
            <p:cNvSpPr/>
            <p:nvPr/>
          </p:nvSpPr>
          <p:spPr>
            <a:xfrm>
              <a:off x="924544" y="778581"/>
              <a:ext cx="33939" cy="164132"/>
            </a:xfrm>
            <a:custGeom>
              <a:avLst/>
              <a:gdLst>
                <a:gd name="connsiteX0" fmla="*/ 0 w 33939"/>
                <a:gd name="connsiteY0" fmla="*/ 164133 h 164132"/>
                <a:gd name="connsiteX1" fmla="*/ 0 w 33939"/>
                <a:gd name="connsiteY1" fmla="*/ 0 h 16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939" h="164132">
                  <a:moveTo>
                    <a:pt x="0" y="164133"/>
                  </a:moveTo>
                  <a:cubicBezTo>
                    <a:pt x="45252" y="118811"/>
                    <a:pt x="45252" y="45322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D35AD23F-3047-4BD3-FE8A-351FA3325392}"/>
                </a:ext>
              </a:extLst>
            </p:cNvPr>
            <p:cNvSpPr/>
            <p:nvPr/>
          </p:nvSpPr>
          <p:spPr>
            <a:xfrm>
              <a:off x="725389" y="778581"/>
              <a:ext cx="33939" cy="164132"/>
            </a:xfrm>
            <a:custGeom>
              <a:avLst/>
              <a:gdLst>
                <a:gd name="connsiteX0" fmla="*/ 33939 w 33939"/>
                <a:gd name="connsiteY0" fmla="*/ 0 h 164132"/>
                <a:gd name="connsiteX1" fmla="*/ 33939 w 33939"/>
                <a:gd name="connsiteY1" fmla="*/ 164133 h 16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939" h="164132">
                  <a:moveTo>
                    <a:pt x="33939" y="0"/>
                  </a:moveTo>
                  <a:cubicBezTo>
                    <a:pt x="-11313" y="45322"/>
                    <a:pt x="-11313" y="118811"/>
                    <a:pt x="33939" y="164133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27DA012B-E548-264E-CB46-1CAAAC4953FF}"/>
                </a:ext>
              </a:extLst>
            </p:cNvPr>
            <p:cNvSpPr/>
            <p:nvPr/>
          </p:nvSpPr>
          <p:spPr>
            <a:xfrm>
              <a:off x="803402" y="821226"/>
              <a:ext cx="77052" cy="77171"/>
            </a:xfrm>
            <a:custGeom>
              <a:avLst/>
              <a:gdLst>
                <a:gd name="connsiteX0" fmla="*/ 0 w 77052"/>
                <a:gd name="connsiteY0" fmla="*/ 38586 h 77171"/>
                <a:gd name="connsiteX1" fmla="*/ 38526 w 77052"/>
                <a:gd name="connsiteY1" fmla="*/ 77172 h 77171"/>
                <a:gd name="connsiteX2" fmla="*/ 77053 w 77052"/>
                <a:gd name="connsiteY2" fmla="*/ 38586 h 77171"/>
                <a:gd name="connsiteX3" fmla="*/ 38526 w 77052"/>
                <a:gd name="connsiteY3" fmla="*/ 0 h 77171"/>
                <a:gd name="connsiteX4" fmla="*/ 0 w 77052"/>
                <a:gd name="connsiteY4" fmla="*/ 38586 h 77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052" h="77171">
                  <a:moveTo>
                    <a:pt x="0" y="38586"/>
                  </a:moveTo>
                  <a:cubicBezTo>
                    <a:pt x="0" y="59901"/>
                    <a:pt x="17251" y="77172"/>
                    <a:pt x="38526" y="77172"/>
                  </a:cubicBezTo>
                  <a:cubicBezTo>
                    <a:pt x="59801" y="77172"/>
                    <a:pt x="77053" y="59894"/>
                    <a:pt x="77053" y="38586"/>
                  </a:cubicBezTo>
                  <a:cubicBezTo>
                    <a:pt x="77053" y="17278"/>
                    <a:pt x="59801" y="0"/>
                    <a:pt x="38526" y="0"/>
                  </a:cubicBezTo>
                  <a:cubicBezTo>
                    <a:pt x="17251" y="0"/>
                    <a:pt x="0" y="17278"/>
                    <a:pt x="0" y="38586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27" name="Graphic 13">
            <a:extLst>
              <a:ext uri="{FF2B5EF4-FFF2-40B4-BE49-F238E27FC236}">
                <a16:creationId xmlns:a16="http://schemas.microsoft.com/office/drawing/2014/main" id="{6274381F-537F-BD5A-B419-A89C794BB2BA}"/>
              </a:ext>
            </a:extLst>
          </p:cNvPr>
          <p:cNvGrpSpPr>
            <a:grpSpLocks noChangeAspect="1"/>
          </p:cNvGrpSpPr>
          <p:nvPr/>
        </p:nvGrpSpPr>
        <p:grpSpPr>
          <a:xfrm>
            <a:off x="4146152" y="1396974"/>
            <a:ext cx="468000" cy="468229"/>
            <a:chOff x="3036717" y="366861"/>
            <a:chExt cx="6115391" cy="6118386"/>
          </a:xfrm>
          <a:noFill/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87FB9DA1-6C39-C0D9-69CF-73AA80821052}"/>
                </a:ext>
              </a:extLst>
            </p:cNvPr>
            <p:cNvSpPr/>
            <p:nvPr/>
          </p:nvSpPr>
          <p:spPr>
            <a:xfrm flipV="1">
              <a:off x="3814404" y="1126946"/>
              <a:ext cx="4582335" cy="9520"/>
            </a:xfrm>
            <a:custGeom>
              <a:avLst/>
              <a:gdLst>
                <a:gd name="connsiteX0" fmla="*/ 162 w 4582335"/>
                <a:gd name="connsiteY0" fmla="*/ 100 h 9520"/>
                <a:gd name="connsiteX1" fmla="*/ 4582498 w 4582335"/>
                <a:gd name="connsiteY1" fmla="*/ 100 h 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82335" h="9520">
                  <a:moveTo>
                    <a:pt x="162" y="100"/>
                  </a:moveTo>
                  <a:lnTo>
                    <a:pt x="4582498" y="10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CE2E8416-E94F-B128-24E6-DAC3B55B4888}"/>
                </a:ext>
              </a:extLst>
            </p:cNvPr>
            <p:cNvSpPr/>
            <p:nvPr/>
          </p:nvSpPr>
          <p:spPr>
            <a:xfrm flipV="1">
              <a:off x="3036717" y="366861"/>
              <a:ext cx="6115391" cy="3831344"/>
            </a:xfrm>
            <a:custGeom>
              <a:avLst/>
              <a:gdLst>
                <a:gd name="connsiteX0" fmla="*/ 6115477 w 6115391"/>
                <a:gd name="connsiteY0" fmla="*/ -125 h 3831344"/>
                <a:gd name="connsiteX1" fmla="*/ 85 w 6115391"/>
                <a:gd name="connsiteY1" fmla="*/ -125 h 3831344"/>
                <a:gd name="connsiteX2" fmla="*/ 85 w 6115391"/>
                <a:gd name="connsiteY2" fmla="*/ 3831220 h 3831344"/>
                <a:gd name="connsiteX3" fmla="*/ 6115477 w 6115391"/>
                <a:gd name="connsiteY3" fmla="*/ 3831220 h 3831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15391" h="3831344">
                  <a:moveTo>
                    <a:pt x="6115477" y="-125"/>
                  </a:moveTo>
                  <a:lnTo>
                    <a:pt x="85" y="-125"/>
                  </a:lnTo>
                  <a:lnTo>
                    <a:pt x="85" y="3831220"/>
                  </a:lnTo>
                  <a:lnTo>
                    <a:pt x="6115477" y="3831220"/>
                  </a:ln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87F7DB61-A237-24BC-7E9E-AF22952F31DB}"/>
                </a:ext>
              </a:extLst>
            </p:cNvPr>
            <p:cNvSpPr/>
            <p:nvPr/>
          </p:nvSpPr>
          <p:spPr>
            <a:xfrm flipV="1">
              <a:off x="6575102" y="4908856"/>
              <a:ext cx="1963578" cy="9520"/>
            </a:xfrm>
            <a:custGeom>
              <a:avLst/>
              <a:gdLst>
                <a:gd name="connsiteX0" fmla="*/ 418 w 1963578"/>
                <a:gd name="connsiteY0" fmla="*/ 497 h 9520"/>
                <a:gd name="connsiteX1" fmla="*/ 1963996 w 1963578"/>
                <a:gd name="connsiteY1" fmla="*/ 497 h 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3578" h="9520">
                  <a:moveTo>
                    <a:pt x="418" y="497"/>
                  </a:moveTo>
                  <a:lnTo>
                    <a:pt x="1963996" y="497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F9914E21-A0AD-DD17-BCB7-480BE8D0C9D9}"/>
                </a:ext>
              </a:extLst>
            </p:cNvPr>
            <p:cNvSpPr/>
            <p:nvPr/>
          </p:nvSpPr>
          <p:spPr>
            <a:xfrm flipV="1">
              <a:off x="3650146" y="4908856"/>
              <a:ext cx="1968059" cy="9520"/>
            </a:xfrm>
            <a:custGeom>
              <a:avLst/>
              <a:gdLst>
                <a:gd name="connsiteX0" fmla="*/ 110 w 1968059"/>
                <a:gd name="connsiteY0" fmla="*/ 497 h 9520"/>
                <a:gd name="connsiteX1" fmla="*/ 1968170 w 1968059"/>
                <a:gd name="connsiteY1" fmla="*/ 497 h 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68059" h="9520">
                  <a:moveTo>
                    <a:pt x="110" y="497"/>
                  </a:moveTo>
                  <a:lnTo>
                    <a:pt x="1968170" y="497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0BC86D0F-53E9-71D4-8C85-997929392463}"/>
                </a:ext>
              </a:extLst>
            </p:cNvPr>
            <p:cNvSpPr/>
            <p:nvPr/>
          </p:nvSpPr>
          <p:spPr>
            <a:xfrm flipV="1">
              <a:off x="4114431" y="4198201"/>
              <a:ext cx="9520" cy="710649"/>
            </a:xfrm>
            <a:custGeom>
              <a:avLst/>
              <a:gdLst>
                <a:gd name="connsiteX0" fmla="*/ 133 w 9520"/>
                <a:gd name="connsiteY0" fmla="*/ 711137 h 710649"/>
                <a:gd name="connsiteX1" fmla="*/ 133 w 9520"/>
                <a:gd name="connsiteY1" fmla="*/ 488 h 710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0" h="710649">
                  <a:moveTo>
                    <a:pt x="133" y="711137"/>
                  </a:moveTo>
                  <a:lnTo>
                    <a:pt x="133" y="488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87648AAE-9009-1E25-1C60-18687A254E73}"/>
                </a:ext>
              </a:extLst>
            </p:cNvPr>
            <p:cNvSpPr/>
            <p:nvPr/>
          </p:nvSpPr>
          <p:spPr>
            <a:xfrm flipV="1">
              <a:off x="8171440" y="4198201"/>
              <a:ext cx="9520" cy="710649"/>
            </a:xfrm>
            <a:custGeom>
              <a:avLst/>
              <a:gdLst>
                <a:gd name="connsiteX0" fmla="*/ 560 w 9520"/>
                <a:gd name="connsiteY0" fmla="*/ 711137 h 710649"/>
                <a:gd name="connsiteX1" fmla="*/ 560 w 9520"/>
                <a:gd name="connsiteY1" fmla="*/ 488 h 710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0" h="710649">
                  <a:moveTo>
                    <a:pt x="560" y="711137"/>
                  </a:moveTo>
                  <a:lnTo>
                    <a:pt x="560" y="488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34" name="Graphic 13">
              <a:extLst>
                <a:ext uri="{FF2B5EF4-FFF2-40B4-BE49-F238E27FC236}">
                  <a16:creationId xmlns:a16="http://schemas.microsoft.com/office/drawing/2014/main" id="{33740053-7512-A6F9-429B-3BB4660AC423}"/>
                </a:ext>
              </a:extLst>
            </p:cNvPr>
            <p:cNvGrpSpPr/>
            <p:nvPr/>
          </p:nvGrpSpPr>
          <p:grpSpPr>
            <a:xfrm>
              <a:off x="4211853" y="376635"/>
              <a:ext cx="3775754" cy="6108612"/>
              <a:chOff x="4211853" y="376635"/>
              <a:chExt cx="3775754" cy="6108612"/>
            </a:xfrm>
            <a:noFill/>
          </p:grpSpPr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58BB0E65-E22B-61A1-7F4F-BDFEEF2217A3}"/>
                  </a:ext>
                </a:extLst>
              </p:cNvPr>
              <p:cNvSpPr/>
              <p:nvPr/>
            </p:nvSpPr>
            <p:spPr>
              <a:xfrm flipV="1">
                <a:off x="7987608" y="376635"/>
                <a:ext cx="9520" cy="750216"/>
              </a:xfrm>
              <a:custGeom>
                <a:avLst/>
                <a:gdLst>
                  <a:gd name="connsiteX0" fmla="*/ 540 w 9520"/>
                  <a:gd name="connsiteY0" fmla="*/ 750306 h 750216"/>
                  <a:gd name="connsiteX1" fmla="*/ 540 w 9520"/>
                  <a:gd name="connsiteY1" fmla="*/ 90 h 750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0" h="750216">
                    <a:moveTo>
                      <a:pt x="540" y="750306"/>
                    </a:moveTo>
                    <a:lnTo>
                      <a:pt x="540" y="90"/>
                    </a:lnTo>
                  </a:path>
                </a:pathLst>
              </a:custGeom>
              <a:noFill/>
              <a:ln w="1905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CB42F247-D38F-95EE-02E0-8CE36854F870}"/>
                  </a:ext>
                </a:extLst>
              </p:cNvPr>
              <p:cNvSpPr/>
              <p:nvPr/>
            </p:nvSpPr>
            <p:spPr>
              <a:xfrm flipV="1">
                <a:off x="6094410" y="376635"/>
                <a:ext cx="9520" cy="750216"/>
              </a:xfrm>
              <a:custGeom>
                <a:avLst/>
                <a:gdLst>
                  <a:gd name="connsiteX0" fmla="*/ 341 w 9520"/>
                  <a:gd name="connsiteY0" fmla="*/ 750306 h 750216"/>
                  <a:gd name="connsiteX1" fmla="*/ 341 w 9520"/>
                  <a:gd name="connsiteY1" fmla="*/ 90 h 750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0" h="750216">
                    <a:moveTo>
                      <a:pt x="341" y="750306"/>
                    </a:moveTo>
                    <a:lnTo>
                      <a:pt x="341" y="90"/>
                    </a:lnTo>
                  </a:path>
                </a:pathLst>
              </a:custGeom>
              <a:noFill/>
              <a:ln w="1905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B64EA64-57C1-CF83-B884-A1435FA6CEDD}"/>
                  </a:ext>
                </a:extLst>
              </p:cNvPr>
              <p:cNvSpPr/>
              <p:nvPr/>
            </p:nvSpPr>
            <p:spPr>
              <a:xfrm flipV="1">
                <a:off x="4211853" y="376635"/>
                <a:ext cx="9520" cy="750216"/>
              </a:xfrm>
              <a:custGeom>
                <a:avLst/>
                <a:gdLst>
                  <a:gd name="connsiteX0" fmla="*/ 144 w 9520"/>
                  <a:gd name="connsiteY0" fmla="*/ 750306 h 750216"/>
                  <a:gd name="connsiteX1" fmla="*/ 144 w 9520"/>
                  <a:gd name="connsiteY1" fmla="*/ 90 h 750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0" h="750216">
                    <a:moveTo>
                      <a:pt x="144" y="750306"/>
                    </a:moveTo>
                    <a:lnTo>
                      <a:pt x="144" y="90"/>
                    </a:lnTo>
                  </a:path>
                </a:pathLst>
              </a:custGeom>
              <a:noFill/>
              <a:ln w="1905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04C54A3C-63E3-006B-0FD9-5B7D061E48AC}"/>
                  </a:ext>
                </a:extLst>
              </p:cNvPr>
              <p:cNvSpPr/>
              <p:nvPr/>
            </p:nvSpPr>
            <p:spPr>
              <a:xfrm flipV="1">
                <a:off x="5620261" y="4197825"/>
                <a:ext cx="948303" cy="2287423"/>
              </a:xfrm>
              <a:custGeom>
                <a:avLst/>
                <a:gdLst>
                  <a:gd name="connsiteX0" fmla="*/ 948388 w 948303"/>
                  <a:gd name="connsiteY0" fmla="*/ 437 h 2287423"/>
                  <a:gd name="connsiteX1" fmla="*/ 85 w 948303"/>
                  <a:gd name="connsiteY1" fmla="*/ 437 h 2287423"/>
                  <a:gd name="connsiteX2" fmla="*/ 85 w 948303"/>
                  <a:gd name="connsiteY2" fmla="*/ 2287860 h 2287423"/>
                  <a:gd name="connsiteX3" fmla="*/ 948388 w 948303"/>
                  <a:gd name="connsiteY3" fmla="*/ 2287860 h 2287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8303" h="2287423">
                    <a:moveTo>
                      <a:pt x="948388" y="437"/>
                    </a:moveTo>
                    <a:lnTo>
                      <a:pt x="85" y="437"/>
                    </a:lnTo>
                    <a:lnTo>
                      <a:pt x="85" y="2287860"/>
                    </a:lnTo>
                    <a:lnTo>
                      <a:pt x="948388" y="2287860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grpSp>
        <p:nvGrpSpPr>
          <p:cNvPr id="53" name="Graphic 39">
            <a:extLst>
              <a:ext uri="{FF2B5EF4-FFF2-40B4-BE49-F238E27FC236}">
                <a16:creationId xmlns:a16="http://schemas.microsoft.com/office/drawing/2014/main" id="{4EF061FC-F39D-A9C6-6BA3-0A8DCC678E0C}"/>
              </a:ext>
            </a:extLst>
          </p:cNvPr>
          <p:cNvGrpSpPr/>
          <p:nvPr/>
        </p:nvGrpSpPr>
        <p:grpSpPr>
          <a:xfrm>
            <a:off x="4930101" y="1410629"/>
            <a:ext cx="261708" cy="440919"/>
            <a:chOff x="3760916" y="1004310"/>
            <a:chExt cx="261708" cy="440919"/>
          </a:xfrm>
          <a:noFill/>
        </p:grpSpPr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CCA43340-4D10-F665-1BC0-89EB7E23A15E}"/>
                </a:ext>
              </a:extLst>
            </p:cNvPr>
            <p:cNvSpPr/>
            <p:nvPr/>
          </p:nvSpPr>
          <p:spPr>
            <a:xfrm rot="5400000">
              <a:off x="3701931" y="1063295"/>
              <a:ext cx="379677" cy="261708"/>
            </a:xfrm>
            <a:custGeom>
              <a:avLst/>
              <a:gdLst>
                <a:gd name="connsiteX0" fmla="*/ 0 w 379677"/>
                <a:gd name="connsiteY0" fmla="*/ 0 h 261708"/>
                <a:gd name="connsiteX1" fmla="*/ 379678 w 379677"/>
                <a:gd name="connsiteY1" fmla="*/ 0 h 261708"/>
                <a:gd name="connsiteX2" fmla="*/ 379678 w 379677"/>
                <a:gd name="connsiteY2" fmla="*/ 261709 h 261708"/>
                <a:gd name="connsiteX3" fmla="*/ 0 w 379677"/>
                <a:gd name="connsiteY3" fmla="*/ 261709 h 261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9677" h="261708">
                  <a:moveTo>
                    <a:pt x="0" y="0"/>
                  </a:moveTo>
                  <a:lnTo>
                    <a:pt x="379678" y="0"/>
                  </a:lnTo>
                  <a:lnTo>
                    <a:pt x="379678" y="261709"/>
                  </a:lnTo>
                  <a:lnTo>
                    <a:pt x="0" y="261709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33A71299-95AD-37F9-36E3-CF9B944B196F}"/>
                </a:ext>
              </a:extLst>
            </p:cNvPr>
            <p:cNvSpPr/>
            <p:nvPr/>
          </p:nvSpPr>
          <p:spPr>
            <a:xfrm>
              <a:off x="3812875" y="1445230"/>
              <a:ext cx="157790" cy="914"/>
            </a:xfrm>
            <a:custGeom>
              <a:avLst/>
              <a:gdLst>
                <a:gd name="connsiteX0" fmla="*/ 0 w 157790"/>
                <a:gd name="connsiteY0" fmla="*/ 0 h 914"/>
                <a:gd name="connsiteX1" fmla="*/ 157791 w 157790"/>
                <a:gd name="connsiteY1" fmla="*/ 0 h 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7790" h="914">
                  <a:moveTo>
                    <a:pt x="0" y="0"/>
                  </a:moveTo>
                  <a:lnTo>
                    <a:pt x="157791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56" name="Graphic 39">
              <a:extLst>
                <a:ext uri="{FF2B5EF4-FFF2-40B4-BE49-F238E27FC236}">
                  <a16:creationId xmlns:a16="http://schemas.microsoft.com/office/drawing/2014/main" id="{6C6F6D4D-34D9-F37F-87F9-7FDCC07F3A10}"/>
                </a:ext>
              </a:extLst>
            </p:cNvPr>
            <p:cNvGrpSpPr/>
            <p:nvPr/>
          </p:nvGrpSpPr>
          <p:grpSpPr>
            <a:xfrm>
              <a:off x="3850860" y="1383988"/>
              <a:ext cx="81821" cy="61242"/>
              <a:chOff x="3850860" y="1383988"/>
              <a:chExt cx="81821" cy="61242"/>
            </a:xfrm>
          </p:grpSpPr>
          <p:sp>
            <p:nvSpPr>
              <p:cNvPr id="63" name="Freeform 62">
                <a:extLst>
                  <a:ext uri="{FF2B5EF4-FFF2-40B4-BE49-F238E27FC236}">
                    <a16:creationId xmlns:a16="http://schemas.microsoft.com/office/drawing/2014/main" id="{8ABBA499-0B68-5D7B-48A5-79C18200B6C1}"/>
                  </a:ext>
                </a:extLst>
              </p:cNvPr>
              <p:cNvSpPr/>
              <p:nvPr/>
            </p:nvSpPr>
            <p:spPr>
              <a:xfrm>
                <a:off x="3850860" y="1383988"/>
                <a:ext cx="914" cy="61242"/>
              </a:xfrm>
              <a:custGeom>
                <a:avLst/>
                <a:gdLst>
                  <a:gd name="connsiteX0" fmla="*/ 0 w 914"/>
                  <a:gd name="connsiteY0" fmla="*/ 61242 h 61242"/>
                  <a:gd name="connsiteX1" fmla="*/ 0 w 914"/>
                  <a:gd name="connsiteY1" fmla="*/ 0 h 61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4" h="61242">
                    <a:moveTo>
                      <a:pt x="0" y="61242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8" name="Freeform 127">
                <a:extLst>
                  <a:ext uri="{FF2B5EF4-FFF2-40B4-BE49-F238E27FC236}">
                    <a16:creationId xmlns:a16="http://schemas.microsoft.com/office/drawing/2014/main" id="{9C86A4D1-F432-C06E-55CF-6B6D51BDFF96}"/>
                  </a:ext>
                </a:extLst>
              </p:cNvPr>
              <p:cNvSpPr/>
              <p:nvPr/>
            </p:nvSpPr>
            <p:spPr>
              <a:xfrm>
                <a:off x="3932681" y="1383988"/>
                <a:ext cx="914" cy="61242"/>
              </a:xfrm>
              <a:custGeom>
                <a:avLst/>
                <a:gdLst>
                  <a:gd name="connsiteX0" fmla="*/ 0 w 914"/>
                  <a:gd name="connsiteY0" fmla="*/ 61242 h 61242"/>
                  <a:gd name="connsiteX1" fmla="*/ 0 w 914"/>
                  <a:gd name="connsiteY1" fmla="*/ 0 h 61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4" h="61242">
                    <a:moveTo>
                      <a:pt x="0" y="61242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57" name="Graphic 39">
              <a:extLst>
                <a:ext uri="{FF2B5EF4-FFF2-40B4-BE49-F238E27FC236}">
                  <a16:creationId xmlns:a16="http://schemas.microsoft.com/office/drawing/2014/main" id="{5CB85648-B9BD-06C4-B3A1-D41744D3AE3F}"/>
                </a:ext>
              </a:extLst>
            </p:cNvPr>
            <p:cNvGrpSpPr/>
            <p:nvPr/>
          </p:nvGrpSpPr>
          <p:grpSpPr>
            <a:xfrm>
              <a:off x="3821573" y="1090012"/>
              <a:ext cx="138566" cy="160002"/>
              <a:chOff x="3821573" y="1090012"/>
              <a:chExt cx="138566" cy="160002"/>
            </a:xfrm>
            <a:noFill/>
          </p:grpSpPr>
          <p:grpSp>
            <p:nvGrpSpPr>
              <p:cNvPr id="59" name="Graphic 39">
                <a:extLst>
                  <a:ext uri="{FF2B5EF4-FFF2-40B4-BE49-F238E27FC236}">
                    <a16:creationId xmlns:a16="http://schemas.microsoft.com/office/drawing/2014/main" id="{317FA550-4925-D970-F18F-C8E7528D5BE2}"/>
                  </a:ext>
                </a:extLst>
              </p:cNvPr>
              <p:cNvGrpSpPr/>
              <p:nvPr/>
            </p:nvGrpSpPr>
            <p:grpSpPr>
              <a:xfrm>
                <a:off x="3821573" y="1090012"/>
                <a:ext cx="138566" cy="160002"/>
                <a:chOff x="3821573" y="1090012"/>
                <a:chExt cx="138566" cy="160002"/>
              </a:xfrm>
              <a:noFill/>
            </p:grpSpPr>
            <p:sp>
              <p:nvSpPr>
                <p:cNvPr id="61" name="Freeform 60">
                  <a:extLst>
                    <a:ext uri="{FF2B5EF4-FFF2-40B4-BE49-F238E27FC236}">
                      <a16:creationId xmlns:a16="http://schemas.microsoft.com/office/drawing/2014/main" id="{19441DA2-4FE6-0726-A552-C064E727A48A}"/>
                    </a:ext>
                  </a:extLst>
                </p:cNvPr>
                <p:cNvSpPr/>
                <p:nvPr/>
              </p:nvSpPr>
              <p:spPr>
                <a:xfrm>
                  <a:off x="3821573" y="1090012"/>
                  <a:ext cx="138566" cy="160002"/>
                </a:xfrm>
                <a:custGeom>
                  <a:avLst/>
                  <a:gdLst>
                    <a:gd name="connsiteX0" fmla="*/ 138566 w 138566"/>
                    <a:gd name="connsiteY0" fmla="*/ 120002 h 160002"/>
                    <a:gd name="connsiteX1" fmla="*/ 138566 w 138566"/>
                    <a:gd name="connsiteY1" fmla="*/ 40000 h 160002"/>
                    <a:gd name="connsiteX2" fmla="*/ 69283 w 138566"/>
                    <a:gd name="connsiteY2" fmla="*/ 0 h 160002"/>
                    <a:gd name="connsiteX3" fmla="*/ 0 w 138566"/>
                    <a:gd name="connsiteY3" fmla="*/ 40000 h 160002"/>
                    <a:gd name="connsiteX4" fmla="*/ 0 w 138566"/>
                    <a:gd name="connsiteY4" fmla="*/ 120002 h 160002"/>
                    <a:gd name="connsiteX5" fmla="*/ 69283 w 138566"/>
                    <a:gd name="connsiteY5" fmla="*/ 160002 h 160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8566" h="160002">
                      <a:moveTo>
                        <a:pt x="138566" y="120002"/>
                      </a:moveTo>
                      <a:lnTo>
                        <a:pt x="138566" y="40000"/>
                      </a:lnTo>
                      <a:lnTo>
                        <a:pt x="69283" y="0"/>
                      </a:lnTo>
                      <a:lnTo>
                        <a:pt x="0" y="40000"/>
                      </a:lnTo>
                      <a:lnTo>
                        <a:pt x="0" y="120002"/>
                      </a:lnTo>
                      <a:lnTo>
                        <a:pt x="69283" y="160002"/>
                      </a:lnTo>
                      <a:close/>
                    </a:path>
                  </a:pathLst>
                </a:custGeom>
                <a:noFill/>
                <a:ln w="1905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62" name="Freeform 61">
                  <a:extLst>
                    <a:ext uri="{FF2B5EF4-FFF2-40B4-BE49-F238E27FC236}">
                      <a16:creationId xmlns:a16="http://schemas.microsoft.com/office/drawing/2014/main" id="{2BFC2C39-39C4-2949-5A73-7DEFB2949D43}"/>
                    </a:ext>
                  </a:extLst>
                </p:cNvPr>
                <p:cNvSpPr/>
                <p:nvPr/>
              </p:nvSpPr>
              <p:spPr>
                <a:xfrm>
                  <a:off x="3821573" y="1130012"/>
                  <a:ext cx="138566" cy="40001"/>
                </a:xfrm>
                <a:custGeom>
                  <a:avLst/>
                  <a:gdLst>
                    <a:gd name="connsiteX0" fmla="*/ 0 w 138566"/>
                    <a:gd name="connsiteY0" fmla="*/ 0 h 40001"/>
                    <a:gd name="connsiteX1" fmla="*/ 69283 w 138566"/>
                    <a:gd name="connsiteY1" fmla="*/ 40001 h 40001"/>
                    <a:gd name="connsiteX2" fmla="*/ 138566 w 138566"/>
                    <a:gd name="connsiteY2" fmla="*/ 0 h 400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8566" h="40001">
                      <a:moveTo>
                        <a:pt x="0" y="0"/>
                      </a:moveTo>
                      <a:lnTo>
                        <a:pt x="69283" y="40001"/>
                      </a:lnTo>
                      <a:lnTo>
                        <a:pt x="138566" y="0"/>
                      </a:lnTo>
                    </a:path>
                  </a:pathLst>
                </a:custGeom>
                <a:noFill/>
                <a:ln w="19050" cap="flat">
                  <a:solidFill>
                    <a:schemeClr val="tx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sp>
            <p:nvSpPr>
              <p:cNvPr id="60" name="Freeform 59">
                <a:extLst>
                  <a:ext uri="{FF2B5EF4-FFF2-40B4-BE49-F238E27FC236}">
                    <a16:creationId xmlns:a16="http://schemas.microsoft.com/office/drawing/2014/main" id="{6D0084F0-4601-594B-45B8-E4A4B2925416}"/>
                  </a:ext>
                </a:extLst>
              </p:cNvPr>
              <p:cNvSpPr/>
              <p:nvPr/>
            </p:nvSpPr>
            <p:spPr>
              <a:xfrm>
                <a:off x="3890856" y="1170014"/>
                <a:ext cx="914" cy="80000"/>
              </a:xfrm>
              <a:custGeom>
                <a:avLst/>
                <a:gdLst>
                  <a:gd name="connsiteX0" fmla="*/ 0 w 914"/>
                  <a:gd name="connsiteY0" fmla="*/ 0 h 80000"/>
                  <a:gd name="connsiteX1" fmla="*/ 0 w 914"/>
                  <a:gd name="connsiteY1" fmla="*/ 80001 h 8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4" h="80000">
                    <a:moveTo>
                      <a:pt x="0" y="0"/>
                    </a:moveTo>
                    <a:lnTo>
                      <a:pt x="0" y="80001"/>
                    </a:lnTo>
                  </a:path>
                </a:pathLst>
              </a:custGeom>
              <a:ln w="1905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B17971E7-51E6-5C36-F838-3AF1B2162479}"/>
                </a:ext>
              </a:extLst>
            </p:cNvPr>
            <p:cNvSpPr/>
            <p:nvPr/>
          </p:nvSpPr>
          <p:spPr>
            <a:xfrm>
              <a:off x="3760916" y="1321747"/>
              <a:ext cx="261708" cy="914"/>
            </a:xfrm>
            <a:custGeom>
              <a:avLst/>
              <a:gdLst>
                <a:gd name="connsiteX0" fmla="*/ 0 w 261708"/>
                <a:gd name="connsiteY0" fmla="*/ 0 h 914"/>
                <a:gd name="connsiteX1" fmla="*/ 261709 w 261708"/>
                <a:gd name="connsiteY1" fmla="*/ 0 h 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708" h="914">
                  <a:moveTo>
                    <a:pt x="0" y="0"/>
                  </a:moveTo>
                  <a:lnTo>
                    <a:pt x="261709" y="0"/>
                  </a:lnTo>
                </a:path>
              </a:pathLst>
            </a:custGeom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618" name="Group 617">
            <a:extLst>
              <a:ext uri="{FF2B5EF4-FFF2-40B4-BE49-F238E27FC236}">
                <a16:creationId xmlns:a16="http://schemas.microsoft.com/office/drawing/2014/main" id="{20DA31FD-687B-BB0D-DB98-75A2E4C6A79D}"/>
              </a:ext>
            </a:extLst>
          </p:cNvPr>
          <p:cNvGrpSpPr/>
          <p:nvPr/>
        </p:nvGrpSpPr>
        <p:grpSpPr>
          <a:xfrm>
            <a:off x="8308713" y="2523369"/>
            <a:ext cx="436921" cy="436921"/>
            <a:chOff x="8293017" y="2532364"/>
            <a:chExt cx="436921" cy="436921"/>
          </a:xfrm>
        </p:grpSpPr>
        <p:grpSp>
          <p:nvGrpSpPr>
            <p:cNvPr id="612" name="Graphic 157">
              <a:extLst>
                <a:ext uri="{FF2B5EF4-FFF2-40B4-BE49-F238E27FC236}">
                  <a16:creationId xmlns:a16="http://schemas.microsoft.com/office/drawing/2014/main" id="{BB11844C-C35E-35C4-0FC8-F2A5D990CB0C}"/>
                </a:ext>
              </a:extLst>
            </p:cNvPr>
            <p:cNvGrpSpPr/>
            <p:nvPr/>
          </p:nvGrpSpPr>
          <p:grpSpPr>
            <a:xfrm flipH="1">
              <a:off x="8293017" y="2532364"/>
              <a:ext cx="436921" cy="436921"/>
              <a:chOff x="8293017" y="2532364"/>
              <a:chExt cx="436921" cy="436921"/>
            </a:xfrm>
            <a:noFill/>
          </p:grpSpPr>
          <p:sp>
            <p:nvSpPr>
              <p:cNvPr id="613" name="Freeform 612">
                <a:extLst>
                  <a:ext uri="{FF2B5EF4-FFF2-40B4-BE49-F238E27FC236}">
                    <a16:creationId xmlns:a16="http://schemas.microsoft.com/office/drawing/2014/main" id="{BE80C808-08EE-D577-2658-53A4DCDD7CFE}"/>
                  </a:ext>
                </a:extLst>
              </p:cNvPr>
              <p:cNvSpPr/>
              <p:nvPr/>
            </p:nvSpPr>
            <p:spPr>
              <a:xfrm>
                <a:off x="8364314" y="2532364"/>
                <a:ext cx="365625" cy="365625"/>
              </a:xfrm>
              <a:custGeom>
                <a:avLst/>
                <a:gdLst>
                  <a:gd name="connsiteX0" fmla="*/ 365625 w 365625"/>
                  <a:gd name="connsiteY0" fmla="*/ 182813 h 365625"/>
                  <a:gd name="connsiteX1" fmla="*/ 182813 w 365625"/>
                  <a:gd name="connsiteY1" fmla="*/ 365625 h 365625"/>
                  <a:gd name="connsiteX2" fmla="*/ 0 w 365625"/>
                  <a:gd name="connsiteY2" fmla="*/ 182813 h 365625"/>
                  <a:gd name="connsiteX3" fmla="*/ 182813 w 365625"/>
                  <a:gd name="connsiteY3" fmla="*/ 0 h 365625"/>
                  <a:gd name="connsiteX4" fmla="*/ 365625 w 365625"/>
                  <a:gd name="connsiteY4" fmla="*/ 182813 h 365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5625" h="365625">
                    <a:moveTo>
                      <a:pt x="365625" y="182813"/>
                    </a:moveTo>
                    <a:cubicBezTo>
                      <a:pt x="365625" y="283777"/>
                      <a:pt x="283777" y="365625"/>
                      <a:pt x="182813" y="365625"/>
                    </a:cubicBezTo>
                    <a:cubicBezTo>
                      <a:pt x="81848" y="365625"/>
                      <a:pt x="0" y="283777"/>
                      <a:pt x="0" y="182813"/>
                    </a:cubicBezTo>
                    <a:cubicBezTo>
                      <a:pt x="0" y="81848"/>
                      <a:pt x="81848" y="0"/>
                      <a:pt x="182813" y="0"/>
                    </a:cubicBezTo>
                    <a:cubicBezTo>
                      <a:pt x="283777" y="0"/>
                      <a:pt x="365625" y="81848"/>
                      <a:pt x="365625" y="182813"/>
                    </a:cubicBezTo>
                    <a:close/>
                  </a:path>
                </a:pathLst>
              </a:custGeom>
              <a:noFill/>
              <a:ln w="1905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14" name="Freeform 613">
                <a:extLst>
                  <a:ext uri="{FF2B5EF4-FFF2-40B4-BE49-F238E27FC236}">
                    <a16:creationId xmlns:a16="http://schemas.microsoft.com/office/drawing/2014/main" id="{F5DB0706-CB14-2B73-6154-B644C66E3F4B}"/>
                  </a:ext>
                </a:extLst>
              </p:cNvPr>
              <p:cNvSpPr/>
              <p:nvPr/>
            </p:nvSpPr>
            <p:spPr>
              <a:xfrm>
                <a:off x="8293017" y="2844444"/>
                <a:ext cx="124841" cy="124841"/>
              </a:xfrm>
              <a:custGeom>
                <a:avLst/>
                <a:gdLst>
                  <a:gd name="connsiteX0" fmla="*/ 0 w 124841"/>
                  <a:gd name="connsiteY0" fmla="*/ 124842 h 124841"/>
                  <a:gd name="connsiteX1" fmla="*/ 124842 w 124841"/>
                  <a:gd name="connsiteY1" fmla="*/ 0 h 124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4841" h="124841">
                    <a:moveTo>
                      <a:pt x="0" y="124842"/>
                    </a:moveTo>
                    <a:lnTo>
                      <a:pt x="124842" y="0"/>
                    </a:lnTo>
                  </a:path>
                </a:pathLst>
              </a:custGeom>
              <a:ln w="19050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B22BDFDF-A8A9-A177-B144-130A99D1DE61}"/>
                </a:ext>
              </a:extLst>
            </p:cNvPr>
            <p:cNvGrpSpPr/>
            <p:nvPr/>
          </p:nvGrpSpPr>
          <p:grpSpPr>
            <a:xfrm>
              <a:off x="8431462" y="2609929"/>
              <a:ext cx="104685" cy="209370"/>
              <a:chOff x="6070855" y="3725551"/>
              <a:chExt cx="50094" cy="100188"/>
            </a:xfrm>
          </p:grpSpPr>
          <p:sp>
            <p:nvSpPr>
              <p:cNvPr id="150" name="Freeform 149">
                <a:extLst>
                  <a:ext uri="{FF2B5EF4-FFF2-40B4-BE49-F238E27FC236}">
                    <a16:creationId xmlns:a16="http://schemas.microsoft.com/office/drawing/2014/main" id="{7D5761D4-57D1-14E0-5BD5-CEA77B2B10BF}"/>
                  </a:ext>
                </a:extLst>
              </p:cNvPr>
              <p:cNvSpPr/>
              <p:nvPr/>
            </p:nvSpPr>
            <p:spPr>
              <a:xfrm flipV="1">
                <a:off x="6070855" y="3738074"/>
                <a:ext cx="50094" cy="75141"/>
              </a:xfrm>
              <a:custGeom>
                <a:avLst/>
                <a:gdLst>
                  <a:gd name="connsiteX0" fmla="*/ 37928 w 50094"/>
                  <a:gd name="connsiteY0" fmla="*/ 75531 h 75141"/>
                  <a:gd name="connsiteX1" fmla="*/ 18829 w 50094"/>
                  <a:gd name="connsiteY1" fmla="*/ 75531 h 75141"/>
                  <a:gd name="connsiteX2" fmla="*/ 357 w 50094"/>
                  <a:gd name="connsiteY2" fmla="*/ 57033 h 75141"/>
                  <a:gd name="connsiteX3" fmla="*/ 357 w 50094"/>
                  <a:gd name="connsiteY3" fmla="*/ 57021 h 75141"/>
                  <a:gd name="connsiteX4" fmla="*/ 19394 w 50094"/>
                  <a:gd name="connsiteY4" fmla="*/ 37960 h 75141"/>
                  <a:gd name="connsiteX5" fmla="*/ 31667 w 50094"/>
                  <a:gd name="connsiteY5" fmla="*/ 37960 h 75141"/>
                  <a:gd name="connsiteX6" fmla="*/ 50452 w 50094"/>
                  <a:gd name="connsiteY6" fmla="*/ 19175 h 75141"/>
                  <a:gd name="connsiteX7" fmla="*/ 31667 w 50094"/>
                  <a:gd name="connsiteY7" fmla="*/ 390 h 75141"/>
                  <a:gd name="connsiteX8" fmla="*/ 12881 w 50094"/>
                  <a:gd name="connsiteY8" fmla="*/ 390 h 75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094" h="75141">
                    <a:moveTo>
                      <a:pt x="37928" y="75531"/>
                    </a:moveTo>
                    <a:lnTo>
                      <a:pt x="18829" y="75531"/>
                    </a:lnTo>
                    <a:cubicBezTo>
                      <a:pt x="8623" y="75531"/>
                      <a:pt x="357" y="67247"/>
                      <a:pt x="357" y="57033"/>
                    </a:cubicBezTo>
                    <a:lnTo>
                      <a:pt x="357" y="57021"/>
                    </a:lnTo>
                    <a:cubicBezTo>
                      <a:pt x="357" y="46495"/>
                      <a:pt x="8874" y="37960"/>
                      <a:pt x="19394" y="37960"/>
                    </a:cubicBezTo>
                    <a:lnTo>
                      <a:pt x="31667" y="37960"/>
                    </a:lnTo>
                    <a:cubicBezTo>
                      <a:pt x="42062" y="37960"/>
                      <a:pt x="50452" y="29550"/>
                      <a:pt x="50452" y="19175"/>
                    </a:cubicBezTo>
                    <a:cubicBezTo>
                      <a:pt x="50452" y="8799"/>
                      <a:pt x="42062" y="390"/>
                      <a:pt x="31667" y="390"/>
                    </a:cubicBezTo>
                    <a:lnTo>
                      <a:pt x="12881" y="390"/>
                    </a:lnTo>
                  </a:path>
                </a:pathLst>
              </a:custGeom>
              <a:noFill/>
              <a:ln w="1905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51" name="Freeform 150">
                <a:extLst>
                  <a:ext uri="{FF2B5EF4-FFF2-40B4-BE49-F238E27FC236}">
                    <a16:creationId xmlns:a16="http://schemas.microsoft.com/office/drawing/2014/main" id="{6DEB1177-843B-746C-0F52-E984BB6AA9B4}"/>
                  </a:ext>
                </a:extLst>
              </p:cNvPr>
              <p:cNvSpPr/>
              <p:nvPr/>
            </p:nvSpPr>
            <p:spPr>
              <a:xfrm flipV="1">
                <a:off x="6095902" y="3725551"/>
                <a:ext cx="584" cy="12523"/>
              </a:xfrm>
              <a:custGeom>
                <a:avLst/>
                <a:gdLst>
                  <a:gd name="connsiteX0" fmla="*/ 341 w 584"/>
                  <a:gd name="connsiteY0" fmla="*/ 258 h 12523"/>
                  <a:gd name="connsiteX1" fmla="*/ 341 w 584"/>
                  <a:gd name="connsiteY1" fmla="*/ 12781 h 12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" h="12523">
                    <a:moveTo>
                      <a:pt x="341" y="258"/>
                    </a:moveTo>
                    <a:lnTo>
                      <a:pt x="341" y="12781"/>
                    </a:lnTo>
                  </a:path>
                </a:pathLst>
              </a:custGeom>
              <a:noFill/>
              <a:ln w="1905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52" name="Freeform 151">
                <a:extLst>
                  <a:ext uri="{FF2B5EF4-FFF2-40B4-BE49-F238E27FC236}">
                    <a16:creationId xmlns:a16="http://schemas.microsoft.com/office/drawing/2014/main" id="{368CFC20-52A0-BF01-9578-5F74D3712D24}"/>
                  </a:ext>
                </a:extLst>
              </p:cNvPr>
              <p:cNvSpPr/>
              <p:nvPr/>
            </p:nvSpPr>
            <p:spPr>
              <a:xfrm flipV="1">
                <a:off x="6095902" y="3813216"/>
                <a:ext cx="584" cy="12523"/>
              </a:xfrm>
              <a:custGeom>
                <a:avLst/>
                <a:gdLst>
                  <a:gd name="connsiteX0" fmla="*/ 341 w 584"/>
                  <a:gd name="connsiteY0" fmla="*/ 12947 h 12523"/>
                  <a:gd name="connsiteX1" fmla="*/ 341 w 584"/>
                  <a:gd name="connsiteY1" fmla="*/ 424 h 12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84" h="12523">
                    <a:moveTo>
                      <a:pt x="341" y="12947"/>
                    </a:moveTo>
                    <a:lnTo>
                      <a:pt x="341" y="424"/>
                    </a:lnTo>
                  </a:path>
                </a:pathLst>
              </a:custGeom>
              <a:noFill/>
              <a:ln w="1905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grpSp>
        <p:nvGrpSpPr>
          <p:cNvPr id="168" name="Graphic 161">
            <a:extLst>
              <a:ext uri="{FF2B5EF4-FFF2-40B4-BE49-F238E27FC236}">
                <a16:creationId xmlns:a16="http://schemas.microsoft.com/office/drawing/2014/main" id="{BCAA4238-42BB-3E21-A6AC-F77936471AEF}"/>
              </a:ext>
            </a:extLst>
          </p:cNvPr>
          <p:cNvGrpSpPr/>
          <p:nvPr/>
        </p:nvGrpSpPr>
        <p:grpSpPr>
          <a:xfrm>
            <a:off x="9702545" y="1439805"/>
            <a:ext cx="440362" cy="382566"/>
            <a:chOff x="2858504" y="220403"/>
            <a:chExt cx="440362" cy="382566"/>
          </a:xfrm>
          <a:noFill/>
        </p:grpSpPr>
        <p:sp>
          <p:nvSpPr>
            <p:cNvPr id="169" name="Freeform 168">
              <a:extLst>
                <a:ext uri="{FF2B5EF4-FFF2-40B4-BE49-F238E27FC236}">
                  <a16:creationId xmlns:a16="http://schemas.microsoft.com/office/drawing/2014/main" id="{FD2F9370-F7FB-4FEC-1CDA-782C8086E3BE}"/>
                </a:ext>
              </a:extLst>
            </p:cNvPr>
            <p:cNvSpPr/>
            <p:nvPr/>
          </p:nvSpPr>
          <p:spPr>
            <a:xfrm flipV="1">
              <a:off x="2858504" y="220403"/>
              <a:ext cx="309740" cy="276273"/>
            </a:xfrm>
            <a:custGeom>
              <a:avLst/>
              <a:gdLst>
                <a:gd name="connsiteX0" fmla="*/ 77 w 309740"/>
                <a:gd name="connsiteY0" fmla="*/ 237449 h 276273"/>
                <a:gd name="connsiteX1" fmla="*/ 77 w 309740"/>
                <a:gd name="connsiteY1" fmla="*/ 372 h 276273"/>
                <a:gd name="connsiteX2" fmla="*/ 75423 w 309740"/>
                <a:gd name="connsiteY2" fmla="*/ 54122 h 276273"/>
                <a:gd name="connsiteX3" fmla="*/ 104908 w 309740"/>
                <a:gd name="connsiteY3" fmla="*/ 63560 h 276273"/>
                <a:gd name="connsiteX4" fmla="*/ 270621 w 309740"/>
                <a:gd name="connsiteY4" fmla="*/ 63560 h 276273"/>
                <a:gd name="connsiteX5" fmla="*/ 309817 w 309740"/>
                <a:gd name="connsiteY5" fmla="*/ 102756 h 276273"/>
                <a:gd name="connsiteX6" fmla="*/ 309817 w 309740"/>
                <a:gd name="connsiteY6" fmla="*/ 276645 h 276273"/>
                <a:gd name="connsiteX7" fmla="*/ 39272 w 309740"/>
                <a:gd name="connsiteY7" fmla="*/ 276645 h 276273"/>
                <a:gd name="connsiteX8" fmla="*/ 77 w 309740"/>
                <a:gd name="connsiteY8" fmla="*/ 237449 h 276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9740" h="276273">
                  <a:moveTo>
                    <a:pt x="77" y="237449"/>
                  </a:moveTo>
                  <a:lnTo>
                    <a:pt x="77" y="372"/>
                  </a:lnTo>
                  <a:lnTo>
                    <a:pt x="75423" y="54122"/>
                  </a:lnTo>
                  <a:cubicBezTo>
                    <a:pt x="84029" y="60261"/>
                    <a:pt x="94337" y="63560"/>
                    <a:pt x="104908" y="63560"/>
                  </a:cubicBezTo>
                  <a:lnTo>
                    <a:pt x="270621" y="63560"/>
                  </a:lnTo>
                  <a:cubicBezTo>
                    <a:pt x="292269" y="63560"/>
                    <a:pt x="309817" y="81109"/>
                    <a:pt x="309817" y="102756"/>
                  </a:cubicBezTo>
                  <a:lnTo>
                    <a:pt x="309817" y="276645"/>
                  </a:lnTo>
                  <a:lnTo>
                    <a:pt x="39272" y="276645"/>
                  </a:lnTo>
                  <a:cubicBezTo>
                    <a:pt x="17625" y="276645"/>
                    <a:pt x="77" y="259097"/>
                    <a:pt x="77" y="237449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0" name="Freeform 169">
              <a:extLst>
                <a:ext uri="{FF2B5EF4-FFF2-40B4-BE49-F238E27FC236}">
                  <a16:creationId xmlns:a16="http://schemas.microsoft.com/office/drawing/2014/main" id="{159B1F19-73AC-DC52-C458-30D83959505C}"/>
                </a:ext>
              </a:extLst>
            </p:cNvPr>
            <p:cNvSpPr/>
            <p:nvPr/>
          </p:nvSpPr>
          <p:spPr>
            <a:xfrm flipV="1">
              <a:off x="2989122" y="326693"/>
              <a:ext cx="309743" cy="276276"/>
            </a:xfrm>
            <a:custGeom>
              <a:avLst/>
              <a:gdLst>
                <a:gd name="connsiteX0" fmla="*/ 234464 w 309743"/>
                <a:gd name="connsiteY0" fmla="*/ 276847 h 276276"/>
                <a:gd name="connsiteX1" fmla="*/ 271072 w 309743"/>
                <a:gd name="connsiteY1" fmla="*/ 276847 h 276276"/>
                <a:gd name="connsiteX2" fmla="*/ 310267 w 309743"/>
                <a:gd name="connsiteY2" fmla="*/ 237644 h 276276"/>
                <a:gd name="connsiteX3" fmla="*/ 310267 w 309743"/>
                <a:gd name="connsiteY3" fmla="*/ 570 h 276276"/>
                <a:gd name="connsiteX4" fmla="*/ 234921 w 309743"/>
                <a:gd name="connsiteY4" fmla="*/ 54318 h 276276"/>
                <a:gd name="connsiteX5" fmla="*/ 205438 w 309743"/>
                <a:gd name="connsiteY5" fmla="*/ 63756 h 276276"/>
                <a:gd name="connsiteX6" fmla="*/ 39718 w 309743"/>
                <a:gd name="connsiteY6" fmla="*/ 63756 h 276276"/>
                <a:gd name="connsiteX7" fmla="*/ 523 w 309743"/>
                <a:gd name="connsiteY7" fmla="*/ 102959 h 276276"/>
                <a:gd name="connsiteX8" fmla="*/ 523 w 309743"/>
                <a:gd name="connsiteY8" fmla="*/ 115237 h 276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9743" h="276276">
                  <a:moveTo>
                    <a:pt x="234464" y="276847"/>
                  </a:moveTo>
                  <a:lnTo>
                    <a:pt x="271072" y="276847"/>
                  </a:lnTo>
                  <a:cubicBezTo>
                    <a:pt x="292716" y="276847"/>
                    <a:pt x="310267" y="259296"/>
                    <a:pt x="310267" y="237644"/>
                  </a:cubicBezTo>
                  <a:lnTo>
                    <a:pt x="310267" y="570"/>
                  </a:lnTo>
                  <a:lnTo>
                    <a:pt x="234921" y="54318"/>
                  </a:lnTo>
                  <a:cubicBezTo>
                    <a:pt x="226315" y="60457"/>
                    <a:pt x="216009" y="63756"/>
                    <a:pt x="205438" y="63756"/>
                  </a:cubicBezTo>
                  <a:lnTo>
                    <a:pt x="39718" y="63756"/>
                  </a:lnTo>
                  <a:cubicBezTo>
                    <a:pt x="18074" y="63756"/>
                    <a:pt x="523" y="81306"/>
                    <a:pt x="523" y="102959"/>
                  </a:cubicBezTo>
                  <a:lnTo>
                    <a:pt x="523" y="115237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1" name="Freeform 170">
              <a:extLst>
                <a:ext uri="{FF2B5EF4-FFF2-40B4-BE49-F238E27FC236}">
                  <a16:creationId xmlns:a16="http://schemas.microsoft.com/office/drawing/2014/main" id="{8C9D53EE-4814-1C49-111A-30DE0D076CED}"/>
                </a:ext>
              </a:extLst>
            </p:cNvPr>
            <p:cNvSpPr/>
            <p:nvPr/>
          </p:nvSpPr>
          <p:spPr>
            <a:xfrm flipV="1">
              <a:off x="2943344" y="295057"/>
              <a:ext cx="158332" cy="685"/>
            </a:xfrm>
            <a:custGeom>
              <a:avLst/>
              <a:gdLst>
                <a:gd name="connsiteX0" fmla="*/ 158679 w 158332"/>
                <a:gd name="connsiteY0" fmla="*/ 171 h 685"/>
                <a:gd name="connsiteX1" fmla="*/ 346 w 158332"/>
                <a:gd name="connsiteY1" fmla="*/ 171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332" h="685">
                  <a:moveTo>
                    <a:pt x="158679" y="171"/>
                  </a:moveTo>
                  <a:lnTo>
                    <a:pt x="346" y="171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2" name="Freeform 171">
              <a:extLst>
                <a:ext uri="{FF2B5EF4-FFF2-40B4-BE49-F238E27FC236}">
                  <a16:creationId xmlns:a16="http://schemas.microsoft.com/office/drawing/2014/main" id="{364D337A-A64F-1289-709C-CD9F68AB6D25}"/>
                </a:ext>
              </a:extLst>
            </p:cNvPr>
            <p:cNvSpPr/>
            <p:nvPr/>
          </p:nvSpPr>
          <p:spPr>
            <a:xfrm flipV="1">
              <a:off x="2943344" y="359010"/>
              <a:ext cx="158332" cy="685"/>
            </a:xfrm>
            <a:custGeom>
              <a:avLst/>
              <a:gdLst>
                <a:gd name="connsiteX0" fmla="*/ 158679 w 158332"/>
                <a:gd name="connsiteY0" fmla="*/ 264 h 685"/>
                <a:gd name="connsiteX1" fmla="*/ 346 w 158332"/>
                <a:gd name="connsiteY1" fmla="*/ 264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332" h="685">
                  <a:moveTo>
                    <a:pt x="158679" y="264"/>
                  </a:moveTo>
                  <a:lnTo>
                    <a:pt x="346" y="264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226" name="Graphic 173">
            <a:extLst>
              <a:ext uri="{FF2B5EF4-FFF2-40B4-BE49-F238E27FC236}">
                <a16:creationId xmlns:a16="http://schemas.microsoft.com/office/drawing/2014/main" id="{EE64F7C1-520F-D91B-A947-EEA65DC911CE}"/>
              </a:ext>
            </a:extLst>
          </p:cNvPr>
          <p:cNvGrpSpPr/>
          <p:nvPr/>
        </p:nvGrpSpPr>
        <p:grpSpPr>
          <a:xfrm>
            <a:off x="3453226" y="2521771"/>
            <a:ext cx="440363" cy="440116"/>
            <a:chOff x="2858504" y="191750"/>
            <a:chExt cx="440363" cy="440116"/>
          </a:xfrm>
          <a:noFill/>
        </p:grpSpPr>
        <p:grpSp>
          <p:nvGrpSpPr>
            <p:cNvPr id="227" name="Graphic 173">
              <a:extLst>
                <a:ext uri="{FF2B5EF4-FFF2-40B4-BE49-F238E27FC236}">
                  <a16:creationId xmlns:a16="http://schemas.microsoft.com/office/drawing/2014/main" id="{9642B802-F076-D73E-7313-003E442D7E7C}"/>
                </a:ext>
              </a:extLst>
            </p:cNvPr>
            <p:cNvGrpSpPr/>
            <p:nvPr/>
          </p:nvGrpSpPr>
          <p:grpSpPr>
            <a:xfrm>
              <a:off x="2869172" y="191750"/>
              <a:ext cx="429695" cy="440116"/>
              <a:chOff x="2869172" y="191750"/>
              <a:chExt cx="429695" cy="440116"/>
            </a:xfrm>
            <a:noFill/>
          </p:grpSpPr>
          <p:sp>
            <p:nvSpPr>
              <p:cNvPr id="237" name="Freeform 236">
                <a:extLst>
                  <a:ext uri="{FF2B5EF4-FFF2-40B4-BE49-F238E27FC236}">
                    <a16:creationId xmlns:a16="http://schemas.microsoft.com/office/drawing/2014/main" id="{BA53CB94-4628-F0FA-E804-1BDF4BCA706E}"/>
                  </a:ext>
                </a:extLst>
              </p:cNvPr>
              <p:cNvSpPr/>
              <p:nvPr/>
            </p:nvSpPr>
            <p:spPr>
              <a:xfrm flipV="1">
                <a:off x="2885912" y="440007"/>
                <a:ext cx="412954" cy="191859"/>
              </a:xfrm>
              <a:custGeom>
                <a:avLst/>
                <a:gdLst>
                  <a:gd name="connsiteX0" fmla="*/ 413045 w 412954"/>
                  <a:gd name="connsiteY0" fmla="*/ 403 h 191859"/>
                  <a:gd name="connsiteX1" fmla="*/ 90 w 412954"/>
                  <a:gd name="connsiteY1" fmla="*/ 403 h 191859"/>
                  <a:gd name="connsiteX2" fmla="*/ 90 w 412954"/>
                  <a:gd name="connsiteY2" fmla="*/ 192262 h 191859"/>
                  <a:gd name="connsiteX3" fmla="*/ 413045 w 412954"/>
                  <a:gd name="connsiteY3" fmla="*/ 192262 h 191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2954" h="191859">
                    <a:moveTo>
                      <a:pt x="413045" y="403"/>
                    </a:moveTo>
                    <a:lnTo>
                      <a:pt x="90" y="403"/>
                    </a:lnTo>
                    <a:lnTo>
                      <a:pt x="90" y="192262"/>
                    </a:lnTo>
                    <a:lnTo>
                      <a:pt x="413045" y="192262"/>
                    </a:lnTo>
                    <a:close/>
                  </a:path>
                </a:pathLst>
              </a:custGeom>
              <a:noFill/>
              <a:ln w="1905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38" name="Freeform 237">
                <a:extLst>
                  <a:ext uri="{FF2B5EF4-FFF2-40B4-BE49-F238E27FC236}">
                    <a16:creationId xmlns:a16="http://schemas.microsoft.com/office/drawing/2014/main" id="{CE1A8C2D-177B-2C8F-76E4-BB3E5BAE0DEE}"/>
                  </a:ext>
                </a:extLst>
              </p:cNvPr>
              <p:cNvSpPr/>
              <p:nvPr/>
            </p:nvSpPr>
            <p:spPr>
              <a:xfrm flipV="1">
                <a:off x="2885912" y="357782"/>
                <a:ext cx="412954" cy="82225"/>
              </a:xfrm>
              <a:custGeom>
                <a:avLst/>
                <a:gdLst>
                  <a:gd name="connsiteX0" fmla="*/ 27574 w 412954"/>
                  <a:gd name="connsiteY0" fmla="*/ 82593 h 82225"/>
                  <a:gd name="connsiteX1" fmla="*/ 413120 w 412954"/>
                  <a:gd name="connsiteY1" fmla="*/ 82593 h 82225"/>
                  <a:gd name="connsiteX2" fmla="*/ 413120 w 412954"/>
                  <a:gd name="connsiteY2" fmla="*/ 368 h 82225"/>
                  <a:gd name="connsiteX3" fmla="*/ 165 w 412954"/>
                  <a:gd name="connsiteY3" fmla="*/ 368 h 82225"/>
                  <a:gd name="connsiteX4" fmla="*/ 165 w 412954"/>
                  <a:gd name="connsiteY4" fmla="*/ 55185 h 82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2954" h="82225">
                    <a:moveTo>
                      <a:pt x="27574" y="82593"/>
                    </a:moveTo>
                    <a:lnTo>
                      <a:pt x="413120" y="82593"/>
                    </a:lnTo>
                    <a:lnTo>
                      <a:pt x="413120" y="368"/>
                    </a:lnTo>
                    <a:lnTo>
                      <a:pt x="165" y="368"/>
                    </a:lnTo>
                    <a:lnTo>
                      <a:pt x="165" y="55185"/>
                    </a:lnTo>
                  </a:path>
                </a:pathLst>
              </a:custGeom>
              <a:noFill/>
              <a:ln w="1905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39" name="Freeform 238">
                <a:extLst>
                  <a:ext uri="{FF2B5EF4-FFF2-40B4-BE49-F238E27FC236}">
                    <a16:creationId xmlns:a16="http://schemas.microsoft.com/office/drawing/2014/main" id="{64CF029B-F0A2-09F0-252A-E3295217D925}"/>
                  </a:ext>
                </a:extLst>
              </p:cNvPr>
              <p:cNvSpPr/>
              <p:nvPr/>
            </p:nvSpPr>
            <p:spPr>
              <a:xfrm flipV="1">
                <a:off x="2869172" y="191750"/>
                <a:ext cx="421084" cy="158623"/>
              </a:xfrm>
              <a:custGeom>
                <a:avLst/>
                <a:gdLst>
                  <a:gd name="connsiteX0" fmla="*/ 11284 w 421084"/>
                  <a:gd name="connsiteY0" fmla="*/ 21332 h 158623"/>
                  <a:gd name="connsiteX1" fmla="*/ 125 w 421084"/>
                  <a:gd name="connsiteY1" fmla="*/ 74996 h 158623"/>
                  <a:gd name="connsiteX2" fmla="*/ 404468 w 421084"/>
                  <a:gd name="connsiteY2" fmla="*/ 158696 h 158623"/>
                  <a:gd name="connsiteX3" fmla="*/ 421209 w 421084"/>
                  <a:gd name="connsiteY3" fmla="*/ 78193 h 158623"/>
                  <a:gd name="connsiteX4" fmla="*/ 43705 w 421084"/>
                  <a:gd name="connsiteY4" fmla="*/ 73 h 158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1084" h="158623">
                    <a:moveTo>
                      <a:pt x="11284" y="21332"/>
                    </a:moveTo>
                    <a:lnTo>
                      <a:pt x="125" y="74996"/>
                    </a:lnTo>
                    <a:lnTo>
                      <a:pt x="404468" y="158696"/>
                    </a:lnTo>
                    <a:lnTo>
                      <a:pt x="421209" y="78193"/>
                    </a:lnTo>
                    <a:lnTo>
                      <a:pt x="43705" y="73"/>
                    </a:lnTo>
                  </a:path>
                </a:pathLst>
              </a:custGeom>
              <a:noFill/>
              <a:ln w="1905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228" name="Freeform 227">
              <a:extLst>
                <a:ext uri="{FF2B5EF4-FFF2-40B4-BE49-F238E27FC236}">
                  <a16:creationId xmlns:a16="http://schemas.microsoft.com/office/drawing/2014/main" id="{48766F13-A180-41E4-69B4-BD76A00F0B52}"/>
                </a:ext>
              </a:extLst>
            </p:cNvPr>
            <p:cNvSpPr/>
            <p:nvPr/>
          </p:nvSpPr>
          <p:spPr>
            <a:xfrm flipV="1">
              <a:off x="2969965" y="357782"/>
              <a:ext cx="82225" cy="82225"/>
            </a:xfrm>
            <a:custGeom>
              <a:avLst/>
              <a:gdLst>
                <a:gd name="connsiteX0" fmla="*/ 82513 w 82225"/>
                <a:gd name="connsiteY0" fmla="*/ 82593 h 82225"/>
                <a:gd name="connsiteX1" fmla="*/ 288 w 82225"/>
                <a:gd name="connsiteY1" fmla="*/ 368 h 8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225" h="82225">
                  <a:moveTo>
                    <a:pt x="82513" y="82593"/>
                  </a:moveTo>
                  <a:lnTo>
                    <a:pt x="288" y="368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9" name="Freeform 228">
              <a:extLst>
                <a:ext uri="{FF2B5EF4-FFF2-40B4-BE49-F238E27FC236}">
                  <a16:creationId xmlns:a16="http://schemas.microsoft.com/office/drawing/2014/main" id="{7EC73259-1093-F0E8-D2D7-01EAC8FE5765}"/>
                </a:ext>
              </a:extLst>
            </p:cNvPr>
            <p:cNvSpPr/>
            <p:nvPr/>
          </p:nvSpPr>
          <p:spPr>
            <a:xfrm flipV="1">
              <a:off x="2951503" y="258711"/>
              <a:ext cx="97243" cy="63763"/>
            </a:xfrm>
            <a:custGeom>
              <a:avLst/>
              <a:gdLst>
                <a:gd name="connsiteX0" fmla="*/ 173 w 97243"/>
                <a:gd name="connsiteY0" fmla="*/ 63963 h 63763"/>
                <a:gd name="connsiteX1" fmla="*/ 97417 w 97243"/>
                <a:gd name="connsiteY1" fmla="*/ 200 h 63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243" h="63763">
                  <a:moveTo>
                    <a:pt x="173" y="63963"/>
                  </a:moveTo>
                  <a:lnTo>
                    <a:pt x="97417" y="20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0" name="Freeform 229">
              <a:extLst>
                <a:ext uri="{FF2B5EF4-FFF2-40B4-BE49-F238E27FC236}">
                  <a16:creationId xmlns:a16="http://schemas.microsoft.com/office/drawing/2014/main" id="{7B9BA7CC-419F-8BAE-C0E4-8ACB8B8DEE98}"/>
                </a:ext>
              </a:extLst>
            </p:cNvPr>
            <p:cNvSpPr/>
            <p:nvPr/>
          </p:nvSpPr>
          <p:spPr>
            <a:xfrm flipV="1">
              <a:off x="3079599" y="357782"/>
              <a:ext cx="82225" cy="82225"/>
            </a:xfrm>
            <a:custGeom>
              <a:avLst/>
              <a:gdLst>
                <a:gd name="connsiteX0" fmla="*/ 82673 w 82225"/>
                <a:gd name="connsiteY0" fmla="*/ 82593 h 82225"/>
                <a:gd name="connsiteX1" fmla="*/ 448 w 82225"/>
                <a:gd name="connsiteY1" fmla="*/ 368 h 8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225" h="82225">
                  <a:moveTo>
                    <a:pt x="82673" y="82593"/>
                  </a:moveTo>
                  <a:lnTo>
                    <a:pt x="448" y="368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1" name="Freeform 230">
              <a:extLst>
                <a:ext uri="{FF2B5EF4-FFF2-40B4-BE49-F238E27FC236}">
                  <a16:creationId xmlns:a16="http://schemas.microsoft.com/office/drawing/2014/main" id="{B8954EB8-331A-3841-40B1-5EAD10AF6BC9}"/>
                </a:ext>
              </a:extLst>
            </p:cNvPr>
            <p:cNvSpPr/>
            <p:nvPr/>
          </p:nvSpPr>
          <p:spPr>
            <a:xfrm flipV="1">
              <a:off x="3058840" y="236391"/>
              <a:ext cx="97243" cy="63763"/>
            </a:xfrm>
            <a:custGeom>
              <a:avLst/>
              <a:gdLst>
                <a:gd name="connsiteX0" fmla="*/ 330 w 97243"/>
                <a:gd name="connsiteY0" fmla="*/ 63930 h 63763"/>
                <a:gd name="connsiteX1" fmla="*/ 97574 w 97243"/>
                <a:gd name="connsiteY1" fmla="*/ 167 h 63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243" h="63763">
                  <a:moveTo>
                    <a:pt x="330" y="63930"/>
                  </a:moveTo>
                  <a:lnTo>
                    <a:pt x="97574" y="167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232" name="Graphic 173">
              <a:extLst>
                <a:ext uri="{FF2B5EF4-FFF2-40B4-BE49-F238E27FC236}">
                  <a16:creationId xmlns:a16="http://schemas.microsoft.com/office/drawing/2014/main" id="{EFE55350-0593-3952-3B16-C85666BDEA05}"/>
                </a:ext>
              </a:extLst>
            </p:cNvPr>
            <p:cNvGrpSpPr/>
            <p:nvPr/>
          </p:nvGrpSpPr>
          <p:grpSpPr>
            <a:xfrm>
              <a:off x="2858504" y="214070"/>
              <a:ext cx="412954" cy="225937"/>
              <a:chOff x="2858504" y="214070"/>
              <a:chExt cx="412954" cy="225937"/>
            </a:xfrm>
            <a:noFill/>
          </p:grpSpPr>
          <p:sp>
            <p:nvSpPr>
              <p:cNvPr id="233" name="Freeform 232">
                <a:extLst>
                  <a:ext uri="{FF2B5EF4-FFF2-40B4-BE49-F238E27FC236}">
                    <a16:creationId xmlns:a16="http://schemas.microsoft.com/office/drawing/2014/main" id="{805A91C6-1CFE-ADC5-62AD-85445E7E95A1}"/>
                  </a:ext>
                </a:extLst>
              </p:cNvPr>
              <p:cNvSpPr/>
              <p:nvPr/>
            </p:nvSpPr>
            <p:spPr>
              <a:xfrm flipV="1">
                <a:off x="3189233" y="357782"/>
                <a:ext cx="82225" cy="82225"/>
              </a:xfrm>
              <a:custGeom>
                <a:avLst/>
                <a:gdLst>
                  <a:gd name="connsiteX0" fmla="*/ 82833 w 82225"/>
                  <a:gd name="connsiteY0" fmla="*/ 82593 h 82225"/>
                  <a:gd name="connsiteX1" fmla="*/ 608 w 82225"/>
                  <a:gd name="connsiteY1" fmla="*/ 368 h 82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2225" h="82225">
                    <a:moveTo>
                      <a:pt x="82833" y="82593"/>
                    </a:moveTo>
                    <a:lnTo>
                      <a:pt x="608" y="368"/>
                    </a:lnTo>
                  </a:path>
                </a:pathLst>
              </a:custGeom>
              <a:noFill/>
              <a:ln w="1905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34" name="Freeform 233">
                <a:extLst>
                  <a:ext uri="{FF2B5EF4-FFF2-40B4-BE49-F238E27FC236}">
                    <a16:creationId xmlns:a16="http://schemas.microsoft.com/office/drawing/2014/main" id="{A0EC65E9-0F2F-F5E3-1ED1-F36CE4668E49}"/>
                  </a:ext>
                </a:extLst>
              </p:cNvPr>
              <p:cNvSpPr/>
              <p:nvPr/>
            </p:nvSpPr>
            <p:spPr>
              <a:xfrm flipV="1">
                <a:off x="3166178" y="214070"/>
                <a:ext cx="97243" cy="63763"/>
              </a:xfrm>
              <a:custGeom>
                <a:avLst/>
                <a:gdLst>
                  <a:gd name="connsiteX0" fmla="*/ 487 w 97243"/>
                  <a:gd name="connsiteY0" fmla="*/ 63897 h 63763"/>
                  <a:gd name="connsiteX1" fmla="*/ 97730 w 97243"/>
                  <a:gd name="connsiteY1" fmla="*/ 134 h 63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243" h="63763">
                    <a:moveTo>
                      <a:pt x="487" y="63897"/>
                    </a:moveTo>
                    <a:lnTo>
                      <a:pt x="97730" y="134"/>
                    </a:lnTo>
                  </a:path>
                </a:pathLst>
              </a:custGeom>
              <a:noFill/>
              <a:ln w="1905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35" name="Freeform 234">
                <a:extLst>
                  <a:ext uri="{FF2B5EF4-FFF2-40B4-BE49-F238E27FC236}">
                    <a16:creationId xmlns:a16="http://schemas.microsoft.com/office/drawing/2014/main" id="{235533FF-C57B-0FEB-8C0A-B054E802020A}"/>
                  </a:ext>
                </a:extLst>
              </p:cNvPr>
              <p:cNvSpPr/>
              <p:nvPr/>
            </p:nvSpPr>
            <p:spPr>
              <a:xfrm flipV="1">
                <a:off x="2858504" y="330373"/>
                <a:ext cx="54816" cy="54816"/>
              </a:xfrm>
              <a:custGeom>
                <a:avLst/>
                <a:gdLst>
                  <a:gd name="connsiteX0" fmla="*/ 54907 w 54816"/>
                  <a:gd name="connsiteY0" fmla="*/ 27671 h 54816"/>
                  <a:gd name="connsiteX1" fmla="*/ 27498 w 54816"/>
                  <a:gd name="connsiteY1" fmla="*/ 263 h 54816"/>
                  <a:gd name="connsiteX2" fmla="*/ 90 w 54816"/>
                  <a:gd name="connsiteY2" fmla="*/ 27671 h 54816"/>
                  <a:gd name="connsiteX3" fmla="*/ 27498 w 54816"/>
                  <a:gd name="connsiteY3" fmla="*/ 55080 h 54816"/>
                  <a:gd name="connsiteX4" fmla="*/ 54907 w 54816"/>
                  <a:gd name="connsiteY4" fmla="*/ 27671 h 54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816" h="54816">
                    <a:moveTo>
                      <a:pt x="54907" y="27671"/>
                    </a:moveTo>
                    <a:cubicBezTo>
                      <a:pt x="54907" y="12534"/>
                      <a:pt x="42635" y="263"/>
                      <a:pt x="27498" y="263"/>
                    </a:cubicBezTo>
                    <a:cubicBezTo>
                      <a:pt x="12362" y="263"/>
                      <a:pt x="90" y="12534"/>
                      <a:pt x="90" y="27671"/>
                    </a:cubicBezTo>
                    <a:cubicBezTo>
                      <a:pt x="90" y="42808"/>
                      <a:pt x="12362" y="55080"/>
                      <a:pt x="27498" y="55080"/>
                    </a:cubicBezTo>
                    <a:cubicBezTo>
                      <a:pt x="42635" y="55080"/>
                      <a:pt x="54907" y="42808"/>
                      <a:pt x="54907" y="27671"/>
                    </a:cubicBezTo>
                    <a:close/>
                  </a:path>
                </a:pathLst>
              </a:custGeom>
              <a:noFill/>
              <a:ln w="19050" cap="rnd">
                <a:solidFill>
                  <a:schemeClr val="tx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grpSp>
        <p:nvGrpSpPr>
          <p:cNvPr id="255" name="Graphic 240">
            <a:extLst>
              <a:ext uri="{FF2B5EF4-FFF2-40B4-BE49-F238E27FC236}">
                <a16:creationId xmlns:a16="http://schemas.microsoft.com/office/drawing/2014/main" id="{D008C938-A3FD-54E8-F634-979923559223}"/>
              </a:ext>
            </a:extLst>
          </p:cNvPr>
          <p:cNvGrpSpPr/>
          <p:nvPr/>
        </p:nvGrpSpPr>
        <p:grpSpPr>
          <a:xfrm>
            <a:off x="2076312" y="2522562"/>
            <a:ext cx="440363" cy="438535"/>
            <a:chOff x="2858504" y="192417"/>
            <a:chExt cx="440363" cy="438535"/>
          </a:xfrm>
          <a:noFill/>
        </p:grpSpPr>
        <p:sp>
          <p:nvSpPr>
            <p:cNvPr id="256" name="Freeform 255">
              <a:extLst>
                <a:ext uri="{FF2B5EF4-FFF2-40B4-BE49-F238E27FC236}">
                  <a16:creationId xmlns:a16="http://schemas.microsoft.com/office/drawing/2014/main" id="{408893DA-46E4-AB21-43E0-6E4791738565}"/>
                </a:ext>
              </a:extLst>
            </p:cNvPr>
            <p:cNvSpPr/>
            <p:nvPr/>
          </p:nvSpPr>
          <p:spPr>
            <a:xfrm flipV="1">
              <a:off x="2858504" y="192417"/>
              <a:ext cx="255812" cy="438535"/>
            </a:xfrm>
            <a:custGeom>
              <a:avLst/>
              <a:gdLst>
                <a:gd name="connsiteX0" fmla="*/ 182990 w 255812"/>
                <a:gd name="connsiteY0" fmla="*/ 439117 h 438535"/>
                <a:gd name="connsiteX1" fmla="*/ 182990 w 255812"/>
                <a:gd name="connsiteY1" fmla="*/ 408135 h 438535"/>
                <a:gd name="connsiteX2" fmla="*/ 112185 w 255812"/>
                <a:gd name="connsiteY2" fmla="*/ 378882 h 438535"/>
                <a:gd name="connsiteX3" fmla="*/ 90330 w 255812"/>
                <a:gd name="connsiteY3" fmla="*/ 400736 h 438535"/>
                <a:gd name="connsiteX4" fmla="*/ 38648 w 255812"/>
                <a:gd name="connsiteY4" fmla="*/ 349055 h 438535"/>
                <a:gd name="connsiteX5" fmla="*/ 60501 w 255812"/>
                <a:gd name="connsiteY5" fmla="*/ 327200 h 438535"/>
                <a:gd name="connsiteX6" fmla="*/ 31249 w 255812"/>
                <a:gd name="connsiteY6" fmla="*/ 256394 h 438535"/>
                <a:gd name="connsiteX7" fmla="*/ 267 w 255812"/>
                <a:gd name="connsiteY7" fmla="*/ 256394 h 438535"/>
                <a:gd name="connsiteX8" fmla="*/ 267 w 255812"/>
                <a:gd name="connsiteY8" fmla="*/ 183305 h 438535"/>
                <a:gd name="connsiteX9" fmla="*/ 31249 w 255812"/>
                <a:gd name="connsiteY9" fmla="*/ 183305 h 438535"/>
                <a:gd name="connsiteX10" fmla="*/ 60502 w 255812"/>
                <a:gd name="connsiteY10" fmla="*/ 112498 h 438535"/>
                <a:gd name="connsiteX11" fmla="*/ 38648 w 255812"/>
                <a:gd name="connsiteY11" fmla="*/ 90644 h 438535"/>
                <a:gd name="connsiteX12" fmla="*/ 90330 w 255812"/>
                <a:gd name="connsiteY12" fmla="*/ 38963 h 438535"/>
                <a:gd name="connsiteX13" fmla="*/ 112184 w 255812"/>
                <a:gd name="connsiteY13" fmla="*/ 60817 h 438535"/>
                <a:gd name="connsiteX14" fmla="*/ 182990 w 255812"/>
                <a:gd name="connsiteY14" fmla="*/ 31564 h 438535"/>
                <a:gd name="connsiteX15" fmla="*/ 182990 w 255812"/>
                <a:gd name="connsiteY15" fmla="*/ 581 h 438535"/>
                <a:gd name="connsiteX16" fmla="*/ 256079 w 255812"/>
                <a:gd name="connsiteY16" fmla="*/ 581 h 438535"/>
                <a:gd name="connsiteX17" fmla="*/ 256079 w 255812"/>
                <a:gd name="connsiteY17" fmla="*/ 439117 h 438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5812" h="438535">
                  <a:moveTo>
                    <a:pt x="182990" y="439117"/>
                  </a:moveTo>
                  <a:lnTo>
                    <a:pt x="182990" y="408135"/>
                  </a:lnTo>
                  <a:cubicBezTo>
                    <a:pt x="157180" y="403154"/>
                    <a:pt x="133186" y="393086"/>
                    <a:pt x="112185" y="378882"/>
                  </a:cubicBezTo>
                  <a:lnTo>
                    <a:pt x="90330" y="400736"/>
                  </a:lnTo>
                  <a:lnTo>
                    <a:pt x="38648" y="349055"/>
                  </a:lnTo>
                  <a:lnTo>
                    <a:pt x="60501" y="327200"/>
                  </a:lnTo>
                  <a:cubicBezTo>
                    <a:pt x="46296" y="306199"/>
                    <a:pt x="36231" y="282203"/>
                    <a:pt x="31249" y="256394"/>
                  </a:cubicBezTo>
                  <a:lnTo>
                    <a:pt x="267" y="256394"/>
                  </a:lnTo>
                  <a:lnTo>
                    <a:pt x="267" y="183305"/>
                  </a:lnTo>
                  <a:lnTo>
                    <a:pt x="31249" y="183305"/>
                  </a:lnTo>
                  <a:cubicBezTo>
                    <a:pt x="36231" y="157496"/>
                    <a:pt x="46297" y="133501"/>
                    <a:pt x="60502" y="112498"/>
                  </a:cubicBezTo>
                  <a:lnTo>
                    <a:pt x="38648" y="90644"/>
                  </a:lnTo>
                  <a:lnTo>
                    <a:pt x="90330" y="38963"/>
                  </a:lnTo>
                  <a:lnTo>
                    <a:pt x="112184" y="60817"/>
                  </a:lnTo>
                  <a:cubicBezTo>
                    <a:pt x="133185" y="46612"/>
                    <a:pt x="157180" y="36545"/>
                    <a:pt x="182990" y="31564"/>
                  </a:cubicBezTo>
                  <a:lnTo>
                    <a:pt x="182990" y="581"/>
                  </a:lnTo>
                  <a:lnTo>
                    <a:pt x="256079" y="581"/>
                  </a:lnTo>
                  <a:lnTo>
                    <a:pt x="256079" y="439117"/>
                  </a:ln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7" name="Freeform 256">
              <a:extLst>
                <a:ext uri="{FF2B5EF4-FFF2-40B4-BE49-F238E27FC236}">
                  <a16:creationId xmlns:a16="http://schemas.microsoft.com/office/drawing/2014/main" id="{7D405855-FC37-091A-788B-0FBE800704DA}"/>
                </a:ext>
              </a:extLst>
            </p:cNvPr>
            <p:cNvSpPr/>
            <p:nvPr/>
          </p:nvSpPr>
          <p:spPr>
            <a:xfrm flipV="1">
              <a:off x="2968138" y="302051"/>
              <a:ext cx="146178" cy="219267"/>
            </a:xfrm>
            <a:custGeom>
              <a:avLst/>
              <a:gdLst>
                <a:gd name="connsiteX0" fmla="*/ 146545 w 146178"/>
                <a:gd name="connsiteY0" fmla="*/ 213350 h 219267"/>
                <a:gd name="connsiteX1" fmla="*/ 110001 w 146178"/>
                <a:gd name="connsiteY1" fmla="*/ 219722 h 219267"/>
                <a:gd name="connsiteX2" fmla="*/ 367 w 146178"/>
                <a:gd name="connsiteY2" fmla="*/ 110088 h 219267"/>
                <a:gd name="connsiteX3" fmla="*/ 110001 w 146178"/>
                <a:gd name="connsiteY3" fmla="*/ 454 h 219267"/>
                <a:gd name="connsiteX4" fmla="*/ 146545 w 146178"/>
                <a:gd name="connsiteY4" fmla="*/ 6826 h 219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178" h="219267">
                  <a:moveTo>
                    <a:pt x="146545" y="213350"/>
                  </a:moveTo>
                  <a:cubicBezTo>
                    <a:pt x="135100" y="217403"/>
                    <a:pt x="122835" y="219722"/>
                    <a:pt x="110001" y="219722"/>
                  </a:cubicBezTo>
                  <a:cubicBezTo>
                    <a:pt x="49452" y="219722"/>
                    <a:pt x="367" y="170637"/>
                    <a:pt x="367" y="110088"/>
                  </a:cubicBezTo>
                  <a:cubicBezTo>
                    <a:pt x="367" y="49539"/>
                    <a:pt x="49452" y="454"/>
                    <a:pt x="110001" y="454"/>
                  </a:cubicBezTo>
                  <a:cubicBezTo>
                    <a:pt x="122835" y="454"/>
                    <a:pt x="135100" y="2774"/>
                    <a:pt x="146545" y="6826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8" name="Freeform 257">
              <a:extLst>
                <a:ext uri="{FF2B5EF4-FFF2-40B4-BE49-F238E27FC236}">
                  <a16:creationId xmlns:a16="http://schemas.microsoft.com/office/drawing/2014/main" id="{7160E55D-4321-AC4C-302E-5F4A1CAED825}"/>
                </a:ext>
              </a:extLst>
            </p:cNvPr>
            <p:cNvSpPr/>
            <p:nvPr/>
          </p:nvSpPr>
          <p:spPr>
            <a:xfrm flipV="1">
              <a:off x="3244050" y="384277"/>
              <a:ext cx="54816" cy="54816"/>
            </a:xfrm>
            <a:custGeom>
              <a:avLst/>
              <a:gdLst>
                <a:gd name="connsiteX0" fmla="*/ 55470 w 54816"/>
                <a:gd name="connsiteY0" fmla="*/ 27750 h 54816"/>
                <a:gd name="connsiteX1" fmla="*/ 28061 w 54816"/>
                <a:gd name="connsiteY1" fmla="*/ 341 h 54816"/>
                <a:gd name="connsiteX2" fmla="*/ 653 w 54816"/>
                <a:gd name="connsiteY2" fmla="*/ 27750 h 54816"/>
                <a:gd name="connsiteX3" fmla="*/ 28061 w 54816"/>
                <a:gd name="connsiteY3" fmla="*/ 55158 h 54816"/>
                <a:gd name="connsiteX4" fmla="*/ 55470 w 54816"/>
                <a:gd name="connsiteY4" fmla="*/ 27750 h 54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816" h="54816">
                  <a:moveTo>
                    <a:pt x="55470" y="27750"/>
                  </a:moveTo>
                  <a:cubicBezTo>
                    <a:pt x="55470" y="12613"/>
                    <a:pt x="43198" y="341"/>
                    <a:pt x="28061" y="341"/>
                  </a:cubicBezTo>
                  <a:cubicBezTo>
                    <a:pt x="12924" y="341"/>
                    <a:pt x="653" y="12613"/>
                    <a:pt x="653" y="27750"/>
                  </a:cubicBezTo>
                  <a:cubicBezTo>
                    <a:pt x="653" y="42887"/>
                    <a:pt x="12924" y="55158"/>
                    <a:pt x="28061" y="55158"/>
                  </a:cubicBezTo>
                  <a:cubicBezTo>
                    <a:pt x="43198" y="55158"/>
                    <a:pt x="55470" y="42887"/>
                    <a:pt x="55470" y="27750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9" name="Freeform 258">
              <a:extLst>
                <a:ext uri="{FF2B5EF4-FFF2-40B4-BE49-F238E27FC236}">
                  <a16:creationId xmlns:a16="http://schemas.microsoft.com/office/drawing/2014/main" id="{C582530D-9D6C-66A4-9939-1843D2E4A47A}"/>
                </a:ext>
              </a:extLst>
            </p:cNvPr>
            <p:cNvSpPr/>
            <p:nvPr/>
          </p:nvSpPr>
          <p:spPr>
            <a:xfrm flipV="1">
              <a:off x="3244050" y="493911"/>
              <a:ext cx="54816" cy="54816"/>
            </a:xfrm>
            <a:custGeom>
              <a:avLst/>
              <a:gdLst>
                <a:gd name="connsiteX0" fmla="*/ 55470 w 54816"/>
                <a:gd name="connsiteY0" fmla="*/ 27910 h 54816"/>
                <a:gd name="connsiteX1" fmla="*/ 28061 w 54816"/>
                <a:gd name="connsiteY1" fmla="*/ 501 h 54816"/>
                <a:gd name="connsiteX2" fmla="*/ 653 w 54816"/>
                <a:gd name="connsiteY2" fmla="*/ 27910 h 54816"/>
                <a:gd name="connsiteX3" fmla="*/ 28061 w 54816"/>
                <a:gd name="connsiteY3" fmla="*/ 55318 h 54816"/>
                <a:gd name="connsiteX4" fmla="*/ 55470 w 54816"/>
                <a:gd name="connsiteY4" fmla="*/ 27910 h 54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816" h="54816">
                  <a:moveTo>
                    <a:pt x="55470" y="27910"/>
                  </a:moveTo>
                  <a:cubicBezTo>
                    <a:pt x="55470" y="12773"/>
                    <a:pt x="43198" y="501"/>
                    <a:pt x="28061" y="501"/>
                  </a:cubicBezTo>
                  <a:cubicBezTo>
                    <a:pt x="12924" y="501"/>
                    <a:pt x="653" y="12773"/>
                    <a:pt x="653" y="27910"/>
                  </a:cubicBezTo>
                  <a:cubicBezTo>
                    <a:pt x="653" y="43047"/>
                    <a:pt x="12924" y="55318"/>
                    <a:pt x="28061" y="55318"/>
                  </a:cubicBezTo>
                  <a:cubicBezTo>
                    <a:pt x="43198" y="55318"/>
                    <a:pt x="55470" y="43047"/>
                    <a:pt x="55470" y="27910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0" name="Freeform 259">
              <a:extLst>
                <a:ext uri="{FF2B5EF4-FFF2-40B4-BE49-F238E27FC236}">
                  <a16:creationId xmlns:a16="http://schemas.microsoft.com/office/drawing/2014/main" id="{083E85E4-50B3-1620-DE0C-05A2CB882027}"/>
                </a:ext>
              </a:extLst>
            </p:cNvPr>
            <p:cNvSpPr/>
            <p:nvPr/>
          </p:nvSpPr>
          <p:spPr>
            <a:xfrm flipV="1">
              <a:off x="3180097" y="576136"/>
              <a:ext cx="54816" cy="54816"/>
            </a:xfrm>
            <a:custGeom>
              <a:avLst/>
              <a:gdLst>
                <a:gd name="connsiteX0" fmla="*/ 55376 w 54816"/>
                <a:gd name="connsiteY0" fmla="*/ 28030 h 54816"/>
                <a:gd name="connsiteX1" fmla="*/ 27968 w 54816"/>
                <a:gd name="connsiteY1" fmla="*/ 621 h 54816"/>
                <a:gd name="connsiteX2" fmla="*/ 559 w 54816"/>
                <a:gd name="connsiteY2" fmla="*/ 28030 h 54816"/>
                <a:gd name="connsiteX3" fmla="*/ 27968 w 54816"/>
                <a:gd name="connsiteY3" fmla="*/ 55438 h 54816"/>
                <a:gd name="connsiteX4" fmla="*/ 55376 w 54816"/>
                <a:gd name="connsiteY4" fmla="*/ 28030 h 54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816" h="54816">
                  <a:moveTo>
                    <a:pt x="55376" y="28030"/>
                  </a:moveTo>
                  <a:cubicBezTo>
                    <a:pt x="55376" y="12893"/>
                    <a:pt x="43105" y="621"/>
                    <a:pt x="27968" y="621"/>
                  </a:cubicBezTo>
                  <a:cubicBezTo>
                    <a:pt x="12831" y="621"/>
                    <a:pt x="559" y="12893"/>
                    <a:pt x="559" y="28030"/>
                  </a:cubicBezTo>
                  <a:cubicBezTo>
                    <a:pt x="559" y="43167"/>
                    <a:pt x="12831" y="55438"/>
                    <a:pt x="27968" y="55438"/>
                  </a:cubicBezTo>
                  <a:cubicBezTo>
                    <a:pt x="43105" y="55438"/>
                    <a:pt x="55376" y="43167"/>
                    <a:pt x="55376" y="28030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1" name="Freeform 260">
              <a:extLst>
                <a:ext uri="{FF2B5EF4-FFF2-40B4-BE49-F238E27FC236}">
                  <a16:creationId xmlns:a16="http://schemas.microsoft.com/office/drawing/2014/main" id="{467B06AB-7915-AF27-82C0-0C5F9FEF6613}"/>
                </a:ext>
              </a:extLst>
            </p:cNvPr>
            <p:cNvSpPr/>
            <p:nvPr/>
          </p:nvSpPr>
          <p:spPr>
            <a:xfrm flipV="1">
              <a:off x="3114316" y="411685"/>
              <a:ext cx="129733" cy="685"/>
            </a:xfrm>
            <a:custGeom>
              <a:avLst/>
              <a:gdLst>
                <a:gd name="connsiteX0" fmla="*/ 130293 w 129733"/>
                <a:gd name="connsiteY0" fmla="*/ 341 h 685"/>
                <a:gd name="connsiteX1" fmla="*/ 559 w 129733"/>
                <a:gd name="connsiteY1" fmla="*/ 341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733" h="685">
                  <a:moveTo>
                    <a:pt x="130293" y="341"/>
                  </a:moveTo>
                  <a:lnTo>
                    <a:pt x="559" y="341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7" name="Freeform 266">
              <a:extLst>
                <a:ext uri="{FF2B5EF4-FFF2-40B4-BE49-F238E27FC236}">
                  <a16:creationId xmlns:a16="http://schemas.microsoft.com/office/drawing/2014/main" id="{1A87B8FC-11D8-CA53-9149-DA0F13EA1787}"/>
                </a:ext>
              </a:extLst>
            </p:cNvPr>
            <p:cNvSpPr/>
            <p:nvPr/>
          </p:nvSpPr>
          <p:spPr>
            <a:xfrm flipV="1">
              <a:off x="3244050" y="274643"/>
              <a:ext cx="54816" cy="54816"/>
            </a:xfrm>
            <a:custGeom>
              <a:avLst/>
              <a:gdLst>
                <a:gd name="connsiteX0" fmla="*/ 55470 w 54816"/>
                <a:gd name="connsiteY0" fmla="*/ 27590 h 54816"/>
                <a:gd name="connsiteX1" fmla="*/ 28061 w 54816"/>
                <a:gd name="connsiteY1" fmla="*/ 54998 h 54816"/>
                <a:gd name="connsiteX2" fmla="*/ 653 w 54816"/>
                <a:gd name="connsiteY2" fmla="*/ 27590 h 54816"/>
                <a:gd name="connsiteX3" fmla="*/ 28061 w 54816"/>
                <a:gd name="connsiteY3" fmla="*/ 181 h 54816"/>
                <a:gd name="connsiteX4" fmla="*/ 55470 w 54816"/>
                <a:gd name="connsiteY4" fmla="*/ 27590 h 54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816" h="54816">
                  <a:moveTo>
                    <a:pt x="55470" y="27590"/>
                  </a:moveTo>
                  <a:cubicBezTo>
                    <a:pt x="55470" y="42727"/>
                    <a:pt x="43198" y="54998"/>
                    <a:pt x="28061" y="54998"/>
                  </a:cubicBezTo>
                  <a:cubicBezTo>
                    <a:pt x="12924" y="54998"/>
                    <a:pt x="653" y="42727"/>
                    <a:pt x="653" y="27590"/>
                  </a:cubicBezTo>
                  <a:cubicBezTo>
                    <a:pt x="653" y="12453"/>
                    <a:pt x="12924" y="181"/>
                    <a:pt x="28061" y="181"/>
                  </a:cubicBezTo>
                  <a:cubicBezTo>
                    <a:pt x="43198" y="181"/>
                    <a:pt x="55470" y="12453"/>
                    <a:pt x="55470" y="27590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8" name="Freeform 267">
              <a:extLst>
                <a:ext uri="{FF2B5EF4-FFF2-40B4-BE49-F238E27FC236}">
                  <a16:creationId xmlns:a16="http://schemas.microsoft.com/office/drawing/2014/main" id="{87578654-4DA0-85CB-310E-B70C9BAD3E06}"/>
                </a:ext>
              </a:extLst>
            </p:cNvPr>
            <p:cNvSpPr/>
            <p:nvPr/>
          </p:nvSpPr>
          <p:spPr>
            <a:xfrm flipV="1">
              <a:off x="3114316" y="603545"/>
              <a:ext cx="65780" cy="685"/>
            </a:xfrm>
            <a:custGeom>
              <a:avLst/>
              <a:gdLst>
                <a:gd name="connsiteX0" fmla="*/ 405 w 65780"/>
                <a:gd name="connsiteY0" fmla="*/ 621 h 685"/>
                <a:gd name="connsiteX1" fmla="*/ 66186 w 65780"/>
                <a:gd name="connsiteY1" fmla="*/ 621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780" h="685">
                  <a:moveTo>
                    <a:pt x="405" y="621"/>
                  </a:moveTo>
                  <a:lnTo>
                    <a:pt x="66186" y="621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9" name="Freeform 268">
              <a:extLst>
                <a:ext uri="{FF2B5EF4-FFF2-40B4-BE49-F238E27FC236}">
                  <a16:creationId xmlns:a16="http://schemas.microsoft.com/office/drawing/2014/main" id="{1D897D05-F022-C2A1-FBC0-53C4621D3BAA}"/>
                </a:ext>
              </a:extLst>
            </p:cNvPr>
            <p:cNvSpPr/>
            <p:nvPr/>
          </p:nvSpPr>
          <p:spPr>
            <a:xfrm flipV="1">
              <a:off x="3180097" y="192417"/>
              <a:ext cx="54816" cy="54816"/>
            </a:xfrm>
            <a:custGeom>
              <a:avLst/>
              <a:gdLst>
                <a:gd name="connsiteX0" fmla="*/ 55376 w 54816"/>
                <a:gd name="connsiteY0" fmla="*/ 27470 h 54816"/>
                <a:gd name="connsiteX1" fmla="*/ 27968 w 54816"/>
                <a:gd name="connsiteY1" fmla="*/ 54878 h 54816"/>
                <a:gd name="connsiteX2" fmla="*/ 559 w 54816"/>
                <a:gd name="connsiteY2" fmla="*/ 27470 h 54816"/>
                <a:gd name="connsiteX3" fmla="*/ 27968 w 54816"/>
                <a:gd name="connsiteY3" fmla="*/ 61 h 54816"/>
                <a:gd name="connsiteX4" fmla="*/ 55376 w 54816"/>
                <a:gd name="connsiteY4" fmla="*/ 27470 h 54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816" h="54816">
                  <a:moveTo>
                    <a:pt x="55376" y="27470"/>
                  </a:moveTo>
                  <a:cubicBezTo>
                    <a:pt x="55376" y="42607"/>
                    <a:pt x="43105" y="54878"/>
                    <a:pt x="27968" y="54878"/>
                  </a:cubicBezTo>
                  <a:cubicBezTo>
                    <a:pt x="12831" y="54878"/>
                    <a:pt x="559" y="42607"/>
                    <a:pt x="559" y="27470"/>
                  </a:cubicBezTo>
                  <a:cubicBezTo>
                    <a:pt x="559" y="12333"/>
                    <a:pt x="12831" y="61"/>
                    <a:pt x="27968" y="61"/>
                  </a:cubicBezTo>
                  <a:cubicBezTo>
                    <a:pt x="43105" y="61"/>
                    <a:pt x="55376" y="12333"/>
                    <a:pt x="55376" y="27470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0" name="Freeform 269">
              <a:extLst>
                <a:ext uri="{FF2B5EF4-FFF2-40B4-BE49-F238E27FC236}">
                  <a16:creationId xmlns:a16="http://schemas.microsoft.com/office/drawing/2014/main" id="{5D4BCA1A-59EE-7D92-DE96-3EF5BF99AD87}"/>
                </a:ext>
              </a:extLst>
            </p:cNvPr>
            <p:cNvSpPr/>
            <p:nvPr/>
          </p:nvSpPr>
          <p:spPr>
            <a:xfrm flipV="1">
              <a:off x="3114316" y="219826"/>
              <a:ext cx="65780" cy="685"/>
            </a:xfrm>
            <a:custGeom>
              <a:avLst/>
              <a:gdLst>
                <a:gd name="connsiteX0" fmla="*/ 405 w 65780"/>
                <a:gd name="connsiteY0" fmla="*/ 61 h 685"/>
                <a:gd name="connsiteX1" fmla="*/ 66186 w 65780"/>
                <a:gd name="connsiteY1" fmla="*/ 61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780" h="685">
                  <a:moveTo>
                    <a:pt x="405" y="61"/>
                  </a:moveTo>
                  <a:lnTo>
                    <a:pt x="66186" y="61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3" name="Freeform 272">
              <a:extLst>
                <a:ext uri="{FF2B5EF4-FFF2-40B4-BE49-F238E27FC236}">
                  <a16:creationId xmlns:a16="http://schemas.microsoft.com/office/drawing/2014/main" id="{C92FD87F-AA76-2BC5-02AE-7392E253E394}"/>
                </a:ext>
              </a:extLst>
            </p:cNvPr>
            <p:cNvSpPr/>
            <p:nvPr/>
          </p:nvSpPr>
          <p:spPr>
            <a:xfrm flipV="1">
              <a:off x="3114316" y="319518"/>
              <a:ext cx="136181" cy="28214"/>
            </a:xfrm>
            <a:custGeom>
              <a:avLst/>
              <a:gdLst>
                <a:gd name="connsiteX0" fmla="*/ 418 w 136181"/>
                <a:gd name="connsiteY0" fmla="*/ 212 h 28214"/>
                <a:gd name="connsiteX1" fmla="*/ 102743 w 136181"/>
                <a:gd name="connsiteY1" fmla="*/ 212 h 28214"/>
                <a:gd name="connsiteX2" fmla="*/ 136600 w 136181"/>
                <a:gd name="connsiteY2" fmla="*/ 28426 h 2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6181" h="28214">
                  <a:moveTo>
                    <a:pt x="418" y="212"/>
                  </a:moveTo>
                  <a:lnTo>
                    <a:pt x="102743" y="212"/>
                  </a:lnTo>
                  <a:lnTo>
                    <a:pt x="136600" y="28426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4" name="Freeform 273">
              <a:extLst>
                <a:ext uri="{FF2B5EF4-FFF2-40B4-BE49-F238E27FC236}">
                  <a16:creationId xmlns:a16="http://schemas.microsoft.com/office/drawing/2014/main" id="{3C0F3578-0338-A502-DB36-CE52514043B1}"/>
                </a:ext>
              </a:extLst>
            </p:cNvPr>
            <p:cNvSpPr/>
            <p:nvPr/>
          </p:nvSpPr>
          <p:spPr>
            <a:xfrm flipV="1">
              <a:off x="3114316" y="475638"/>
              <a:ext cx="136181" cy="28214"/>
            </a:xfrm>
            <a:custGeom>
              <a:avLst/>
              <a:gdLst>
                <a:gd name="connsiteX0" fmla="*/ 136749 w 136181"/>
                <a:gd name="connsiteY0" fmla="*/ 440 h 28214"/>
                <a:gd name="connsiteX1" fmla="*/ 102892 w 136181"/>
                <a:gd name="connsiteY1" fmla="*/ 28654 h 28214"/>
                <a:gd name="connsiteX2" fmla="*/ 567 w 136181"/>
                <a:gd name="connsiteY2" fmla="*/ 28654 h 2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6181" h="28214">
                  <a:moveTo>
                    <a:pt x="136749" y="440"/>
                  </a:moveTo>
                  <a:lnTo>
                    <a:pt x="102892" y="28654"/>
                  </a:lnTo>
                  <a:lnTo>
                    <a:pt x="567" y="28654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292" name="Graphic 275">
            <a:extLst>
              <a:ext uri="{FF2B5EF4-FFF2-40B4-BE49-F238E27FC236}">
                <a16:creationId xmlns:a16="http://schemas.microsoft.com/office/drawing/2014/main" id="{28305710-EBB1-69EE-8F6C-58095112867F}"/>
              </a:ext>
            </a:extLst>
          </p:cNvPr>
          <p:cNvGrpSpPr/>
          <p:nvPr/>
        </p:nvGrpSpPr>
        <p:grpSpPr>
          <a:xfrm>
            <a:off x="1385194" y="2521528"/>
            <a:ext cx="440363" cy="440603"/>
            <a:chOff x="2858504" y="191263"/>
            <a:chExt cx="440363" cy="440603"/>
          </a:xfrm>
          <a:noFill/>
        </p:grpSpPr>
        <p:sp>
          <p:nvSpPr>
            <p:cNvPr id="293" name="Freeform 292">
              <a:extLst>
                <a:ext uri="{FF2B5EF4-FFF2-40B4-BE49-F238E27FC236}">
                  <a16:creationId xmlns:a16="http://schemas.microsoft.com/office/drawing/2014/main" id="{7786A7E3-646D-2289-3FA7-5C4B24099088}"/>
                </a:ext>
              </a:extLst>
            </p:cNvPr>
            <p:cNvSpPr/>
            <p:nvPr/>
          </p:nvSpPr>
          <p:spPr>
            <a:xfrm flipV="1">
              <a:off x="3013243" y="312181"/>
              <a:ext cx="150024" cy="150024"/>
            </a:xfrm>
            <a:custGeom>
              <a:avLst/>
              <a:gdLst>
                <a:gd name="connsiteX0" fmla="*/ 150462 w 150024"/>
                <a:gd name="connsiteY0" fmla="*/ 75318 h 150024"/>
                <a:gd name="connsiteX1" fmla="*/ 75451 w 150024"/>
                <a:gd name="connsiteY1" fmla="*/ 306 h 150024"/>
                <a:gd name="connsiteX2" fmla="*/ 437 w 150024"/>
                <a:gd name="connsiteY2" fmla="*/ 75318 h 150024"/>
                <a:gd name="connsiteX3" fmla="*/ 75451 w 150024"/>
                <a:gd name="connsiteY3" fmla="*/ 150330 h 150024"/>
                <a:gd name="connsiteX4" fmla="*/ 150462 w 150024"/>
                <a:gd name="connsiteY4" fmla="*/ 75318 h 150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024" h="150024">
                  <a:moveTo>
                    <a:pt x="150462" y="75318"/>
                  </a:moveTo>
                  <a:cubicBezTo>
                    <a:pt x="150462" y="33889"/>
                    <a:pt x="116878" y="306"/>
                    <a:pt x="75451" y="306"/>
                  </a:cubicBezTo>
                  <a:cubicBezTo>
                    <a:pt x="34022" y="306"/>
                    <a:pt x="437" y="33889"/>
                    <a:pt x="437" y="75318"/>
                  </a:cubicBezTo>
                  <a:cubicBezTo>
                    <a:pt x="437" y="116747"/>
                    <a:pt x="34022" y="150330"/>
                    <a:pt x="75451" y="150330"/>
                  </a:cubicBezTo>
                  <a:cubicBezTo>
                    <a:pt x="116878" y="150330"/>
                    <a:pt x="150462" y="116747"/>
                    <a:pt x="150462" y="75318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4" name="Freeform 293">
              <a:extLst>
                <a:ext uri="{FF2B5EF4-FFF2-40B4-BE49-F238E27FC236}">
                  <a16:creationId xmlns:a16="http://schemas.microsoft.com/office/drawing/2014/main" id="{E05B70BC-0CE6-475D-505B-E770C52CD1F5}"/>
                </a:ext>
              </a:extLst>
            </p:cNvPr>
            <p:cNvSpPr/>
            <p:nvPr/>
          </p:nvSpPr>
          <p:spPr>
            <a:xfrm flipV="1">
              <a:off x="2858576" y="191263"/>
              <a:ext cx="64750" cy="64751"/>
            </a:xfrm>
            <a:custGeom>
              <a:avLst/>
              <a:gdLst>
                <a:gd name="connsiteX0" fmla="*/ 64854 w 64750"/>
                <a:gd name="connsiteY0" fmla="*/ 32443 h 64751"/>
                <a:gd name="connsiteX1" fmla="*/ 32478 w 64750"/>
                <a:gd name="connsiteY1" fmla="*/ 67 h 64751"/>
                <a:gd name="connsiteX2" fmla="*/ 103 w 64750"/>
                <a:gd name="connsiteY2" fmla="*/ 32443 h 64751"/>
                <a:gd name="connsiteX3" fmla="*/ 32478 w 64750"/>
                <a:gd name="connsiteY3" fmla="*/ 64819 h 64751"/>
                <a:gd name="connsiteX4" fmla="*/ 64854 w 64750"/>
                <a:gd name="connsiteY4" fmla="*/ 32443 h 64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50" h="64751">
                  <a:moveTo>
                    <a:pt x="64854" y="32443"/>
                  </a:moveTo>
                  <a:cubicBezTo>
                    <a:pt x="64854" y="14563"/>
                    <a:pt x="50358" y="67"/>
                    <a:pt x="32478" y="67"/>
                  </a:cubicBezTo>
                  <a:cubicBezTo>
                    <a:pt x="14598" y="67"/>
                    <a:pt x="103" y="14563"/>
                    <a:pt x="103" y="32443"/>
                  </a:cubicBezTo>
                  <a:cubicBezTo>
                    <a:pt x="103" y="50323"/>
                    <a:pt x="14598" y="64819"/>
                    <a:pt x="32478" y="64819"/>
                  </a:cubicBezTo>
                  <a:cubicBezTo>
                    <a:pt x="50358" y="64819"/>
                    <a:pt x="64854" y="50323"/>
                    <a:pt x="64854" y="32443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5" name="Freeform 294">
              <a:extLst>
                <a:ext uri="{FF2B5EF4-FFF2-40B4-BE49-F238E27FC236}">
                  <a16:creationId xmlns:a16="http://schemas.microsoft.com/office/drawing/2014/main" id="{174B690F-46D5-CF33-4CAB-3E056E89F0BC}"/>
                </a:ext>
              </a:extLst>
            </p:cNvPr>
            <p:cNvSpPr/>
            <p:nvPr/>
          </p:nvSpPr>
          <p:spPr>
            <a:xfrm flipV="1">
              <a:off x="2858504" y="441593"/>
              <a:ext cx="82068" cy="82068"/>
            </a:xfrm>
            <a:custGeom>
              <a:avLst/>
              <a:gdLst>
                <a:gd name="connsiteX0" fmla="*/ 82193 w 82068"/>
                <a:gd name="connsiteY0" fmla="*/ 41479 h 82068"/>
                <a:gd name="connsiteX1" fmla="*/ 41159 w 82068"/>
                <a:gd name="connsiteY1" fmla="*/ 445 h 82068"/>
                <a:gd name="connsiteX2" fmla="*/ 125 w 82068"/>
                <a:gd name="connsiteY2" fmla="*/ 41479 h 82068"/>
                <a:gd name="connsiteX3" fmla="*/ 41159 w 82068"/>
                <a:gd name="connsiteY3" fmla="*/ 82513 h 82068"/>
                <a:gd name="connsiteX4" fmla="*/ 82193 w 82068"/>
                <a:gd name="connsiteY4" fmla="*/ 41479 h 82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068" h="82068">
                  <a:moveTo>
                    <a:pt x="82193" y="41479"/>
                  </a:moveTo>
                  <a:cubicBezTo>
                    <a:pt x="82193" y="18817"/>
                    <a:pt x="63821" y="445"/>
                    <a:pt x="41159" y="445"/>
                  </a:cubicBezTo>
                  <a:cubicBezTo>
                    <a:pt x="18497" y="445"/>
                    <a:pt x="125" y="18817"/>
                    <a:pt x="125" y="41479"/>
                  </a:cubicBezTo>
                  <a:cubicBezTo>
                    <a:pt x="125" y="64142"/>
                    <a:pt x="18497" y="82513"/>
                    <a:pt x="41159" y="82513"/>
                  </a:cubicBezTo>
                  <a:cubicBezTo>
                    <a:pt x="63821" y="82513"/>
                    <a:pt x="82193" y="64142"/>
                    <a:pt x="82193" y="41479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6" name="Freeform 295">
              <a:extLst>
                <a:ext uri="{FF2B5EF4-FFF2-40B4-BE49-F238E27FC236}">
                  <a16:creationId xmlns:a16="http://schemas.microsoft.com/office/drawing/2014/main" id="{FC79A863-59C7-2E81-316D-579CF22662B4}"/>
                </a:ext>
              </a:extLst>
            </p:cNvPr>
            <p:cNvSpPr/>
            <p:nvPr/>
          </p:nvSpPr>
          <p:spPr>
            <a:xfrm flipV="1">
              <a:off x="3218264" y="191504"/>
              <a:ext cx="80602" cy="80601"/>
            </a:xfrm>
            <a:custGeom>
              <a:avLst/>
              <a:gdLst>
                <a:gd name="connsiteX0" fmla="*/ 81251 w 80602"/>
                <a:gd name="connsiteY0" fmla="*/ 40379 h 80601"/>
                <a:gd name="connsiteX1" fmla="*/ 40949 w 80602"/>
                <a:gd name="connsiteY1" fmla="*/ 79 h 80601"/>
                <a:gd name="connsiteX2" fmla="*/ 648 w 80602"/>
                <a:gd name="connsiteY2" fmla="*/ 40379 h 80601"/>
                <a:gd name="connsiteX3" fmla="*/ 40949 w 80602"/>
                <a:gd name="connsiteY3" fmla="*/ 80681 h 80601"/>
                <a:gd name="connsiteX4" fmla="*/ 81251 w 80602"/>
                <a:gd name="connsiteY4" fmla="*/ 40379 h 8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602" h="80601">
                  <a:moveTo>
                    <a:pt x="81251" y="40379"/>
                  </a:moveTo>
                  <a:cubicBezTo>
                    <a:pt x="81251" y="18122"/>
                    <a:pt x="63207" y="79"/>
                    <a:pt x="40949" y="79"/>
                  </a:cubicBezTo>
                  <a:cubicBezTo>
                    <a:pt x="18691" y="79"/>
                    <a:pt x="648" y="18122"/>
                    <a:pt x="648" y="40379"/>
                  </a:cubicBezTo>
                  <a:cubicBezTo>
                    <a:pt x="648" y="62637"/>
                    <a:pt x="18691" y="80681"/>
                    <a:pt x="40949" y="80681"/>
                  </a:cubicBezTo>
                  <a:cubicBezTo>
                    <a:pt x="63207" y="80681"/>
                    <a:pt x="81251" y="62637"/>
                    <a:pt x="81251" y="40379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7" name="Freeform 296">
              <a:extLst>
                <a:ext uri="{FF2B5EF4-FFF2-40B4-BE49-F238E27FC236}">
                  <a16:creationId xmlns:a16="http://schemas.microsoft.com/office/drawing/2014/main" id="{D4568723-BE6E-20CF-3FF0-82C6E1B52279}"/>
                </a:ext>
              </a:extLst>
            </p:cNvPr>
            <p:cNvSpPr/>
            <p:nvPr/>
          </p:nvSpPr>
          <p:spPr>
            <a:xfrm flipV="1">
              <a:off x="3242756" y="442508"/>
              <a:ext cx="56111" cy="56111"/>
            </a:xfrm>
            <a:custGeom>
              <a:avLst/>
              <a:gdLst>
                <a:gd name="connsiteX0" fmla="*/ 56764 w 56111"/>
                <a:gd name="connsiteY0" fmla="*/ 28483 h 56111"/>
                <a:gd name="connsiteX1" fmla="*/ 28708 w 56111"/>
                <a:gd name="connsiteY1" fmla="*/ 427 h 56111"/>
                <a:gd name="connsiteX2" fmla="*/ 652 w 56111"/>
                <a:gd name="connsiteY2" fmla="*/ 28483 h 56111"/>
                <a:gd name="connsiteX3" fmla="*/ 28708 w 56111"/>
                <a:gd name="connsiteY3" fmla="*/ 56539 h 56111"/>
                <a:gd name="connsiteX4" fmla="*/ 56764 w 56111"/>
                <a:gd name="connsiteY4" fmla="*/ 28483 h 56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111" h="56111">
                  <a:moveTo>
                    <a:pt x="56764" y="28483"/>
                  </a:moveTo>
                  <a:cubicBezTo>
                    <a:pt x="56764" y="12989"/>
                    <a:pt x="44203" y="427"/>
                    <a:pt x="28708" y="427"/>
                  </a:cubicBezTo>
                  <a:cubicBezTo>
                    <a:pt x="13214" y="427"/>
                    <a:pt x="652" y="12989"/>
                    <a:pt x="652" y="28483"/>
                  </a:cubicBezTo>
                  <a:cubicBezTo>
                    <a:pt x="652" y="43978"/>
                    <a:pt x="13214" y="56539"/>
                    <a:pt x="28708" y="56539"/>
                  </a:cubicBezTo>
                  <a:cubicBezTo>
                    <a:pt x="44203" y="56539"/>
                    <a:pt x="56764" y="43978"/>
                    <a:pt x="56764" y="28483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1" name="Freeform 300">
              <a:extLst>
                <a:ext uri="{FF2B5EF4-FFF2-40B4-BE49-F238E27FC236}">
                  <a16:creationId xmlns:a16="http://schemas.microsoft.com/office/drawing/2014/main" id="{2FC189DA-E247-5002-260D-0071DF78F343}"/>
                </a:ext>
              </a:extLst>
            </p:cNvPr>
            <p:cNvSpPr/>
            <p:nvPr/>
          </p:nvSpPr>
          <p:spPr>
            <a:xfrm flipV="1">
              <a:off x="3038004" y="564699"/>
              <a:ext cx="67168" cy="67167"/>
            </a:xfrm>
            <a:custGeom>
              <a:avLst/>
              <a:gdLst>
                <a:gd name="connsiteX0" fmla="*/ 67536 w 67168"/>
                <a:gd name="connsiteY0" fmla="*/ 34197 h 67167"/>
                <a:gd name="connsiteX1" fmla="*/ 33951 w 67168"/>
                <a:gd name="connsiteY1" fmla="*/ 614 h 67167"/>
                <a:gd name="connsiteX2" fmla="*/ 368 w 67168"/>
                <a:gd name="connsiteY2" fmla="*/ 34197 h 67167"/>
                <a:gd name="connsiteX3" fmla="*/ 33951 w 67168"/>
                <a:gd name="connsiteY3" fmla="*/ 67781 h 67167"/>
                <a:gd name="connsiteX4" fmla="*/ 67536 w 67168"/>
                <a:gd name="connsiteY4" fmla="*/ 34197 h 6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168" h="67167">
                  <a:moveTo>
                    <a:pt x="67536" y="34197"/>
                  </a:moveTo>
                  <a:cubicBezTo>
                    <a:pt x="67536" y="15649"/>
                    <a:pt x="52500" y="614"/>
                    <a:pt x="33951" y="614"/>
                  </a:cubicBezTo>
                  <a:cubicBezTo>
                    <a:pt x="15404" y="614"/>
                    <a:pt x="368" y="15649"/>
                    <a:pt x="368" y="34197"/>
                  </a:cubicBezTo>
                  <a:cubicBezTo>
                    <a:pt x="368" y="52746"/>
                    <a:pt x="15404" y="67781"/>
                    <a:pt x="33951" y="67781"/>
                  </a:cubicBezTo>
                  <a:cubicBezTo>
                    <a:pt x="52500" y="67781"/>
                    <a:pt x="67536" y="52746"/>
                    <a:pt x="67536" y="34197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2" name="Freeform 301">
              <a:extLst>
                <a:ext uri="{FF2B5EF4-FFF2-40B4-BE49-F238E27FC236}">
                  <a16:creationId xmlns:a16="http://schemas.microsoft.com/office/drawing/2014/main" id="{A94D3255-FCEE-AD81-FACD-D415C2DD645F}"/>
                </a:ext>
              </a:extLst>
            </p:cNvPr>
            <p:cNvSpPr/>
            <p:nvPr/>
          </p:nvSpPr>
          <p:spPr>
            <a:xfrm flipV="1">
              <a:off x="3157933" y="414944"/>
              <a:ext cx="88414" cy="41934"/>
            </a:xfrm>
            <a:custGeom>
              <a:avLst/>
              <a:gdLst>
                <a:gd name="connsiteX0" fmla="*/ 473 w 88414"/>
                <a:gd name="connsiteY0" fmla="*/ 42335 h 41934"/>
                <a:gd name="connsiteX1" fmla="*/ 88887 w 88414"/>
                <a:gd name="connsiteY1" fmla="*/ 400 h 41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414" h="41934">
                  <a:moveTo>
                    <a:pt x="473" y="42335"/>
                  </a:moveTo>
                  <a:lnTo>
                    <a:pt x="88887" y="40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3" name="Freeform 302">
              <a:extLst>
                <a:ext uri="{FF2B5EF4-FFF2-40B4-BE49-F238E27FC236}">
                  <a16:creationId xmlns:a16="http://schemas.microsoft.com/office/drawing/2014/main" id="{B3C61BF4-31D7-948E-3CED-5FE472801508}"/>
                </a:ext>
              </a:extLst>
            </p:cNvPr>
            <p:cNvSpPr/>
            <p:nvPr/>
          </p:nvSpPr>
          <p:spPr>
            <a:xfrm flipV="1">
              <a:off x="3073415" y="461795"/>
              <a:ext cx="4336" cy="102905"/>
            </a:xfrm>
            <a:custGeom>
              <a:avLst/>
              <a:gdLst>
                <a:gd name="connsiteX0" fmla="*/ 334 w 4336"/>
                <a:gd name="connsiteY0" fmla="*/ 433 h 102905"/>
                <a:gd name="connsiteX1" fmla="*/ 4671 w 4336"/>
                <a:gd name="connsiteY1" fmla="*/ 103338 h 102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36" h="102905">
                  <a:moveTo>
                    <a:pt x="334" y="433"/>
                  </a:moveTo>
                  <a:lnTo>
                    <a:pt x="4671" y="103338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4" name="Freeform 303">
              <a:extLst>
                <a:ext uri="{FF2B5EF4-FFF2-40B4-BE49-F238E27FC236}">
                  <a16:creationId xmlns:a16="http://schemas.microsoft.com/office/drawing/2014/main" id="{29F48863-C95B-E0ED-170F-F211F4DD053A}"/>
                </a:ext>
              </a:extLst>
            </p:cNvPr>
            <p:cNvSpPr/>
            <p:nvPr/>
          </p:nvSpPr>
          <p:spPr>
            <a:xfrm flipV="1">
              <a:off x="3141324" y="259118"/>
              <a:ext cx="87596" cy="75010"/>
            </a:xfrm>
            <a:custGeom>
              <a:avLst/>
              <a:gdLst>
                <a:gd name="connsiteX0" fmla="*/ 449 w 87596"/>
                <a:gd name="connsiteY0" fmla="*/ 132 h 75010"/>
                <a:gd name="connsiteX1" fmla="*/ 88045 w 87596"/>
                <a:gd name="connsiteY1" fmla="*/ 75143 h 75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596" h="75010">
                  <a:moveTo>
                    <a:pt x="449" y="132"/>
                  </a:moveTo>
                  <a:lnTo>
                    <a:pt x="88045" y="75143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5" name="Freeform 304">
              <a:extLst>
                <a:ext uri="{FF2B5EF4-FFF2-40B4-BE49-F238E27FC236}">
                  <a16:creationId xmlns:a16="http://schemas.microsoft.com/office/drawing/2014/main" id="{6B309D1A-F1AA-5303-1C84-A32714C10DA1}"/>
                </a:ext>
              </a:extLst>
            </p:cNvPr>
            <p:cNvSpPr/>
            <p:nvPr/>
          </p:nvSpPr>
          <p:spPr>
            <a:xfrm flipV="1">
              <a:off x="2916755" y="243081"/>
              <a:ext cx="113754" cy="96177"/>
            </a:xfrm>
            <a:custGeom>
              <a:avLst/>
              <a:gdLst>
                <a:gd name="connsiteX0" fmla="*/ 126 w 113754"/>
                <a:gd name="connsiteY0" fmla="*/ 96395 h 96177"/>
                <a:gd name="connsiteX1" fmla="*/ 113880 w 113754"/>
                <a:gd name="connsiteY1" fmla="*/ 218 h 96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3754" h="96177">
                  <a:moveTo>
                    <a:pt x="126" y="96395"/>
                  </a:moveTo>
                  <a:lnTo>
                    <a:pt x="113880" y="218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6" name="Freeform 305">
              <a:extLst>
                <a:ext uri="{FF2B5EF4-FFF2-40B4-BE49-F238E27FC236}">
                  <a16:creationId xmlns:a16="http://schemas.microsoft.com/office/drawing/2014/main" id="{4C68A779-3A47-7321-31C6-DA7458B11F08}"/>
                </a:ext>
              </a:extLst>
            </p:cNvPr>
            <p:cNvSpPr/>
            <p:nvPr/>
          </p:nvSpPr>
          <p:spPr>
            <a:xfrm flipV="1">
              <a:off x="2936528" y="416835"/>
              <a:ext cx="82782" cy="47439"/>
            </a:xfrm>
            <a:custGeom>
              <a:avLst/>
              <a:gdLst>
                <a:gd name="connsiteX0" fmla="*/ 149 w 82782"/>
                <a:gd name="connsiteY0" fmla="*/ 358 h 47439"/>
                <a:gd name="connsiteX1" fmla="*/ 82932 w 82782"/>
                <a:gd name="connsiteY1" fmla="*/ 47797 h 47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782" h="47439">
                  <a:moveTo>
                    <a:pt x="149" y="358"/>
                  </a:moveTo>
                  <a:lnTo>
                    <a:pt x="82932" y="47797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11" name="Graphic 309">
            <a:extLst>
              <a:ext uri="{FF2B5EF4-FFF2-40B4-BE49-F238E27FC236}">
                <a16:creationId xmlns:a16="http://schemas.microsoft.com/office/drawing/2014/main" id="{2587288D-90B9-7836-9D86-A0AEA936AB1D}"/>
              </a:ext>
            </a:extLst>
          </p:cNvPr>
          <p:cNvSpPr/>
          <p:nvPr/>
        </p:nvSpPr>
        <p:spPr>
          <a:xfrm flipV="1">
            <a:off x="2771996" y="2526217"/>
            <a:ext cx="431225" cy="431225"/>
          </a:xfrm>
          <a:custGeom>
            <a:avLst/>
            <a:gdLst>
              <a:gd name="connsiteX0" fmla="*/ 269917 w 431225"/>
              <a:gd name="connsiteY0" fmla="*/ 377841 h 431225"/>
              <a:gd name="connsiteX1" fmla="*/ 377723 w 431225"/>
              <a:gd name="connsiteY1" fmla="*/ 270035 h 431225"/>
              <a:gd name="connsiteX2" fmla="*/ 311115 w 431225"/>
              <a:gd name="connsiteY2" fmla="*/ 419039 h 431225"/>
              <a:gd name="connsiteX3" fmla="*/ 108207 w 431225"/>
              <a:gd name="connsiteY3" fmla="*/ 216131 h 431225"/>
              <a:gd name="connsiteX4" fmla="*/ 108207 w 431225"/>
              <a:gd name="connsiteY4" fmla="*/ 107266 h 431225"/>
              <a:gd name="connsiteX5" fmla="*/ 215260 w 431225"/>
              <a:gd name="connsiteY5" fmla="*/ 107571 h 431225"/>
              <a:gd name="connsiteX6" fmla="*/ 418921 w 431225"/>
              <a:gd name="connsiteY6" fmla="*/ 311233 h 431225"/>
              <a:gd name="connsiteX7" fmla="*/ 431626 w 431225"/>
              <a:gd name="connsiteY7" fmla="*/ 341906 h 431225"/>
              <a:gd name="connsiteX8" fmla="*/ 418921 w 431225"/>
              <a:gd name="connsiteY8" fmla="*/ 372579 h 431225"/>
              <a:gd name="connsiteX9" fmla="*/ 372461 w 431225"/>
              <a:gd name="connsiteY9" fmla="*/ 419039 h 431225"/>
              <a:gd name="connsiteX10" fmla="*/ 341788 w 431225"/>
              <a:gd name="connsiteY10" fmla="*/ 431744 h 431225"/>
              <a:gd name="connsiteX11" fmla="*/ 311115 w 431225"/>
              <a:gd name="connsiteY11" fmla="*/ 419039 h 431225"/>
              <a:gd name="connsiteX12" fmla="*/ 431626 w 431225"/>
              <a:gd name="connsiteY12" fmla="*/ 216131 h 431225"/>
              <a:gd name="connsiteX13" fmla="*/ 431626 w 431225"/>
              <a:gd name="connsiteY13" fmla="*/ 117801 h 431225"/>
              <a:gd name="connsiteX14" fmla="*/ 399515 w 431225"/>
              <a:gd name="connsiteY14" fmla="*/ 40279 h 431225"/>
              <a:gd name="connsiteX15" fmla="*/ 391866 w 431225"/>
              <a:gd name="connsiteY15" fmla="*/ 32629 h 431225"/>
              <a:gd name="connsiteX16" fmla="*/ 314344 w 431225"/>
              <a:gd name="connsiteY16" fmla="*/ 518 h 431225"/>
              <a:gd name="connsiteX17" fmla="*/ 117683 w 431225"/>
              <a:gd name="connsiteY17" fmla="*/ 518 h 431225"/>
              <a:gd name="connsiteX18" fmla="*/ 40161 w 431225"/>
              <a:gd name="connsiteY18" fmla="*/ 32629 h 431225"/>
              <a:gd name="connsiteX19" fmla="*/ 32511 w 431225"/>
              <a:gd name="connsiteY19" fmla="*/ 40279 h 431225"/>
              <a:gd name="connsiteX20" fmla="*/ 400 w 431225"/>
              <a:gd name="connsiteY20" fmla="*/ 117801 h 431225"/>
              <a:gd name="connsiteX21" fmla="*/ 400 w 431225"/>
              <a:gd name="connsiteY21" fmla="*/ 314462 h 431225"/>
              <a:gd name="connsiteX22" fmla="*/ 32511 w 431225"/>
              <a:gd name="connsiteY22" fmla="*/ 391984 h 431225"/>
              <a:gd name="connsiteX23" fmla="*/ 40161 w 431225"/>
              <a:gd name="connsiteY23" fmla="*/ 399633 h 431225"/>
              <a:gd name="connsiteX24" fmla="*/ 117683 w 431225"/>
              <a:gd name="connsiteY24" fmla="*/ 431744 h 431225"/>
              <a:gd name="connsiteX25" fmla="*/ 216013 w 431225"/>
              <a:gd name="connsiteY25" fmla="*/ 431744 h 431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31225" h="431225">
                <a:moveTo>
                  <a:pt x="269917" y="377841"/>
                </a:moveTo>
                <a:lnTo>
                  <a:pt x="377723" y="270035"/>
                </a:lnTo>
                <a:moveTo>
                  <a:pt x="311115" y="419039"/>
                </a:moveTo>
                <a:lnTo>
                  <a:pt x="108207" y="216131"/>
                </a:lnTo>
                <a:lnTo>
                  <a:pt x="108207" y="107266"/>
                </a:lnTo>
                <a:lnTo>
                  <a:pt x="215260" y="107571"/>
                </a:lnTo>
                <a:lnTo>
                  <a:pt x="418921" y="311233"/>
                </a:lnTo>
                <a:cubicBezTo>
                  <a:pt x="427056" y="319368"/>
                  <a:pt x="431626" y="330401"/>
                  <a:pt x="431626" y="341906"/>
                </a:cubicBezTo>
                <a:cubicBezTo>
                  <a:pt x="431626" y="353410"/>
                  <a:pt x="427056" y="364443"/>
                  <a:pt x="418921" y="372579"/>
                </a:cubicBezTo>
                <a:lnTo>
                  <a:pt x="372461" y="419039"/>
                </a:lnTo>
                <a:cubicBezTo>
                  <a:pt x="364326" y="427174"/>
                  <a:pt x="353292" y="431744"/>
                  <a:pt x="341788" y="431744"/>
                </a:cubicBezTo>
                <a:cubicBezTo>
                  <a:pt x="330283" y="431744"/>
                  <a:pt x="319250" y="427174"/>
                  <a:pt x="311115" y="419039"/>
                </a:cubicBezTo>
                <a:close/>
                <a:moveTo>
                  <a:pt x="431626" y="216131"/>
                </a:moveTo>
                <a:lnTo>
                  <a:pt x="431626" y="117801"/>
                </a:lnTo>
                <a:cubicBezTo>
                  <a:pt x="431626" y="88724"/>
                  <a:pt x="420075" y="60839"/>
                  <a:pt x="399515" y="40279"/>
                </a:cubicBezTo>
                <a:lnTo>
                  <a:pt x="391866" y="32629"/>
                </a:lnTo>
                <a:cubicBezTo>
                  <a:pt x="371307" y="12069"/>
                  <a:pt x="343420" y="518"/>
                  <a:pt x="314344" y="518"/>
                </a:cubicBezTo>
                <a:lnTo>
                  <a:pt x="117683" y="518"/>
                </a:lnTo>
                <a:cubicBezTo>
                  <a:pt x="88606" y="518"/>
                  <a:pt x="60721" y="12069"/>
                  <a:pt x="40161" y="32629"/>
                </a:cubicBezTo>
                <a:lnTo>
                  <a:pt x="32511" y="40279"/>
                </a:lnTo>
                <a:cubicBezTo>
                  <a:pt x="11951" y="60839"/>
                  <a:pt x="400" y="88724"/>
                  <a:pt x="400" y="117801"/>
                </a:cubicBezTo>
                <a:lnTo>
                  <a:pt x="400" y="314462"/>
                </a:lnTo>
                <a:cubicBezTo>
                  <a:pt x="400" y="343538"/>
                  <a:pt x="11951" y="371424"/>
                  <a:pt x="32511" y="391984"/>
                </a:cubicBezTo>
                <a:lnTo>
                  <a:pt x="40161" y="399633"/>
                </a:lnTo>
                <a:cubicBezTo>
                  <a:pt x="60721" y="420193"/>
                  <a:pt x="88606" y="431744"/>
                  <a:pt x="117683" y="431744"/>
                </a:cubicBezTo>
                <a:lnTo>
                  <a:pt x="216013" y="431744"/>
                </a:lnTo>
              </a:path>
            </a:pathLst>
          </a:custGeom>
          <a:noFill/>
          <a:ln w="19050" cap="rnd">
            <a:solidFill>
              <a:schemeClr val="tx1"/>
            </a:solidFill>
            <a:prstDash val="solid"/>
            <a:round/>
          </a:ln>
        </p:spPr>
        <p:txBody>
          <a:bodyPr rtlCol="0" anchor="ctr"/>
          <a:lstStyle/>
          <a:p>
            <a:endParaRPr lang="en-GB"/>
          </a:p>
        </p:txBody>
      </p:sp>
      <p:grpSp>
        <p:nvGrpSpPr>
          <p:cNvPr id="330" name="Group 329">
            <a:extLst>
              <a:ext uri="{FF2B5EF4-FFF2-40B4-BE49-F238E27FC236}">
                <a16:creationId xmlns:a16="http://schemas.microsoft.com/office/drawing/2014/main" id="{BA620170-E211-7198-AD55-82C6BCD97B92}"/>
              </a:ext>
            </a:extLst>
          </p:cNvPr>
          <p:cNvGrpSpPr>
            <a:grpSpLocks noChangeAspect="1"/>
          </p:cNvGrpSpPr>
          <p:nvPr/>
        </p:nvGrpSpPr>
        <p:grpSpPr>
          <a:xfrm>
            <a:off x="4826955" y="2507829"/>
            <a:ext cx="468000" cy="468000"/>
            <a:chOff x="3675881" y="-420368"/>
            <a:chExt cx="1683149" cy="1683149"/>
          </a:xfrm>
        </p:grpSpPr>
        <p:sp>
          <p:nvSpPr>
            <p:cNvPr id="331" name="Freeform 330">
              <a:extLst>
                <a:ext uri="{FF2B5EF4-FFF2-40B4-BE49-F238E27FC236}">
                  <a16:creationId xmlns:a16="http://schemas.microsoft.com/office/drawing/2014/main" id="{1A67374E-2313-B912-8335-E3E67D26FC49}"/>
                </a:ext>
              </a:extLst>
            </p:cNvPr>
            <p:cNvSpPr/>
            <p:nvPr/>
          </p:nvSpPr>
          <p:spPr>
            <a:xfrm>
              <a:off x="4232178" y="406942"/>
              <a:ext cx="3566" cy="285280"/>
            </a:xfrm>
            <a:custGeom>
              <a:avLst/>
              <a:gdLst>
                <a:gd name="connsiteX0" fmla="*/ 0 w 914"/>
                <a:gd name="connsiteY0" fmla="*/ 0 h 73125"/>
                <a:gd name="connsiteX1" fmla="*/ 0 w 914"/>
                <a:gd name="connsiteY1" fmla="*/ 73125 h 73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14" h="73125">
                  <a:moveTo>
                    <a:pt x="0" y="0"/>
                  </a:moveTo>
                  <a:lnTo>
                    <a:pt x="0" y="73125"/>
                  </a:lnTo>
                </a:path>
              </a:pathLst>
            </a:custGeom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2" name="Freeform 331">
              <a:extLst>
                <a:ext uri="{FF2B5EF4-FFF2-40B4-BE49-F238E27FC236}">
                  <a16:creationId xmlns:a16="http://schemas.microsoft.com/office/drawing/2014/main" id="{0E7C252A-5A45-0354-EF28-EFEB6EC4FEE0}"/>
                </a:ext>
              </a:extLst>
            </p:cNvPr>
            <p:cNvSpPr/>
            <p:nvPr/>
          </p:nvSpPr>
          <p:spPr>
            <a:xfrm>
              <a:off x="4089536" y="549583"/>
              <a:ext cx="285280" cy="3566"/>
            </a:xfrm>
            <a:custGeom>
              <a:avLst/>
              <a:gdLst>
                <a:gd name="connsiteX0" fmla="*/ 0 w 73125"/>
                <a:gd name="connsiteY0" fmla="*/ 0 h 914"/>
                <a:gd name="connsiteX1" fmla="*/ 73125 w 73125"/>
                <a:gd name="connsiteY1" fmla="*/ 0 h 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25" h="914">
                  <a:moveTo>
                    <a:pt x="0" y="0"/>
                  </a:moveTo>
                  <a:lnTo>
                    <a:pt x="73125" y="0"/>
                  </a:lnTo>
                </a:path>
              </a:pathLst>
            </a:custGeom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3" name="Freeform 332">
              <a:extLst>
                <a:ext uri="{FF2B5EF4-FFF2-40B4-BE49-F238E27FC236}">
                  <a16:creationId xmlns:a16="http://schemas.microsoft.com/office/drawing/2014/main" id="{0C5596CB-0BE0-BC92-9653-5F0CBB5000D1}"/>
                </a:ext>
              </a:extLst>
            </p:cNvPr>
            <p:cNvSpPr/>
            <p:nvPr/>
          </p:nvSpPr>
          <p:spPr>
            <a:xfrm>
              <a:off x="3675881" y="121662"/>
              <a:ext cx="1683149" cy="1141119"/>
            </a:xfrm>
            <a:custGeom>
              <a:avLst/>
              <a:gdLst>
                <a:gd name="connsiteX0" fmla="*/ 431016 w 431437"/>
                <a:gd name="connsiteY0" fmla="*/ 250363 h 292500"/>
                <a:gd name="connsiteX1" fmla="*/ 403923 w 431437"/>
                <a:gd name="connsiteY1" fmla="*/ 62677 h 292500"/>
                <a:gd name="connsiteX2" fmla="*/ 331549 w 431437"/>
                <a:gd name="connsiteY2" fmla="*/ 0 h 292500"/>
                <a:gd name="connsiteX3" fmla="*/ 99890 w 431437"/>
                <a:gd name="connsiteY3" fmla="*/ 0 h 292500"/>
                <a:gd name="connsiteX4" fmla="*/ 27515 w 431437"/>
                <a:gd name="connsiteY4" fmla="*/ 62677 h 292500"/>
                <a:gd name="connsiteX5" fmla="*/ 422 w 431437"/>
                <a:gd name="connsiteY5" fmla="*/ 250363 h 292500"/>
                <a:gd name="connsiteX6" fmla="*/ 0 w 431437"/>
                <a:gd name="connsiteY6" fmla="*/ 255938 h 292500"/>
                <a:gd name="connsiteX7" fmla="*/ 36563 w 431437"/>
                <a:gd name="connsiteY7" fmla="*/ 292500 h 292500"/>
                <a:gd name="connsiteX8" fmla="*/ 64300 w 431437"/>
                <a:gd name="connsiteY8" fmla="*/ 278785 h 292500"/>
                <a:gd name="connsiteX9" fmla="*/ 109688 w 431437"/>
                <a:gd name="connsiteY9" fmla="*/ 219375 h 292500"/>
                <a:gd name="connsiteX10" fmla="*/ 321750 w 431437"/>
                <a:gd name="connsiteY10" fmla="*/ 219375 h 292500"/>
                <a:gd name="connsiteX11" fmla="*/ 367138 w 431437"/>
                <a:gd name="connsiteY11" fmla="*/ 278785 h 292500"/>
                <a:gd name="connsiteX12" fmla="*/ 394875 w 431437"/>
                <a:gd name="connsiteY12" fmla="*/ 292500 h 292500"/>
                <a:gd name="connsiteX13" fmla="*/ 431438 w 431437"/>
                <a:gd name="connsiteY13" fmla="*/ 255938 h 292500"/>
                <a:gd name="connsiteX14" fmla="*/ 431016 w 431437"/>
                <a:gd name="connsiteY14" fmla="*/ 250363 h 29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1437" h="292500">
                  <a:moveTo>
                    <a:pt x="431016" y="250363"/>
                  </a:moveTo>
                  <a:lnTo>
                    <a:pt x="403923" y="62677"/>
                  </a:lnTo>
                  <a:cubicBezTo>
                    <a:pt x="398730" y="26700"/>
                    <a:pt x="367898" y="0"/>
                    <a:pt x="331549" y="0"/>
                  </a:cubicBezTo>
                  <a:lnTo>
                    <a:pt x="99890" y="0"/>
                  </a:lnTo>
                  <a:cubicBezTo>
                    <a:pt x="63540" y="0"/>
                    <a:pt x="32708" y="26701"/>
                    <a:pt x="27515" y="62677"/>
                  </a:cubicBezTo>
                  <a:lnTo>
                    <a:pt x="422" y="250363"/>
                  </a:lnTo>
                  <a:cubicBezTo>
                    <a:pt x="145" y="252182"/>
                    <a:pt x="0" y="254043"/>
                    <a:pt x="0" y="255938"/>
                  </a:cubicBezTo>
                  <a:cubicBezTo>
                    <a:pt x="0" y="276129"/>
                    <a:pt x="16369" y="292500"/>
                    <a:pt x="36563" y="292500"/>
                  </a:cubicBezTo>
                  <a:cubicBezTo>
                    <a:pt x="47440" y="292500"/>
                    <a:pt x="57696" y="287429"/>
                    <a:pt x="64300" y="278785"/>
                  </a:cubicBezTo>
                  <a:lnTo>
                    <a:pt x="109688" y="219375"/>
                  </a:lnTo>
                  <a:lnTo>
                    <a:pt x="321750" y="219375"/>
                  </a:lnTo>
                  <a:lnTo>
                    <a:pt x="367138" y="278785"/>
                  </a:lnTo>
                  <a:cubicBezTo>
                    <a:pt x="373742" y="287429"/>
                    <a:pt x="383998" y="292500"/>
                    <a:pt x="394875" y="292500"/>
                  </a:cubicBezTo>
                  <a:cubicBezTo>
                    <a:pt x="415068" y="292500"/>
                    <a:pt x="431438" y="276129"/>
                    <a:pt x="431438" y="255938"/>
                  </a:cubicBezTo>
                  <a:cubicBezTo>
                    <a:pt x="431438" y="254043"/>
                    <a:pt x="431292" y="252182"/>
                    <a:pt x="431016" y="250363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4" name="Freeform 333">
              <a:extLst>
                <a:ext uri="{FF2B5EF4-FFF2-40B4-BE49-F238E27FC236}">
                  <a16:creationId xmlns:a16="http://schemas.microsoft.com/office/drawing/2014/main" id="{2F212D0D-680C-8B3D-99AA-C13D4BE2A837}"/>
                </a:ext>
              </a:extLst>
            </p:cNvPr>
            <p:cNvSpPr/>
            <p:nvPr/>
          </p:nvSpPr>
          <p:spPr>
            <a:xfrm>
              <a:off x="4517457" y="-420368"/>
              <a:ext cx="570560" cy="542030"/>
            </a:xfrm>
            <a:custGeom>
              <a:avLst/>
              <a:gdLst>
                <a:gd name="connsiteX0" fmla="*/ 146250 w 146250"/>
                <a:gd name="connsiteY0" fmla="*/ 0 h 138937"/>
                <a:gd name="connsiteX1" fmla="*/ 109688 w 146250"/>
                <a:gd name="connsiteY1" fmla="*/ 36563 h 138937"/>
                <a:gd name="connsiteX2" fmla="*/ 73125 w 146250"/>
                <a:gd name="connsiteY2" fmla="*/ 36563 h 138937"/>
                <a:gd name="connsiteX3" fmla="*/ 0 w 146250"/>
                <a:gd name="connsiteY3" fmla="*/ 109688 h 138937"/>
                <a:gd name="connsiteX4" fmla="*/ 0 w 146250"/>
                <a:gd name="connsiteY4" fmla="*/ 138938 h 138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50" h="138937">
                  <a:moveTo>
                    <a:pt x="146250" y="0"/>
                  </a:moveTo>
                  <a:cubicBezTo>
                    <a:pt x="146250" y="20193"/>
                    <a:pt x="129880" y="36563"/>
                    <a:pt x="109688" y="36563"/>
                  </a:cubicBezTo>
                  <a:lnTo>
                    <a:pt x="73125" y="36563"/>
                  </a:lnTo>
                  <a:cubicBezTo>
                    <a:pt x="32739" y="36563"/>
                    <a:pt x="0" y="69301"/>
                    <a:pt x="0" y="109688"/>
                  </a:cubicBezTo>
                  <a:lnTo>
                    <a:pt x="0" y="138938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5" name="Freeform 334">
              <a:extLst>
                <a:ext uri="{FF2B5EF4-FFF2-40B4-BE49-F238E27FC236}">
                  <a16:creationId xmlns:a16="http://schemas.microsoft.com/office/drawing/2014/main" id="{541B0134-FB54-04FB-6B70-4D39567BEFB7}"/>
                </a:ext>
              </a:extLst>
            </p:cNvPr>
            <p:cNvSpPr/>
            <p:nvPr/>
          </p:nvSpPr>
          <p:spPr>
            <a:xfrm>
              <a:off x="4708040" y="546016"/>
              <a:ext cx="14045" cy="3566"/>
            </a:xfrm>
            <a:custGeom>
              <a:avLst/>
              <a:gdLst>
                <a:gd name="connsiteX0" fmla="*/ 0 w 73125"/>
                <a:gd name="connsiteY0" fmla="*/ 0 h 914"/>
                <a:gd name="connsiteX1" fmla="*/ 73125 w 73125"/>
                <a:gd name="connsiteY1" fmla="*/ 0 h 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25" h="914">
                  <a:moveTo>
                    <a:pt x="0" y="0"/>
                  </a:moveTo>
                  <a:lnTo>
                    <a:pt x="73125" y="0"/>
                  </a:lnTo>
                </a:path>
              </a:pathLst>
            </a:custGeom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6" name="Freeform 335">
              <a:extLst>
                <a:ext uri="{FF2B5EF4-FFF2-40B4-BE49-F238E27FC236}">
                  <a16:creationId xmlns:a16="http://schemas.microsoft.com/office/drawing/2014/main" id="{7B76A7A0-1D0C-5D84-BA68-C345227BAFE4}"/>
                </a:ext>
              </a:extLst>
            </p:cNvPr>
            <p:cNvSpPr/>
            <p:nvPr/>
          </p:nvSpPr>
          <p:spPr>
            <a:xfrm>
              <a:off x="4912781" y="546016"/>
              <a:ext cx="14045" cy="3566"/>
            </a:xfrm>
            <a:custGeom>
              <a:avLst/>
              <a:gdLst>
                <a:gd name="connsiteX0" fmla="*/ 0 w 73125"/>
                <a:gd name="connsiteY0" fmla="*/ 0 h 914"/>
                <a:gd name="connsiteX1" fmla="*/ 73125 w 73125"/>
                <a:gd name="connsiteY1" fmla="*/ 0 h 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25" h="914">
                  <a:moveTo>
                    <a:pt x="0" y="0"/>
                  </a:moveTo>
                  <a:lnTo>
                    <a:pt x="73125" y="0"/>
                  </a:lnTo>
                </a:path>
              </a:pathLst>
            </a:custGeom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7" name="Freeform 336">
              <a:extLst>
                <a:ext uri="{FF2B5EF4-FFF2-40B4-BE49-F238E27FC236}">
                  <a16:creationId xmlns:a16="http://schemas.microsoft.com/office/drawing/2014/main" id="{7E79E316-1D6D-740E-5DCB-536CB20EB386}"/>
                </a:ext>
              </a:extLst>
            </p:cNvPr>
            <p:cNvSpPr/>
            <p:nvPr/>
          </p:nvSpPr>
          <p:spPr>
            <a:xfrm>
              <a:off x="4814356" y="434891"/>
              <a:ext cx="14045" cy="3566"/>
            </a:xfrm>
            <a:custGeom>
              <a:avLst/>
              <a:gdLst>
                <a:gd name="connsiteX0" fmla="*/ 0 w 73125"/>
                <a:gd name="connsiteY0" fmla="*/ 0 h 914"/>
                <a:gd name="connsiteX1" fmla="*/ 73125 w 73125"/>
                <a:gd name="connsiteY1" fmla="*/ 0 h 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25" h="914">
                  <a:moveTo>
                    <a:pt x="0" y="0"/>
                  </a:moveTo>
                  <a:lnTo>
                    <a:pt x="73125" y="0"/>
                  </a:lnTo>
                </a:path>
              </a:pathLst>
            </a:custGeom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8" name="Freeform 337">
              <a:extLst>
                <a:ext uri="{FF2B5EF4-FFF2-40B4-BE49-F238E27FC236}">
                  <a16:creationId xmlns:a16="http://schemas.microsoft.com/office/drawing/2014/main" id="{6F7BDF97-98FE-72D4-ED1F-55A316AD2614}"/>
                </a:ext>
              </a:extLst>
            </p:cNvPr>
            <p:cNvSpPr/>
            <p:nvPr/>
          </p:nvSpPr>
          <p:spPr>
            <a:xfrm>
              <a:off x="4814356" y="660316"/>
              <a:ext cx="14045" cy="3566"/>
            </a:xfrm>
            <a:custGeom>
              <a:avLst/>
              <a:gdLst>
                <a:gd name="connsiteX0" fmla="*/ 0 w 73125"/>
                <a:gd name="connsiteY0" fmla="*/ 0 h 914"/>
                <a:gd name="connsiteX1" fmla="*/ 73125 w 73125"/>
                <a:gd name="connsiteY1" fmla="*/ 0 h 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25" h="914">
                  <a:moveTo>
                    <a:pt x="0" y="0"/>
                  </a:moveTo>
                  <a:lnTo>
                    <a:pt x="73125" y="0"/>
                  </a:lnTo>
                </a:path>
              </a:pathLst>
            </a:custGeom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351" name="Graphic 339">
            <a:extLst>
              <a:ext uri="{FF2B5EF4-FFF2-40B4-BE49-F238E27FC236}">
                <a16:creationId xmlns:a16="http://schemas.microsoft.com/office/drawing/2014/main" id="{591E50DD-11D3-8940-8DD1-EFA3F7E6F04C}"/>
              </a:ext>
            </a:extLst>
          </p:cNvPr>
          <p:cNvGrpSpPr/>
          <p:nvPr/>
        </p:nvGrpSpPr>
        <p:grpSpPr>
          <a:xfrm>
            <a:off x="5540776" y="2534683"/>
            <a:ext cx="437940" cy="414293"/>
            <a:chOff x="2860248" y="211178"/>
            <a:chExt cx="437940" cy="414293"/>
          </a:xfrm>
          <a:noFill/>
        </p:grpSpPr>
        <p:sp>
          <p:nvSpPr>
            <p:cNvPr id="352" name="Freeform 351">
              <a:extLst>
                <a:ext uri="{FF2B5EF4-FFF2-40B4-BE49-F238E27FC236}">
                  <a16:creationId xmlns:a16="http://schemas.microsoft.com/office/drawing/2014/main" id="{8AADA440-A09D-CE46-CDB0-8B579EB15F53}"/>
                </a:ext>
              </a:extLst>
            </p:cNvPr>
            <p:cNvSpPr/>
            <p:nvPr/>
          </p:nvSpPr>
          <p:spPr>
            <a:xfrm flipV="1">
              <a:off x="2860248" y="443604"/>
              <a:ext cx="106541" cy="181867"/>
            </a:xfrm>
            <a:custGeom>
              <a:avLst/>
              <a:gdLst>
                <a:gd name="connsiteX0" fmla="*/ 106700 w 106541"/>
                <a:gd name="connsiteY0" fmla="*/ 421 h 181867"/>
                <a:gd name="connsiteX1" fmla="*/ 49341 w 106541"/>
                <a:gd name="connsiteY1" fmla="*/ 421 h 181867"/>
                <a:gd name="connsiteX2" fmla="*/ 159 w 106541"/>
                <a:gd name="connsiteY2" fmla="*/ 49604 h 181867"/>
                <a:gd name="connsiteX3" fmla="*/ 159 w 106541"/>
                <a:gd name="connsiteY3" fmla="*/ 133105 h 181867"/>
                <a:gd name="connsiteX4" fmla="*/ 49341 w 106541"/>
                <a:gd name="connsiteY4" fmla="*/ 182288 h 181867"/>
                <a:gd name="connsiteX5" fmla="*/ 106700 w 106541"/>
                <a:gd name="connsiteY5" fmla="*/ 182288 h 181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541" h="181867">
                  <a:moveTo>
                    <a:pt x="106700" y="421"/>
                  </a:moveTo>
                  <a:lnTo>
                    <a:pt x="49341" y="421"/>
                  </a:lnTo>
                  <a:cubicBezTo>
                    <a:pt x="22178" y="421"/>
                    <a:pt x="159" y="22441"/>
                    <a:pt x="159" y="49604"/>
                  </a:cubicBezTo>
                  <a:lnTo>
                    <a:pt x="159" y="133105"/>
                  </a:lnTo>
                  <a:cubicBezTo>
                    <a:pt x="159" y="160268"/>
                    <a:pt x="22178" y="182288"/>
                    <a:pt x="49341" y="182288"/>
                  </a:cubicBezTo>
                  <a:lnTo>
                    <a:pt x="106700" y="182288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3" name="Freeform 352">
              <a:extLst>
                <a:ext uri="{FF2B5EF4-FFF2-40B4-BE49-F238E27FC236}">
                  <a16:creationId xmlns:a16="http://schemas.microsoft.com/office/drawing/2014/main" id="{408CE7E8-393A-884D-8CAF-2A27CE6BA976}"/>
                </a:ext>
              </a:extLst>
            </p:cNvPr>
            <p:cNvSpPr/>
            <p:nvPr/>
          </p:nvSpPr>
          <p:spPr>
            <a:xfrm flipV="1">
              <a:off x="3191646" y="443604"/>
              <a:ext cx="106542" cy="181867"/>
            </a:xfrm>
            <a:custGeom>
              <a:avLst/>
              <a:gdLst>
                <a:gd name="connsiteX0" fmla="*/ 57948 w 106542"/>
                <a:gd name="connsiteY0" fmla="*/ 421 h 181867"/>
                <a:gd name="connsiteX1" fmla="*/ 588 w 106542"/>
                <a:gd name="connsiteY1" fmla="*/ 421 h 181867"/>
                <a:gd name="connsiteX2" fmla="*/ 588 w 106542"/>
                <a:gd name="connsiteY2" fmla="*/ 182288 h 181867"/>
                <a:gd name="connsiteX3" fmla="*/ 57948 w 106542"/>
                <a:gd name="connsiteY3" fmla="*/ 182288 h 181867"/>
                <a:gd name="connsiteX4" fmla="*/ 107131 w 106542"/>
                <a:gd name="connsiteY4" fmla="*/ 133105 h 181867"/>
                <a:gd name="connsiteX5" fmla="*/ 107131 w 106542"/>
                <a:gd name="connsiteY5" fmla="*/ 49604 h 181867"/>
                <a:gd name="connsiteX6" fmla="*/ 57948 w 106542"/>
                <a:gd name="connsiteY6" fmla="*/ 421 h 181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542" h="181867">
                  <a:moveTo>
                    <a:pt x="57948" y="421"/>
                  </a:moveTo>
                  <a:lnTo>
                    <a:pt x="588" y="421"/>
                  </a:lnTo>
                  <a:lnTo>
                    <a:pt x="588" y="182288"/>
                  </a:lnTo>
                  <a:lnTo>
                    <a:pt x="57948" y="182288"/>
                  </a:lnTo>
                  <a:cubicBezTo>
                    <a:pt x="85111" y="182288"/>
                    <a:pt x="107131" y="160268"/>
                    <a:pt x="107131" y="133105"/>
                  </a:cubicBezTo>
                  <a:lnTo>
                    <a:pt x="107131" y="49604"/>
                  </a:lnTo>
                  <a:cubicBezTo>
                    <a:pt x="107131" y="22441"/>
                    <a:pt x="85111" y="421"/>
                    <a:pt x="57948" y="421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5" name="Freeform 354">
              <a:extLst>
                <a:ext uri="{FF2B5EF4-FFF2-40B4-BE49-F238E27FC236}">
                  <a16:creationId xmlns:a16="http://schemas.microsoft.com/office/drawing/2014/main" id="{32052E5F-4BB3-8E22-067E-16FB71EA58E1}"/>
                </a:ext>
              </a:extLst>
            </p:cNvPr>
            <p:cNvSpPr/>
            <p:nvPr/>
          </p:nvSpPr>
          <p:spPr>
            <a:xfrm flipV="1">
              <a:off x="2947497" y="266396"/>
              <a:ext cx="262264" cy="177208"/>
            </a:xfrm>
            <a:custGeom>
              <a:avLst/>
              <a:gdLst>
                <a:gd name="connsiteX0" fmla="*/ 198 w 262264"/>
                <a:gd name="connsiteY0" fmla="*/ 162 h 177208"/>
                <a:gd name="connsiteX1" fmla="*/ 198 w 262264"/>
                <a:gd name="connsiteY1" fmla="*/ 41178 h 177208"/>
                <a:gd name="connsiteX2" fmla="*/ 131330 w 262264"/>
                <a:gd name="connsiteY2" fmla="*/ 177370 h 177208"/>
                <a:gd name="connsiteX3" fmla="*/ 262462 w 262264"/>
                <a:gd name="connsiteY3" fmla="*/ 41178 h 177208"/>
                <a:gd name="connsiteX4" fmla="*/ 262462 w 262264"/>
                <a:gd name="connsiteY4" fmla="*/ 162 h 177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2264" h="177208">
                  <a:moveTo>
                    <a:pt x="198" y="162"/>
                  </a:moveTo>
                  <a:lnTo>
                    <a:pt x="198" y="41178"/>
                  </a:lnTo>
                  <a:cubicBezTo>
                    <a:pt x="198" y="116396"/>
                    <a:pt x="58908" y="177370"/>
                    <a:pt x="131330" y="177370"/>
                  </a:cubicBezTo>
                  <a:cubicBezTo>
                    <a:pt x="203753" y="177370"/>
                    <a:pt x="262462" y="116396"/>
                    <a:pt x="262462" y="41178"/>
                  </a:cubicBezTo>
                  <a:lnTo>
                    <a:pt x="262462" y="162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6" name="Freeform 355">
              <a:extLst>
                <a:ext uri="{FF2B5EF4-FFF2-40B4-BE49-F238E27FC236}">
                  <a16:creationId xmlns:a16="http://schemas.microsoft.com/office/drawing/2014/main" id="{C0335BB2-68BA-31D5-E3CE-4B4C8DA4189A}"/>
                </a:ext>
              </a:extLst>
            </p:cNvPr>
            <p:cNvSpPr/>
            <p:nvPr/>
          </p:nvSpPr>
          <p:spPr>
            <a:xfrm flipV="1">
              <a:off x="2892663" y="211178"/>
              <a:ext cx="371933" cy="232425"/>
            </a:xfrm>
            <a:custGeom>
              <a:avLst/>
              <a:gdLst>
                <a:gd name="connsiteX0" fmla="*/ 138 w 371933"/>
                <a:gd name="connsiteY0" fmla="*/ 91 h 232425"/>
                <a:gd name="connsiteX1" fmla="*/ 138 w 371933"/>
                <a:gd name="connsiteY1" fmla="*/ 46551 h 232425"/>
                <a:gd name="connsiteX2" fmla="*/ 186104 w 371933"/>
                <a:gd name="connsiteY2" fmla="*/ 232517 h 232425"/>
                <a:gd name="connsiteX3" fmla="*/ 372071 w 371933"/>
                <a:gd name="connsiteY3" fmla="*/ 46551 h 232425"/>
                <a:gd name="connsiteX4" fmla="*/ 372071 w 371933"/>
                <a:gd name="connsiteY4" fmla="*/ 91 h 23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933" h="232425">
                  <a:moveTo>
                    <a:pt x="138" y="91"/>
                  </a:moveTo>
                  <a:lnTo>
                    <a:pt x="138" y="46551"/>
                  </a:lnTo>
                  <a:cubicBezTo>
                    <a:pt x="138" y="149257"/>
                    <a:pt x="83397" y="232517"/>
                    <a:pt x="186104" y="232517"/>
                  </a:cubicBezTo>
                  <a:cubicBezTo>
                    <a:pt x="288810" y="232517"/>
                    <a:pt x="372071" y="149257"/>
                    <a:pt x="372071" y="46551"/>
                  </a:cubicBezTo>
                  <a:lnTo>
                    <a:pt x="372071" y="91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7" name="Freeform 356">
              <a:extLst>
                <a:ext uri="{FF2B5EF4-FFF2-40B4-BE49-F238E27FC236}">
                  <a16:creationId xmlns:a16="http://schemas.microsoft.com/office/drawing/2014/main" id="{21803709-230F-EF78-C83B-8E3BEB5B2120}"/>
                </a:ext>
              </a:extLst>
            </p:cNvPr>
            <p:cNvSpPr/>
            <p:nvPr/>
          </p:nvSpPr>
          <p:spPr>
            <a:xfrm flipV="1">
              <a:off x="3029046" y="504084"/>
              <a:ext cx="685" cy="60908"/>
            </a:xfrm>
            <a:custGeom>
              <a:avLst/>
              <a:gdLst>
                <a:gd name="connsiteX0" fmla="*/ 269 w 685"/>
                <a:gd name="connsiteY0" fmla="*/ 61462 h 60908"/>
                <a:gd name="connsiteX1" fmla="*/ 269 w 685"/>
                <a:gd name="connsiteY1" fmla="*/ 554 h 60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5" h="60908">
                  <a:moveTo>
                    <a:pt x="269" y="61462"/>
                  </a:moveTo>
                  <a:lnTo>
                    <a:pt x="269" y="554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9" name="Freeform 358">
              <a:extLst>
                <a:ext uri="{FF2B5EF4-FFF2-40B4-BE49-F238E27FC236}">
                  <a16:creationId xmlns:a16="http://schemas.microsoft.com/office/drawing/2014/main" id="{57C22B84-C782-D802-DA22-F02F0775C5AF}"/>
                </a:ext>
              </a:extLst>
            </p:cNvPr>
            <p:cNvSpPr/>
            <p:nvPr/>
          </p:nvSpPr>
          <p:spPr>
            <a:xfrm flipV="1">
              <a:off x="3128325" y="504084"/>
              <a:ext cx="685" cy="60908"/>
            </a:xfrm>
            <a:custGeom>
              <a:avLst/>
              <a:gdLst>
                <a:gd name="connsiteX0" fmla="*/ 414 w 685"/>
                <a:gd name="connsiteY0" fmla="*/ 61462 h 60908"/>
                <a:gd name="connsiteX1" fmla="*/ 414 w 685"/>
                <a:gd name="connsiteY1" fmla="*/ 554 h 60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5" h="60908">
                  <a:moveTo>
                    <a:pt x="414" y="61462"/>
                  </a:moveTo>
                  <a:lnTo>
                    <a:pt x="414" y="554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0" name="Freeform 359">
              <a:extLst>
                <a:ext uri="{FF2B5EF4-FFF2-40B4-BE49-F238E27FC236}">
                  <a16:creationId xmlns:a16="http://schemas.microsoft.com/office/drawing/2014/main" id="{676A208A-F048-7D23-BA18-3F1C196ACE98}"/>
                </a:ext>
              </a:extLst>
            </p:cNvPr>
            <p:cNvSpPr/>
            <p:nvPr/>
          </p:nvSpPr>
          <p:spPr>
            <a:xfrm flipV="1">
              <a:off x="3078685" y="482462"/>
              <a:ext cx="685" cy="104152"/>
            </a:xfrm>
            <a:custGeom>
              <a:avLst/>
              <a:gdLst>
                <a:gd name="connsiteX0" fmla="*/ 341 w 685"/>
                <a:gd name="connsiteY0" fmla="*/ 104730 h 104152"/>
                <a:gd name="connsiteX1" fmla="*/ 341 w 685"/>
                <a:gd name="connsiteY1" fmla="*/ 578 h 104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5" h="104152">
                  <a:moveTo>
                    <a:pt x="341" y="104730"/>
                  </a:moveTo>
                  <a:lnTo>
                    <a:pt x="341" y="578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395" name="Graphic 361">
            <a:extLst>
              <a:ext uri="{FF2B5EF4-FFF2-40B4-BE49-F238E27FC236}">
                <a16:creationId xmlns:a16="http://schemas.microsoft.com/office/drawing/2014/main" id="{4635A4ED-6B24-BC57-2AC3-19A582FFC588}"/>
              </a:ext>
            </a:extLst>
          </p:cNvPr>
          <p:cNvGrpSpPr/>
          <p:nvPr/>
        </p:nvGrpSpPr>
        <p:grpSpPr>
          <a:xfrm>
            <a:off x="9702545" y="2545439"/>
            <a:ext cx="440363" cy="392781"/>
            <a:chOff x="2858504" y="215294"/>
            <a:chExt cx="440363" cy="392781"/>
          </a:xfrm>
          <a:noFill/>
        </p:grpSpPr>
        <p:sp>
          <p:nvSpPr>
            <p:cNvPr id="396" name="Freeform 395">
              <a:extLst>
                <a:ext uri="{FF2B5EF4-FFF2-40B4-BE49-F238E27FC236}">
                  <a16:creationId xmlns:a16="http://schemas.microsoft.com/office/drawing/2014/main" id="{3469FC77-B0A0-640A-30F9-791ECB31FC82}"/>
                </a:ext>
              </a:extLst>
            </p:cNvPr>
            <p:cNvSpPr/>
            <p:nvPr/>
          </p:nvSpPr>
          <p:spPr>
            <a:xfrm flipV="1">
              <a:off x="2977052" y="288087"/>
              <a:ext cx="203266" cy="175633"/>
            </a:xfrm>
            <a:custGeom>
              <a:avLst/>
              <a:gdLst>
                <a:gd name="connsiteX0" fmla="*/ 188376 w 203266"/>
                <a:gd name="connsiteY0" fmla="*/ 86589 h 175633"/>
                <a:gd name="connsiteX1" fmla="*/ 102074 w 203266"/>
                <a:gd name="connsiteY1" fmla="*/ 287 h 175633"/>
                <a:gd name="connsiteX2" fmla="*/ 15763 w 203266"/>
                <a:gd name="connsiteY2" fmla="*/ 86589 h 175633"/>
                <a:gd name="connsiteX3" fmla="*/ 15761 w 203266"/>
                <a:gd name="connsiteY3" fmla="*/ 160592 h 175633"/>
                <a:gd name="connsiteX4" fmla="*/ 15764 w 203266"/>
                <a:gd name="connsiteY4" fmla="*/ 160595 h 175633"/>
                <a:gd name="connsiteX5" fmla="*/ 89765 w 203266"/>
                <a:gd name="connsiteY5" fmla="*/ 160595 h 175633"/>
                <a:gd name="connsiteX6" fmla="*/ 102074 w 203266"/>
                <a:gd name="connsiteY6" fmla="*/ 148287 h 175633"/>
                <a:gd name="connsiteX7" fmla="*/ 114371 w 203266"/>
                <a:gd name="connsiteY7" fmla="*/ 160586 h 175633"/>
                <a:gd name="connsiteX8" fmla="*/ 188376 w 203266"/>
                <a:gd name="connsiteY8" fmla="*/ 160591 h 175633"/>
                <a:gd name="connsiteX9" fmla="*/ 188376 w 203266"/>
                <a:gd name="connsiteY9" fmla="*/ 86589 h 175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3266" h="175633">
                  <a:moveTo>
                    <a:pt x="188376" y="86589"/>
                  </a:moveTo>
                  <a:lnTo>
                    <a:pt x="102074" y="287"/>
                  </a:lnTo>
                  <a:lnTo>
                    <a:pt x="15763" y="86589"/>
                  </a:lnTo>
                  <a:cubicBezTo>
                    <a:pt x="-4673" y="107024"/>
                    <a:pt x="-4673" y="140157"/>
                    <a:pt x="15761" y="160592"/>
                  </a:cubicBezTo>
                  <a:lnTo>
                    <a:pt x="15764" y="160595"/>
                  </a:lnTo>
                  <a:cubicBezTo>
                    <a:pt x="36200" y="181030"/>
                    <a:pt x="69330" y="181030"/>
                    <a:pt x="89765" y="160595"/>
                  </a:cubicBezTo>
                  <a:lnTo>
                    <a:pt x="102074" y="148287"/>
                  </a:lnTo>
                  <a:lnTo>
                    <a:pt x="114371" y="160586"/>
                  </a:lnTo>
                  <a:cubicBezTo>
                    <a:pt x="134805" y="181025"/>
                    <a:pt x="167940" y="181027"/>
                    <a:pt x="188376" y="160591"/>
                  </a:cubicBezTo>
                  <a:cubicBezTo>
                    <a:pt x="208811" y="140156"/>
                    <a:pt x="208811" y="107024"/>
                    <a:pt x="188376" y="86589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7" name="Freeform 396">
              <a:extLst>
                <a:ext uri="{FF2B5EF4-FFF2-40B4-BE49-F238E27FC236}">
                  <a16:creationId xmlns:a16="http://schemas.microsoft.com/office/drawing/2014/main" id="{A4A1E266-37DD-B0D6-36AE-19A6270A68CE}"/>
                </a:ext>
              </a:extLst>
            </p:cNvPr>
            <p:cNvSpPr/>
            <p:nvPr/>
          </p:nvSpPr>
          <p:spPr>
            <a:xfrm flipV="1">
              <a:off x="2858504" y="215294"/>
              <a:ext cx="440363" cy="392781"/>
            </a:xfrm>
            <a:custGeom>
              <a:avLst/>
              <a:gdLst>
                <a:gd name="connsiteX0" fmla="*/ 440945 w 440363"/>
                <a:gd name="connsiteY0" fmla="*/ 323596 h 392781"/>
                <a:gd name="connsiteX1" fmla="*/ 440945 w 440363"/>
                <a:gd name="connsiteY1" fmla="*/ 159982 h 392781"/>
                <a:gd name="connsiteX2" fmla="*/ 371279 w 440363"/>
                <a:gd name="connsiteY2" fmla="*/ 90316 h 392781"/>
                <a:gd name="connsiteX3" fmla="*/ 289587 w 440363"/>
                <a:gd name="connsiteY3" fmla="*/ 90316 h 392781"/>
                <a:gd name="connsiteX4" fmla="*/ 220764 w 440363"/>
                <a:gd name="connsiteY4" fmla="*/ 480 h 392781"/>
                <a:gd name="connsiteX5" fmla="*/ 151941 w 440363"/>
                <a:gd name="connsiteY5" fmla="*/ 90316 h 392781"/>
                <a:gd name="connsiteX6" fmla="*/ 70248 w 440363"/>
                <a:gd name="connsiteY6" fmla="*/ 90316 h 392781"/>
                <a:gd name="connsiteX7" fmla="*/ 582 w 440363"/>
                <a:gd name="connsiteY7" fmla="*/ 159982 h 392781"/>
                <a:gd name="connsiteX8" fmla="*/ 582 w 440363"/>
                <a:gd name="connsiteY8" fmla="*/ 323596 h 392781"/>
                <a:gd name="connsiteX9" fmla="*/ 70248 w 440363"/>
                <a:gd name="connsiteY9" fmla="*/ 393262 h 392781"/>
                <a:gd name="connsiteX10" fmla="*/ 371279 w 440363"/>
                <a:gd name="connsiteY10" fmla="*/ 393262 h 392781"/>
                <a:gd name="connsiteX11" fmla="*/ 440945 w 440363"/>
                <a:gd name="connsiteY11" fmla="*/ 323596 h 39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0363" h="392781">
                  <a:moveTo>
                    <a:pt x="440945" y="323596"/>
                  </a:moveTo>
                  <a:lnTo>
                    <a:pt x="440945" y="159982"/>
                  </a:lnTo>
                  <a:cubicBezTo>
                    <a:pt x="440945" y="121506"/>
                    <a:pt x="409755" y="90316"/>
                    <a:pt x="371279" y="90316"/>
                  </a:cubicBezTo>
                  <a:lnTo>
                    <a:pt x="289587" y="90316"/>
                  </a:lnTo>
                  <a:lnTo>
                    <a:pt x="220764" y="480"/>
                  </a:lnTo>
                  <a:lnTo>
                    <a:pt x="151941" y="90316"/>
                  </a:lnTo>
                  <a:lnTo>
                    <a:pt x="70248" y="90316"/>
                  </a:lnTo>
                  <a:cubicBezTo>
                    <a:pt x="31773" y="90316"/>
                    <a:pt x="582" y="121506"/>
                    <a:pt x="582" y="159982"/>
                  </a:cubicBezTo>
                  <a:lnTo>
                    <a:pt x="582" y="323596"/>
                  </a:lnTo>
                  <a:cubicBezTo>
                    <a:pt x="582" y="362071"/>
                    <a:pt x="31773" y="393262"/>
                    <a:pt x="70248" y="393262"/>
                  </a:cubicBezTo>
                  <a:lnTo>
                    <a:pt x="371279" y="393262"/>
                  </a:lnTo>
                  <a:cubicBezTo>
                    <a:pt x="409755" y="393262"/>
                    <a:pt x="440945" y="362071"/>
                    <a:pt x="440945" y="323596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403" name="Graphic 398">
            <a:extLst>
              <a:ext uri="{FF2B5EF4-FFF2-40B4-BE49-F238E27FC236}">
                <a16:creationId xmlns:a16="http://schemas.microsoft.com/office/drawing/2014/main" id="{AE54E72C-3FBA-BA8F-55E3-CCD02BFFAFAC}"/>
              </a:ext>
            </a:extLst>
          </p:cNvPr>
          <p:cNvGrpSpPr/>
          <p:nvPr/>
        </p:nvGrpSpPr>
        <p:grpSpPr>
          <a:xfrm>
            <a:off x="4159972" y="2580364"/>
            <a:ext cx="440361" cy="322930"/>
            <a:chOff x="2858504" y="250220"/>
            <a:chExt cx="440361" cy="322930"/>
          </a:xfrm>
          <a:noFill/>
        </p:grpSpPr>
        <p:sp>
          <p:nvSpPr>
            <p:cNvPr id="404" name="Freeform 403">
              <a:extLst>
                <a:ext uri="{FF2B5EF4-FFF2-40B4-BE49-F238E27FC236}">
                  <a16:creationId xmlns:a16="http://schemas.microsoft.com/office/drawing/2014/main" id="{7933DD3A-AA56-1C99-022F-D0D1C50D0E06}"/>
                </a:ext>
              </a:extLst>
            </p:cNvPr>
            <p:cNvSpPr/>
            <p:nvPr/>
          </p:nvSpPr>
          <p:spPr>
            <a:xfrm flipV="1">
              <a:off x="2858504" y="250220"/>
              <a:ext cx="440361" cy="184899"/>
            </a:xfrm>
            <a:custGeom>
              <a:avLst/>
              <a:gdLst>
                <a:gd name="connsiteX0" fmla="*/ 12327 w 440361"/>
                <a:gd name="connsiteY0" fmla="*/ 133010 h 184899"/>
                <a:gd name="connsiteX1" fmla="*/ 114 w 440361"/>
                <a:gd name="connsiteY1" fmla="*/ 155820 h 184899"/>
                <a:gd name="connsiteX2" fmla="*/ 114 w 440361"/>
                <a:gd name="connsiteY2" fmla="*/ 155843 h 184899"/>
                <a:gd name="connsiteX3" fmla="*/ 29457 w 440361"/>
                <a:gd name="connsiteY3" fmla="*/ 185185 h 184899"/>
                <a:gd name="connsiteX4" fmla="*/ 411132 w 440361"/>
                <a:gd name="connsiteY4" fmla="*/ 185185 h 184899"/>
                <a:gd name="connsiteX5" fmla="*/ 440475 w 440361"/>
                <a:gd name="connsiteY5" fmla="*/ 155843 h 184899"/>
                <a:gd name="connsiteX6" fmla="*/ 440475 w 440361"/>
                <a:gd name="connsiteY6" fmla="*/ 155828 h 184899"/>
                <a:gd name="connsiteX7" fmla="*/ 440475 w 440361"/>
                <a:gd name="connsiteY7" fmla="*/ 155820 h 184899"/>
                <a:gd name="connsiteX8" fmla="*/ 428263 w 440361"/>
                <a:gd name="connsiteY8" fmla="*/ 133010 h 184899"/>
                <a:gd name="connsiteX9" fmla="*/ 236580 w 440361"/>
                <a:gd name="connsiteY9" fmla="*/ 5217 h 184899"/>
                <a:gd name="connsiteX10" fmla="*/ 204009 w 440361"/>
                <a:gd name="connsiteY10" fmla="*/ 5217 h 184899"/>
                <a:gd name="connsiteX11" fmla="*/ 12327 w 440361"/>
                <a:gd name="connsiteY11" fmla="*/ 133010 h 184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0361" h="184899">
                  <a:moveTo>
                    <a:pt x="12327" y="133010"/>
                  </a:moveTo>
                  <a:cubicBezTo>
                    <a:pt x="4694" y="138096"/>
                    <a:pt x="114" y="146654"/>
                    <a:pt x="114" y="155820"/>
                  </a:cubicBezTo>
                  <a:lnTo>
                    <a:pt x="114" y="155843"/>
                  </a:lnTo>
                  <a:cubicBezTo>
                    <a:pt x="114" y="172048"/>
                    <a:pt x="13252" y="185185"/>
                    <a:pt x="29457" y="185185"/>
                  </a:cubicBezTo>
                  <a:lnTo>
                    <a:pt x="411132" y="185185"/>
                  </a:lnTo>
                  <a:cubicBezTo>
                    <a:pt x="427337" y="185185"/>
                    <a:pt x="440475" y="172048"/>
                    <a:pt x="440475" y="155843"/>
                  </a:cubicBezTo>
                  <a:lnTo>
                    <a:pt x="440475" y="155828"/>
                  </a:lnTo>
                  <a:lnTo>
                    <a:pt x="440475" y="155820"/>
                  </a:lnTo>
                  <a:cubicBezTo>
                    <a:pt x="440475" y="146654"/>
                    <a:pt x="435896" y="138096"/>
                    <a:pt x="428263" y="133010"/>
                  </a:cubicBezTo>
                  <a:cubicBezTo>
                    <a:pt x="391015" y="108173"/>
                    <a:pt x="278781" y="33356"/>
                    <a:pt x="236580" y="5217"/>
                  </a:cubicBezTo>
                  <a:cubicBezTo>
                    <a:pt x="226717" y="-1359"/>
                    <a:pt x="213873" y="-1359"/>
                    <a:pt x="204009" y="5217"/>
                  </a:cubicBezTo>
                  <a:cubicBezTo>
                    <a:pt x="161807" y="33356"/>
                    <a:pt x="49574" y="108173"/>
                    <a:pt x="12327" y="133010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5" name="Freeform 404">
              <a:extLst>
                <a:ext uri="{FF2B5EF4-FFF2-40B4-BE49-F238E27FC236}">
                  <a16:creationId xmlns:a16="http://schemas.microsoft.com/office/drawing/2014/main" id="{F1A50C9A-3DE6-9DB2-DCE3-687AE59D3984}"/>
                </a:ext>
              </a:extLst>
            </p:cNvPr>
            <p:cNvSpPr/>
            <p:nvPr/>
          </p:nvSpPr>
          <p:spPr>
            <a:xfrm flipV="1">
              <a:off x="2858505" y="279577"/>
              <a:ext cx="440361" cy="293574"/>
            </a:xfrm>
            <a:custGeom>
              <a:avLst/>
              <a:gdLst>
                <a:gd name="connsiteX0" fmla="*/ 100 w 440361"/>
                <a:gd name="connsiteY0" fmla="*/ 294098 h 293574"/>
                <a:gd name="connsiteX1" fmla="*/ 100 w 440361"/>
                <a:gd name="connsiteY1" fmla="*/ 29881 h 293574"/>
                <a:gd name="connsiteX2" fmla="*/ 8702 w 440361"/>
                <a:gd name="connsiteY2" fmla="*/ 9125 h 293574"/>
                <a:gd name="connsiteX3" fmla="*/ 29458 w 440361"/>
                <a:gd name="connsiteY3" fmla="*/ 523 h 293574"/>
                <a:gd name="connsiteX4" fmla="*/ 411104 w 440361"/>
                <a:gd name="connsiteY4" fmla="*/ 523 h 293574"/>
                <a:gd name="connsiteX5" fmla="*/ 431860 w 440361"/>
                <a:gd name="connsiteY5" fmla="*/ 9125 h 293574"/>
                <a:gd name="connsiteX6" fmla="*/ 440462 w 440361"/>
                <a:gd name="connsiteY6" fmla="*/ 29881 h 293574"/>
                <a:gd name="connsiteX7" fmla="*/ 440462 w 440361"/>
                <a:gd name="connsiteY7" fmla="*/ 294098 h 293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0361" h="293574">
                  <a:moveTo>
                    <a:pt x="100" y="294098"/>
                  </a:moveTo>
                  <a:lnTo>
                    <a:pt x="100" y="29881"/>
                  </a:lnTo>
                  <a:cubicBezTo>
                    <a:pt x="100" y="22094"/>
                    <a:pt x="3190" y="14630"/>
                    <a:pt x="8702" y="9125"/>
                  </a:cubicBezTo>
                  <a:cubicBezTo>
                    <a:pt x="14207" y="3613"/>
                    <a:pt x="21671" y="523"/>
                    <a:pt x="29458" y="523"/>
                  </a:cubicBezTo>
                  <a:lnTo>
                    <a:pt x="411104" y="523"/>
                  </a:lnTo>
                  <a:cubicBezTo>
                    <a:pt x="418891" y="523"/>
                    <a:pt x="426355" y="3613"/>
                    <a:pt x="431860" y="9125"/>
                  </a:cubicBezTo>
                  <a:cubicBezTo>
                    <a:pt x="437372" y="14630"/>
                    <a:pt x="440462" y="22094"/>
                    <a:pt x="440462" y="29881"/>
                  </a:cubicBezTo>
                  <a:lnTo>
                    <a:pt x="440462" y="294098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413" name="Graphic 406">
            <a:extLst>
              <a:ext uri="{FF2B5EF4-FFF2-40B4-BE49-F238E27FC236}">
                <a16:creationId xmlns:a16="http://schemas.microsoft.com/office/drawing/2014/main" id="{343990A2-48F8-7288-1A97-30E59DF1F1C8}"/>
              </a:ext>
            </a:extLst>
          </p:cNvPr>
          <p:cNvGrpSpPr/>
          <p:nvPr/>
        </p:nvGrpSpPr>
        <p:grpSpPr>
          <a:xfrm>
            <a:off x="11056148" y="2516970"/>
            <a:ext cx="449718" cy="449718"/>
            <a:chOff x="3666740" y="999740"/>
            <a:chExt cx="449718" cy="449718"/>
          </a:xfrm>
          <a:noFill/>
        </p:grpSpPr>
        <p:sp>
          <p:nvSpPr>
            <p:cNvPr id="414" name="Freeform 413">
              <a:extLst>
                <a:ext uri="{FF2B5EF4-FFF2-40B4-BE49-F238E27FC236}">
                  <a16:creationId xmlns:a16="http://schemas.microsoft.com/office/drawing/2014/main" id="{FABB0174-B5FB-157D-EB7C-C5C09B207BF0}"/>
                </a:ext>
              </a:extLst>
            </p:cNvPr>
            <p:cNvSpPr/>
            <p:nvPr/>
          </p:nvSpPr>
          <p:spPr>
            <a:xfrm>
              <a:off x="3870133" y="1134867"/>
              <a:ext cx="123348" cy="160875"/>
            </a:xfrm>
            <a:custGeom>
              <a:avLst/>
              <a:gdLst>
                <a:gd name="connsiteX0" fmla="*/ 0 w 123348"/>
                <a:gd name="connsiteY0" fmla="*/ 160876 h 160875"/>
                <a:gd name="connsiteX1" fmla="*/ 0 w 123348"/>
                <a:gd name="connsiteY1" fmla="*/ 21532 h 160875"/>
                <a:gd name="connsiteX2" fmla="*/ 21506 w 123348"/>
                <a:gd name="connsiteY2" fmla="*/ 0 h 160875"/>
                <a:gd name="connsiteX3" fmla="*/ 43038 w 123348"/>
                <a:gd name="connsiteY3" fmla="*/ 21532 h 160875"/>
                <a:gd name="connsiteX4" fmla="*/ 43038 w 123348"/>
                <a:gd name="connsiteY4" fmla="*/ 51160 h 160875"/>
                <a:gd name="connsiteX5" fmla="*/ 95813 w 123348"/>
                <a:gd name="connsiteY5" fmla="*/ 51160 h 160875"/>
                <a:gd name="connsiteX6" fmla="*/ 122838 w 123348"/>
                <a:gd name="connsiteY6" fmla="*/ 83757 h 160875"/>
                <a:gd name="connsiteX7" fmla="*/ 114559 w 123348"/>
                <a:gd name="connsiteY7" fmla="*/ 134449 h 160875"/>
                <a:gd name="connsiteX8" fmla="*/ 85346 w 123348"/>
                <a:gd name="connsiteY8" fmla="*/ 160876 h 160875"/>
                <a:gd name="connsiteX9" fmla="*/ 0 w 123348"/>
                <a:gd name="connsiteY9" fmla="*/ 160876 h 160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348" h="160875">
                  <a:moveTo>
                    <a:pt x="0" y="160876"/>
                  </a:moveTo>
                  <a:lnTo>
                    <a:pt x="0" y="21532"/>
                  </a:lnTo>
                  <a:cubicBezTo>
                    <a:pt x="0" y="9685"/>
                    <a:pt x="9685" y="0"/>
                    <a:pt x="21506" y="0"/>
                  </a:cubicBezTo>
                  <a:cubicBezTo>
                    <a:pt x="33352" y="0"/>
                    <a:pt x="43038" y="9685"/>
                    <a:pt x="43038" y="21532"/>
                  </a:cubicBezTo>
                  <a:lnTo>
                    <a:pt x="43038" y="51160"/>
                  </a:lnTo>
                  <a:lnTo>
                    <a:pt x="95813" y="51160"/>
                  </a:lnTo>
                  <a:cubicBezTo>
                    <a:pt x="115912" y="51160"/>
                    <a:pt x="125780" y="65662"/>
                    <a:pt x="122838" y="83757"/>
                  </a:cubicBezTo>
                  <a:lnTo>
                    <a:pt x="114559" y="134449"/>
                  </a:lnTo>
                  <a:cubicBezTo>
                    <a:pt x="112215" y="148796"/>
                    <a:pt x="104066" y="160876"/>
                    <a:pt x="85346" y="160876"/>
                  </a:cubicBezTo>
                  <a:lnTo>
                    <a:pt x="0" y="160876"/>
                  </a:ln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5" name="Freeform 414">
              <a:extLst>
                <a:ext uri="{FF2B5EF4-FFF2-40B4-BE49-F238E27FC236}">
                  <a16:creationId xmlns:a16="http://schemas.microsoft.com/office/drawing/2014/main" id="{EC3EA08C-C735-4F2E-BD1E-9375944FA15A}"/>
                </a:ext>
              </a:extLst>
            </p:cNvPr>
            <p:cNvSpPr/>
            <p:nvPr/>
          </p:nvSpPr>
          <p:spPr>
            <a:xfrm>
              <a:off x="3814390" y="1186027"/>
              <a:ext cx="55743" cy="109715"/>
            </a:xfrm>
            <a:custGeom>
              <a:avLst/>
              <a:gdLst>
                <a:gd name="connsiteX0" fmla="*/ 0 w 55743"/>
                <a:gd name="connsiteY0" fmla="*/ 0 h 109715"/>
                <a:gd name="connsiteX1" fmla="*/ 55743 w 55743"/>
                <a:gd name="connsiteY1" fmla="*/ 0 h 109715"/>
                <a:gd name="connsiteX2" fmla="*/ 55743 w 55743"/>
                <a:gd name="connsiteY2" fmla="*/ 109716 h 109715"/>
                <a:gd name="connsiteX3" fmla="*/ 0 w 55743"/>
                <a:gd name="connsiteY3" fmla="*/ 109716 h 109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743" h="109715">
                  <a:moveTo>
                    <a:pt x="0" y="0"/>
                  </a:moveTo>
                  <a:lnTo>
                    <a:pt x="55743" y="0"/>
                  </a:lnTo>
                  <a:lnTo>
                    <a:pt x="55743" y="109716"/>
                  </a:lnTo>
                  <a:lnTo>
                    <a:pt x="0" y="109716"/>
                  </a:ln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6" name="Freeform 415">
              <a:extLst>
                <a:ext uri="{FF2B5EF4-FFF2-40B4-BE49-F238E27FC236}">
                  <a16:creationId xmlns:a16="http://schemas.microsoft.com/office/drawing/2014/main" id="{8ABD24CB-9E20-0491-36B3-5EAE5E6B992C}"/>
                </a:ext>
              </a:extLst>
            </p:cNvPr>
            <p:cNvSpPr/>
            <p:nvPr/>
          </p:nvSpPr>
          <p:spPr>
            <a:xfrm>
              <a:off x="3666740" y="999740"/>
              <a:ext cx="449718" cy="449718"/>
            </a:xfrm>
            <a:custGeom>
              <a:avLst/>
              <a:gdLst>
                <a:gd name="connsiteX0" fmla="*/ 224847 w 449718"/>
                <a:gd name="connsiteY0" fmla="*/ 0 h 449718"/>
                <a:gd name="connsiteX1" fmla="*/ 298971 w 449718"/>
                <a:gd name="connsiteY1" fmla="*/ 45927 h 449718"/>
                <a:gd name="connsiteX2" fmla="*/ 383848 w 449718"/>
                <a:gd name="connsiteY2" fmla="*/ 65844 h 449718"/>
                <a:gd name="connsiteX3" fmla="*/ 403765 w 449718"/>
                <a:gd name="connsiteY3" fmla="*/ 150747 h 449718"/>
                <a:gd name="connsiteX4" fmla="*/ 449719 w 449718"/>
                <a:gd name="connsiteY4" fmla="*/ 224847 h 449718"/>
                <a:gd name="connsiteX5" fmla="*/ 403765 w 449718"/>
                <a:gd name="connsiteY5" fmla="*/ 298971 h 449718"/>
                <a:gd name="connsiteX6" fmla="*/ 383848 w 449718"/>
                <a:gd name="connsiteY6" fmla="*/ 383848 h 449718"/>
                <a:gd name="connsiteX7" fmla="*/ 298971 w 449718"/>
                <a:gd name="connsiteY7" fmla="*/ 403765 h 449718"/>
                <a:gd name="connsiteX8" fmla="*/ 224847 w 449718"/>
                <a:gd name="connsiteY8" fmla="*/ 449719 h 449718"/>
                <a:gd name="connsiteX9" fmla="*/ 150748 w 449718"/>
                <a:gd name="connsiteY9" fmla="*/ 403765 h 449718"/>
                <a:gd name="connsiteX10" fmla="*/ 65844 w 449718"/>
                <a:gd name="connsiteY10" fmla="*/ 383848 h 449718"/>
                <a:gd name="connsiteX11" fmla="*/ 45927 w 449718"/>
                <a:gd name="connsiteY11" fmla="*/ 298971 h 449718"/>
                <a:gd name="connsiteX12" fmla="*/ 0 w 449718"/>
                <a:gd name="connsiteY12" fmla="*/ 224847 h 449718"/>
                <a:gd name="connsiteX13" fmla="*/ 45927 w 449718"/>
                <a:gd name="connsiteY13" fmla="*/ 150748 h 449718"/>
                <a:gd name="connsiteX14" fmla="*/ 65844 w 449718"/>
                <a:gd name="connsiteY14" fmla="*/ 65845 h 449718"/>
                <a:gd name="connsiteX15" fmla="*/ 150748 w 449718"/>
                <a:gd name="connsiteY15" fmla="*/ 45928 h 449718"/>
                <a:gd name="connsiteX16" fmla="*/ 224847 w 449718"/>
                <a:gd name="connsiteY16" fmla="*/ 0 h 449718"/>
                <a:gd name="connsiteX17" fmla="*/ 224847 w 449718"/>
                <a:gd name="connsiteY17" fmla="*/ 0 h 44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49718" h="449718">
                  <a:moveTo>
                    <a:pt x="224847" y="0"/>
                  </a:moveTo>
                  <a:cubicBezTo>
                    <a:pt x="266218" y="0"/>
                    <a:pt x="271841" y="34706"/>
                    <a:pt x="298971" y="45927"/>
                  </a:cubicBezTo>
                  <a:cubicBezTo>
                    <a:pt x="326100" y="57175"/>
                    <a:pt x="354610" y="36606"/>
                    <a:pt x="383848" y="65844"/>
                  </a:cubicBezTo>
                  <a:cubicBezTo>
                    <a:pt x="413086" y="95109"/>
                    <a:pt x="392518" y="123618"/>
                    <a:pt x="403765" y="150747"/>
                  </a:cubicBezTo>
                  <a:cubicBezTo>
                    <a:pt x="415013" y="177877"/>
                    <a:pt x="449719" y="183502"/>
                    <a:pt x="449719" y="224847"/>
                  </a:cubicBezTo>
                  <a:cubicBezTo>
                    <a:pt x="449719" y="266218"/>
                    <a:pt x="415013" y="271841"/>
                    <a:pt x="403765" y="298971"/>
                  </a:cubicBezTo>
                  <a:cubicBezTo>
                    <a:pt x="392518" y="326100"/>
                    <a:pt x="413086" y="354610"/>
                    <a:pt x="383848" y="383848"/>
                  </a:cubicBezTo>
                  <a:cubicBezTo>
                    <a:pt x="354610" y="413086"/>
                    <a:pt x="326100" y="392518"/>
                    <a:pt x="298971" y="403765"/>
                  </a:cubicBezTo>
                  <a:cubicBezTo>
                    <a:pt x="271841" y="415013"/>
                    <a:pt x="266217" y="449719"/>
                    <a:pt x="224847" y="449719"/>
                  </a:cubicBezTo>
                  <a:cubicBezTo>
                    <a:pt x="183502" y="449719"/>
                    <a:pt x="177877" y="415013"/>
                    <a:pt x="150748" y="403765"/>
                  </a:cubicBezTo>
                  <a:cubicBezTo>
                    <a:pt x="123619" y="392518"/>
                    <a:pt x="95109" y="413086"/>
                    <a:pt x="65844" y="383848"/>
                  </a:cubicBezTo>
                  <a:cubicBezTo>
                    <a:pt x="36606" y="354610"/>
                    <a:pt x="57175" y="326100"/>
                    <a:pt x="45927" y="298971"/>
                  </a:cubicBezTo>
                  <a:cubicBezTo>
                    <a:pt x="34706" y="271841"/>
                    <a:pt x="0" y="266217"/>
                    <a:pt x="0" y="224847"/>
                  </a:cubicBezTo>
                  <a:cubicBezTo>
                    <a:pt x="0" y="183502"/>
                    <a:pt x="34706" y="177877"/>
                    <a:pt x="45927" y="150748"/>
                  </a:cubicBezTo>
                  <a:cubicBezTo>
                    <a:pt x="57175" y="123619"/>
                    <a:pt x="36606" y="95109"/>
                    <a:pt x="65844" y="65845"/>
                  </a:cubicBezTo>
                  <a:cubicBezTo>
                    <a:pt x="95109" y="36607"/>
                    <a:pt x="123618" y="57176"/>
                    <a:pt x="150748" y="45928"/>
                  </a:cubicBezTo>
                  <a:cubicBezTo>
                    <a:pt x="177877" y="34706"/>
                    <a:pt x="183502" y="0"/>
                    <a:pt x="224847" y="0"/>
                  </a:cubicBezTo>
                  <a:lnTo>
                    <a:pt x="224847" y="0"/>
                  </a:ln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7" name="Freeform 416">
              <a:extLst>
                <a:ext uri="{FF2B5EF4-FFF2-40B4-BE49-F238E27FC236}">
                  <a16:creationId xmlns:a16="http://schemas.microsoft.com/office/drawing/2014/main" id="{EA3719DB-93AF-C3B0-0270-F6562C1A66D0}"/>
                </a:ext>
              </a:extLst>
            </p:cNvPr>
            <p:cNvSpPr/>
            <p:nvPr/>
          </p:nvSpPr>
          <p:spPr>
            <a:xfrm>
              <a:off x="3740396" y="1073396"/>
              <a:ext cx="302381" cy="302381"/>
            </a:xfrm>
            <a:custGeom>
              <a:avLst/>
              <a:gdLst>
                <a:gd name="connsiteX0" fmla="*/ 151191 w 302381"/>
                <a:gd name="connsiteY0" fmla="*/ 302381 h 302381"/>
                <a:gd name="connsiteX1" fmla="*/ 302381 w 302381"/>
                <a:gd name="connsiteY1" fmla="*/ 151191 h 302381"/>
                <a:gd name="connsiteX2" fmla="*/ 151191 w 302381"/>
                <a:gd name="connsiteY2" fmla="*/ 0 h 302381"/>
                <a:gd name="connsiteX3" fmla="*/ 0 w 302381"/>
                <a:gd name="connsiteY3" fmla="*/ 151191 h 302381"/>
                <a:gd name="connsiteX4" fmla="*/ 151191 w 302381"/>
                <a:gd name="connsiteY4" fmla="*/ 302381 h 302381"/>
                <a:gd name="connsiteX5" fmla="*/ 151191 w 302381"/>
                <a:gd name="connsiteY5" fmla="*/ 302381 h 302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2381" h="302381">
                  <a:moveTo>
                    <a:pt x="151191" y="302381"/>
                  </a:moveTo>
                  <a:cubicBezTo>
                    <a:pt x="234480" y="302381"/>
                    <a:pt x="302381" y="234479"/>
                    <a:pt x="302381" y="151191"/>
                  </a:cubicBezTo>
                  <a:cubicBezTo>
                    <a:pt x="302381" y="67928"/>
                    <a:pt x="234479" y="0"/>
                    <a:pt x="151191" y="0"/>
                  </a:cubicBezTo>
                  <a:cubicBezTo>
                    <a:pt x="67928" y="0"/>
                    <a:pt x="0" y="67928"/>
                    <a:pt x="0" y="151191"/>
                  </a:cubicBezTo>
                  <a:cubicBezTo>
                    <a:pt x="0" y="234479"/>
                    <a:pt x="67928" y="302381"/>
                    <a:pt x="151191" y="302381"/>
                  </a:cubicBezTo>
                  <a:lnTo>
                    <a:pt x="151191" y="302381"/>
                  </a:ln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424" name="Graphic 418">
            <a:extLst>
              <a:ext uri="{FF2B5EF4-FFF2-40B4-BE49-F238E27FC236}">
                <a16:creationId xmlns:a16="http://schemas.microsoft.com/office/drawing/2014/main" id="{E3405EC3-E6A3-154A-CD0C-B0CB4F2D9B43}"/>
              </a:ext>
            </a:extLst>
          </p:cNvPr>
          <p:cNvGrpSpPr/>
          <p:nvPr/>
        </p:nvGrpSpPr>
        <p:grpSpPr>
          <a:xfrm>
            <a:off x="762766" y="2526216"/>
            <a:ext cx="292357" cy="431227"/>
            <a:chOff x="2932506" y="196072"/>
            <a:chExt cx="292357" cy="431227"/>
          </a:xfrm>
          <a:noFill/>
        </p:grpSpPr>
        <p:sp>
          <p:nvSpPr>
            <p:cNvPr id="425" name="Freeform 424">
              <a:extLst>
                <a:ext uri="{FF2B5EF4-FFF2-40B4-BE49-F238E27FC236}">
                  <a16:creationId xmlns:a16="http://schemas.microsoft.com/office/drawing/2014/main" id="{29867C78-9C36-67BB-9442-78A500A67F0A}"/>
                </a:ext>
              </a:extLst>
            </p:cNvPr>
            <p:cNvSpPr/>
            <p:nvPr/>
          </p:nvSpPr>
          <p:spPr>
            <a:xfrm flipV="1">
              <a:off x="2932506" y="196072"/>
              <a:ext cx="292357" cy="365446"/>
            </a:xfrm>
            <a:custGeom>
              <a:avLst/>
              <a:gdLst>
                <a:gd name="connsiteX0" fmla="*/ 29380 w 292357"/>
                <a:gd name="connsiteY0" fmla="*/ 131878 h 365446"/>
                <a:gd name="connsiteX1" fmla="*/ 117139 w 292357"/>
                <a:gd name="connsiteY1" fmla="*/ 14874 h 365446"/>
                <a:gd name="connsiteX2" fmla="*/ 146392 w 292357"/>
                <a:gd name="connsiteY2" fmla="*/ 237 h 365446"/>
                <a:gd name="connsiteX3" fmla="*/ 175645 w 292357"/>
                <a:gd name="connsiteY3" fmla="*/ 14874 h 365446"/>
                <a:gd name="connsiteX4" fmla="*/ 263404 w 292357"/>
                <a:gd name="connsiteY4" fmla="*/ 131878 h 365446"/>
                <a:gd name="connsiteX5" fmla="*/ 292571 w 292357"/>
                <a:gd name="connsiteY5" fmla="*/ 219505 h 365446"/>
                <a:gd name="connsiteX6" fmla="*/ 146392 w 292357"/>
                <a:gd name="connsiteY6" fmla="*/ 365684 h 365446"/>
                <a:gd name="connsiteX7" fmla="*/ 213 w 292357"/>
                <a:gd name="connsiteY7" fmla="*/ 219505 h 365446"/>
                <a:gd name="connsiteX8" fmla="*/ 29380 w 292357"/>
                <a:gd name="connsiteY8" fmla="*/ 131878 h 365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2357" h="365446">
                  <a:moveTo>
                    <a:pt x="29380" y="131878"/>
                  </a:moveTo>
                  <a:lnTo>
                    <a:pt x="117139" y="14874"/>
                  </a:lnTo>
                  <a:cubicBezTo>
                    <a:pt x="123805" y="5988"/>
                    <a:pt x="134427" y="237"/>
                    <a:pt x="146392" y="237"/>
                  </a:cubicBezTo>
                  <a:cubicBezTo>
                    <a:pt x="158357" y="237"/>
                    <a:pt x="168978" y="5988"/>
                    <a:pt x="175645" y="14874"/>
                  </a:cubicBezTo>
                  <a:lnTo>
                    <a:pt x="263404" y="131878"/>
                  </a:lnTo>
                  <a:cubicBezTo>
                    <a:pt x="281719" y="156295"/>
                    <a:pt x="292571" y="186633"/>
                    <a:pt x="292571" y="219505"/>
                  </a:cubicBezTo>
                  <a:cubicBezTo>
                    <a:pt x="292571" y="300237"/>
                    <a:pt x="227125" y="365684"/>
                    <a:pt x="146392" y="365684"/>
                  </a:cubicBezTo>
                  <a:cubicBezTo>
                    <a:pt x="65659" y="365684"/>
                    <a:pt x="213" y="300237"/>
                    <a:pt x="213" y="219505"/>
                  </a:cubicBezTo>
                  <a:cubicBezTo>
                    <a:pt x="213" y="186633"/>
                    <a:pt x="11065" y="156295"/>
                    <a:pt x="29380" y="131878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6" name="Freeform 425">
              <a:extLst>
                <a:ext uri="{FF2B5EF4-FFF2-40B4-BE49-F238E27FC236}">
                  <a16:creationId xmlns:a16="http://schemas.microsoft.com/office/drawing/2014/main" id="{B0806C01-5D98-214B-4734-F58E8745D4FA}"/>
                </a:ext>
              </a:extLst>
            </p:cNvPr>
            <p:cNvSpPr/>
            <p:nvPr/>
          </p:nvSpPr>
          <p:spPr>
            <a:xfrm flipV="1">
              <a:off x="3042141" y="305706"/>
              <a:ext cx="73089" cy="73089"/>
            </a:xfrm>
            <a:custGeom>
              <a:avLst/>
              <a:gdLst>
                <a:gd name="connsiteX0" fmla="*/ 73471 w 73089"/>
                <a:gd name="connsiteY0" fmla="*/ 36785 h 73089"/>
                <a:gd name="connsiteX1" fmla="*/ 36926 w 73089"/>
                <a:gd name="connsiteY1" fmla="*/ 240 h 73089"/>
                <a:gd name="connsiteX2" fmla="*/ 381 w 73089"/>
                <a:gd name="connsiteY2" fmla="*/ 36785 h 73089"/>
                <a:gd name="connsiteX3" fmla="*/ 36926 w 73089"/>
                <a:gd name="connsiteY3" fmla="*/ 73329 h 73089"/>
                <a:gd name="connsiteX4" fmla="*/ 73471 w 73089"/>
                <a:gd name="connsiteY4" fmla="*/ 36785 h 73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089" h="73089">
                  <a:moveTo>
                    <a:pt x="73471" y="36785"/>
                  </a:moveTo>
                  <a:cubicBezTo>
                    <a:pt x="73471" y="16602"/>
                    <a:pt x="57109" y="240"/>
                    <a:pt x="36926" y="240"/>
                  </a:cubicBezTo>
                  <a:cubicBezTo>
                    <a:pt x="16743" y="240"/>
                    <a:pt x="381" y="16602"/>
                    <a:pt x="381" y="36785"/>
                  </a:cubicBezTo>
                  <a:cubicBezTo>
                    <a:pt x="381" y="56967"/>
                    <a:pt x="16743" y="73329"/>
                    <a:pt x="36926" y="73329"/>
                  </a:cubicBezTo>
                  <a:cubicBezTo>
                    <a:pt x="57109" y="73329"/>
                    <a:pt x="73471" y="56967"/>
                    <a:pt x="73471" y="36785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7" name="Freeform 426">
              <a:extLst>
                <a:ext uri="{FF2B5EF4-FFF2-40B4-BE49-F238E27FC236}">
                  <a16:creationId xmlns:a16="http://schemas.microsoft.com/office/drawing/2014/main" id="{2632B996-3D57-76A2-8746-60564D16500D}"/>
                </a:ext>
              </a:extLst>
            </p:cNvPr>
            <p:cNvSpPr/>
            <p:nvPr/>
          </p:nvSpPr>
          <p:spPr>
            <a:xfrm flipV="1">
              <a:off x="3005596" y="627299"/>
              <a:ext cx="146178" cy="685"/>
            </a:xfrm>
            <a:custGeom>
              <a:avLst/>
              <a:gdLst>
                <a:gd name="connsiteX0" fmla="*/ 261 w 146178"/>
                <a:gd name="connsiteY0" fmla="*/ 656 h 685"/>
                <a:gd name="connsiteX1" fmla="*/ 146440 w 146178"/>
                <a:gd name="connsiteY1" fmla="*/ 656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178" h="685">
                  <a:moveTo>
                    <a:pt x="261" y="656"/>
                  </a:moveTo>
                  <a:lnTo>
                    <a:pt x="146440" y="656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437" name="Graphic 428">
            <a:extLst>
              <a:ext uri="{FF2B5EF4-FFF2-40B4-BE49-F238E27FC236}">
                <a16:creationId xmlns:a16="http://schemas.microsoft.com/office/drawing/2014/main" id="{7158FFB4-179B-8D60-0AD6-805DA21606DA}"/>
              </a:ext>
            </a:extLst>
          </p:cNvPr>
          <p:cNvGrpSpPr/>
          <p:nvPr/>
        </p:nvGrpSpPr>
        <p:grpSpPr>
          <a:xfrm>
            <a:off x="6278407" y="2521650"/>
            <a:ext cx="350829" cy="440358"/>
            <a:chOff x="2903271" y="191506"/>
            <a:chExt cx="350829" cy="440358"/>
          </a:xfrm>
          <a:noFill/>
        </p:grpSpPr>
        <p:sp>
          <p:nvSpPr>
            <p:cNvPr id="438" name="Freeform 437">
              <a:extLst>
                <a:ext uri="{FF2B5EF4-FFF2-40B4-BE49-F238E27FC236}">
                  <a16:creationId xmlns:a16="http://schemas.microsoft.com/office/drawing/2014/main" id="{238D3765-35C4-3790-99D3-4E951BCFE149}"/>
                </a:ext>
              </a:extLst>
            </p:cNvPr>
            <p:cNvSpPr/>
            <p:nvPr/>
          </p:nvSpPr>
          <p:spPr>
            <a:xfrm flipV="1">
              <a:off x="2958088" y="209777"/>
              <a:ext cx="296011" cy="364532"/>
            </a:xfrm>
            <a:custGeom>
              <a:avLst/>
              <a:gdLst>
                <a:gd name="connsiteX0" fmla="*/ 219 w 296011"/>
                <a:gd name="connsiteY0" fmla="*/ 365045 h 364532"/>
                <a:gd name="connsiteX1" fmla="*/ 296231 w 296011"/>
                <a:gd name="connsiteY1" fmla="*/ 365045 h 364532"/>
                <a:gd name="connsiteX2" fmla="*/ 296231 w 296011"/>
                <a:gd name="connsiteY2" fmla="*/ 512 h 364532"/>
                <a:gd name="connsiteX3" fmla="*/ 219 w 296011"/>
                <a:gd name="connsiteY3" fmla="*/ 512 h 364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011" h="364532">
                  <a:moveTo>
                    <a:pt x="219" y="365045"/>
                  </a:moveTo>
                  <a:lnTo>
                    <a:pt x="296231" y="365045"/>
                  </a:lnTo>
                  <a:lnTo>
                    <a:pt x="296231" y="512"/>
                  </a:lnTo>
                  <a:lnTo>
                    <a:pt x="219" y="512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9" name="Freeform 438">
              <a:extLst>
                <a:ext uri="{FF2B5EF4-FFF2-40B4-BE49-F238E27FC236}">
                  <a16:creationId xmlns:a16="http://schemas.microsoft.com/office/drawing/2014/main" id="{D921E338-58FD-681E-625E-805A8E0921ED}"/>
                </a:ext>
              </a:extLst>
            </p:cNvPr>
            <p:cNvSpPr/>
            <p:nvPr/>
          </p:nvSpPr>
          <p:spPr>
            <a:xfrm flipV="1">
              <a:off x="2903271" y="574309"/>
              <a:ext cx="322506" cy="57556"/>
            </a:xfrm>
            <a:custGeom>
              <a:avLst/>
              <a:gdLst>
                <a:gd name="connsiteX0" fmla="*/ 144 w 322506"/>
                <a:gd name="connsiteY0" fmla="*/ 58208 h 57556"/>
                <a:gd name="connsiteX1" fmla="*/ 144 w 322506"/>
                <a:gd name="connsiteY1" fmla="*/ 46333 h 57556"/>
                <a:gd name="connsiteX2" fmla="*/ 45825 w 322506"/>
                <a:gd name="connsiteY2" fmla="*/ 652 h 57556"/>
                <a:gd name="connsiteX3" fmla="*/ 322651 w 322506"/>
                <a:gd name="connsiteY3" fmla="*/ 652 h 57556"/>
                <a:gd name="connsiteX4" fmla="*/ 322651 w 322506"/>
                <a:gd name="connsiteY4" fmla="*/ 49985 h 57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2506" h="57556">
                  <a:moveTo>
                    <a:pt x="144" y="58208"/>
                  </a:moveTo>
                  <a:lnTo>
                    <a:pt x="144" y="46333"/>
                  </a:lnTo>
                  <a:cubicBezTo>
                    <a:pt x="144" y="21174"/>
                    <a:pt x="20665" y="652"/>
                    <a:pt x="45825" y="652"/>
                  </a:cubicBezTo>
                  <a:lnTo>
                    <a:pt x="322651" y="652"/>
                  </a:lnTo>
                  <a:lnTo>
                    <a:pt x="322651" y="49985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0" name="Freeform 439">
              <a:extLst>
                <a:ext uri="{FF2B5EF4-FFF2-40B4-BE49-F238E27FC236}">
                  <a16:creationId xmlns:a16="http://schemas.microsoft.com/office/drawing/2014/main" id="{9EED3F50-24BE-AC55-9368-668116512063}"/>
                </a:ext>
              </a:extLst>
            </p:cNvPr>
            <p:cNvSpPr/>
            <p:nvPr/>
          </p:nvSpPr>
          <p:spPr>
            <a:xfrm flipV="1">
              <a:off x="2903271" y="191506"/>
              <a:ext cx="54816" cy="382799"/>
            </a:xfrm>
            <a:custGeom>
              <a:avLst/>
              <a:gdLst>
                <a:gd name="connsiteX0" fmla="*/ 27534 w 54816"/>
                <a:gd name="connsiteY0" fmla="*/ 383309 h 382799"/>
                <a:gd name="connsiteX1" fmla="*/ 27534 w 54816"/>
                <a:gd name="connsiteY1" fmla="*/ 383309 h 382799"/>
                <a:gd name="connsiteX2" fmla="*/ 54942 w 54816"/>
                <a:gd name="connsiteY2" fmla="*/ 355900 h 382799"/>
                <a:gd name="connsiteX3" fmla="*/ 54942 w 54816"/>
                <a:gd name="connsiteY3" fmla="*/ 509 h 382799"/>
                <a:gd name="connsiteX4" fmla="*/ 53955 w 54816"/>
                <a:gd name="connsiteY4" fmla="*/ 509 h 382799"/>
                <a:gd name="connsiteX5" fmla="*/ 27534 w 54816"/>
                <a:gd name="connsiteY5" fmla="*/ 20607 h 382799"/>
                <a:gd name="connsiteX6" fmla="*/ 1113 w 54816"/>
                <a:gd name="connsiteY6" fmla="*/ 509 h 382799"/>
                <a:gd name="connsiteX7" fmla="*/ 125 w 54816"/>
                <a:gd name="connsiteY7" fmla="*/ 509 h 382799"/>
                <a:gd name="connsiteX8" fmla="*/ 125 w 54816"/>
                <a:gd name="connsiteY8" fmla="*/ 355900 h 382799"/>
                <a:gd name="connsiteX9" fmla="*/ 27534 w 54816"/>
                <a:gd name="connsiteY9" fmla="*/ 383309 h 382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816" h="382799">
                  <a:moveTo>
                    <a:pt x="27534" y="383309"/>
                  </a:moveTo>
                  <a:lnTo>
                    <a:pt x="27534" y="383309"/>
                  </a:lnTo>
                  <a:cubicBezTo>
                    <a:pt x="42608" y="383309"/>
                    <a:pt x="54942" y="370971"/>
                    <a:pt x="54942" y="355900"/>
                  </a:cubicBezTo>
                  <a:lnTo>
                    <a:pt x="54942" y="509"/>
                  </a:lnTo>
                  <a:lnTo>
                    <a:pt x="53955" y="509"/>
                  </a:lnTo>
                  <a:cubicBezTo>
                    <a:pt x="50755" y="12096"/>
                    <a:pt x="40139" y="20607"/>
                    <a:pt x="27534" y="20607"/>
                  </a:cubicBezTo>
                  <a:cubicBezTo>
                    <a:pt x="14929" y="20607"/>
                    <a:pt x="4312" y="12096"/>
                    <a:pt x="1113" y="509"/>
                  </a:cubicBezTo>
                  <a:lnTo>
                    <a:pt x="125" y="509"/>
                  </a:lnTo>
                  <a:lnTo>
                    <a:pt x="125" y="355900"/>
                  </a:lnTo>
                  <a:cubicBezTo>
                    <a:pt x="125" y="370976"/>
                    <a:pt x="12459" y="383309"/>
                    <a:pt x="27534" y="383309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1" name="Freeform 440">
              <a:extLst>
                <a:ext uri="{FF2B5EF4-FFF2-40B4-BE49-F238E27FC236}">
                  <a16:creationId xmlns:a16="http://schemas.microsoft.com/office/drawing/2014/main" id="{166915B2-E163-1EE8-F83C-A112803BEEFB}"/>
                </a:ext>
              </a:extLst>
            </p:cNvPr>
            <p:cNvSpPr/>
            <p:nvPr/>
          </p:nvSpPr>
          <p:spPr>
            <a:xfrm flipV="1">
              <a:off x="3012848" y="264590"/>
              <a:ext cx="186377" cy="137042"/>
            </a:xfrm>
            <a:custGeom>
              <a:avLst/>
              <a:gdLst>
                <a:gd name="connsiteX0" fmla="*/ 95 w 186377"/>
                <a:gd name="connsiteY0" fmla="*/ -115 h 137042"/>
                <a:gd name="connsiteX1" fmla="*/ 186473 w 186377"/>
                <a:gd name="connsiteY1" fmla="*/ -115 h 137042"/>
                <a:gd name="connsiteX2" fmla="*/ 186473 w 186377"/>
                <a:gd name="connsiteY2" fmla="*/ 136927 h 137042"/>
                <a:gd name="connsiteX3" fmla="*/ 95 w 186377"/>
                <a:gd name="connsiteY3" fmla="*/ 136927 h 137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6377" h="137042">
                  <a:moveTo>
                    <a:pt x="95" y="-115"/>
                  </a:moveTo>
                  <a:lnTo>
                    <a:pt x="186473" y="-115"/>
                  </a:lnTo>
                  <a:lnTo>
                    <a:pt x="186473" y="136927"/>
                  </a:lnTo>
                  <a:lnTo>
                    <a:pt x="95" y="136927"/>
                  </a:ln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2" name="Freeform 441">
              <a:extLst>
                <a:ext uri="{FF2B5EF4-FFF2-40B4-BE49-F238E27FC236}">
                  <a16:creationId xmlns:a16="http://schemas.microsoft.com/office/drawing/2014/main" id="{5B255C16-E924-A73A-6B43-790E287E733F}"/>
                </a:ext>
              </a:extLst>
            </p:cNvPr>
            <p:cNvSpPr/>
            <p:nvPr/>
          </p:nvSpPr>
          <p:spPr>
            <a:xfrm flipV="1">
              <a:off x="3012848" y="456449"/>
              <a:ext cx="186375" cy="685"/>
            </a:xfrm>
            <a:custGeom>
              <a:avLst/>
              <a:gdLst>
                <a:gd name="connsiteX0" fmla="*/ 279 w 186375"/>
                <a:gd name="connsiteY0" fmla="*/ 407 h 685"/>
                <a:gd name="connsiteX1" fmla="*/ 186655 w 186375"/>
                <a:gd name="connsiteY1" fmla="*/ 407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375" h="685">
                  <a:moveTo>
                    <a:pt x="279" y="407"/>
                  </a:moveTo>
                  <a:lnTo>
                    <a:pt x="186655" y="407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3" name="Freeform 442">
              <a:extLst>
                <a:ext uri="{FF2B5EF4-FFF2-40B4-BE49-F238E27FC236}">
                  <a16:creationId xmlns:a16="http://schemas.microsoft.com/office/drawing/2014/main" id="{8EC64AB5-4F89-A47C-5FD9-1B0E8EA29190}"/>
                </a:ext>
              </a:extLst>
            </p:cNvPr>
            <p:cNvSpPr/>
            <p:nvPr/>
          </p:nvSpPr>
          <p:spPr>
            <a:xfrm flipV="1">
              <a:off x="3012848" y="511266"/>
              <a:ext cx="186375" cy="685"/>
            </a:xfrm>
            <a:custGeom>
              <a:avLst/>
              <a:gdLst>
                <a:gd name="connsiteX0" fmla="*/ 279 w 186375"/>
                <a:gd name="connsiteY0" fmla="*/ 487 h 685"/>
                <a:gd name="connsiteX1" fmla="*/ 186655 w 186375"/>
                <a:gd name="connsiteY1" fmla="*/ 487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375" h="685">
                  <a:moveTo>
                    <a:pt x="279" y="487"/>
                  </a:moveTo>
                  <a:lnTo>
                    <a:pt x="186655" y="487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446" name="Graphic 444">
            <a:extLst>
              <a:ext uri="{FF2B5EF4-FFF2-40B4-BE49-F238E27FC236}">
                <a16:creationId xmlns:a16="http://schemas.microsoft.com/office/drawing/2014/main" id="{6DC08F77-A107-0193-DD81-49D479EC7DDA}"/>
              </a:ext>
            </a:extLst>
          </p:cNvPr>
          <p:cNvGrpSpPr/>
          <p:nvPr/>
        </p:nvGrpSpPr>
        <p:grpSpPr>
          <a:xfrm>
            <a:off x="2076312" y="3636272"/>
            <a:ext cx="440363" cy="440363"/>
            <a:chOff x="2858504" y="191504"/>
            <a:chExt cx="440363" cy="440363"/>
          </a:xfrm>
          <a:noFill/>
        </p:grpSpPr>
        <p:sp>
          <p:nvSpPr>
            <p:cNvPr id="447" name="Freeform 446">
              <a:extLst>
                <a:ext uri="{FF2B5EF4-FFF2-40B4-BE49-F238E27FC236}">
                  <a16:creationId xmlns:a16="http://schemas.microsoft.com/office/drawing/2014/main" id="{3DB90F5A-2B9D-4854-C962-B5AF9F4984AA}"/>
                </a:ext>
              </a:extLst>
            </p:cNvPr>
            <p:cNvSpPr/>
            <p:nvPr/>
          </p:nvSpPr>
          <p:spPr>
            <a:xfrm flipV="1">
              <a:off x="2980015" y="598063"/>
              <a:ext cx="32890" cy="33803"/>
            </a:xfrm>
            <a:custGeom>
              <a:avLst/>
              <a:gdLst>
                <a:gd name="connsiteX0" fmla="*/ 33130 w 32890"/>
                <a:gd name="connsiteY0" fmla="*/ 620 h 33803"/>
                <a:gd name="connsiteX1" fmla="*/ 239 w 32890"/>
                <a:gd name="connsiteY1" fmla="*/ 34423 h 33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890" h="33803">
                  <a:moveTo>
                    <a:pt x="33130" y="620"/>
                  </a:moveTo>
                  <a:lnTo>
                    <a:pt x="239" y="34423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8" name="Freeform 447">
              <a:extLst>
                <a:ext uri="{FF2B5EF4-FFF2-40B4-BE49-F238E27FC236}">
                  <a16:creationId xmlns:a16="http://schemas.microsoft.com/office/drawing/2014/main" id="{60898CAB-1929-C47F-D118-68C15CC0F51C}"/>
                </a:ext>
              </a:extLst>
            </p:cNvPr>
            <p:cNvSpPr/>
            <p:nvPr/>
          </p:nvSpPr>
          <p:spPr>
            <a:xfrm flipV="1">
              <a:off x="2858504" y="470156"/>
              <a:ext cx="161710" cy="161710"/>
            </a:xfrm>
            <a:custGeom>
              <a:avLst/>
              <a:gdLst>
                <a:gd name="connsiteX0" fmla="*/ 18234 w 161710"/>
                <a:gd name="connsiteY0" fmla="*/ 18641 h 161710"/>
                <a:gd name="connsiteX1" fmla="*/ 106855 w 161710"/>
                <a:gd name="connsiteY1" fmla="*/ 18641 h 161710"/>
                <a:gd name="connsiteX2" fmla="*/ 161780 w 161710"/>
                <a:gd name="connsiteY2" fmla="*/ 74479 h 161710"/>
                <a:gd name="connsiteX3" fmla="*/ 74073 w 161710"/>
                <a:gd name="connsiteY3" fmla="*/ 162186 h 161710"/>
                <a:gd name="connsiteX4" fmla="*/ 18234 w 161710"/>
                <a:gd name="connsiteY4" fmla="*/ 107262 h 161710"/>
                <a:gd name="connsiteX5" fmla="*/ 18234 w 161710"/>
                <a:gd name="connsiteY5" fmla="*/ 18641 h 161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1710" h="161710">
                  <a:moveTo>
                    <a:pt x="18234" y="18641"/>
                  </a:moveTo>
                  <a:cubicBezTo>
                    <a:pt x="42387" y="-5512"/>
                    <a:pt x="82568" y="-5646"/>
                    <a:pt x="106855" y="18641"/>
                  </a:cubicBezTo>
                  <a:lnTo>
                    <a:pt x="161780" y="74479"/>
                  </a:lnTo>
                  <a:lnTo>
                    <a:pt x="74073" y="162186"/>
                  </a:lnTo>
                  <a:lnTo>
                    <a:pt x="18234" y="107262"/>
                  </a:lnTo>
                  <a:cubicBezTo>
                    <a:pt x="-5986" y="83042"/>
                    <a:pt x="-5986" y="42861"/>
                    <a:pt x="18234" y="18641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9" name="Freeform 448">
              <a:extLst>
                <a:ext uri="{FF2B5EF4-FFF2-40B4-BE49-F238E27FC236}">
                  <a16:creationId xmlns:a16="http://schemas.microsoft.com/office/drawing/2014/main" id="{2E98512F-6E4A-5A20-84C0-B97A7B03C6A1}"/>
                </a:ext>
              </a:extLst>
            </p:cNvPr>
            <p:cNvSpPr/>
            <p:nvPr/>
          </p:nvSpPr>
          <p:spPr>
            <a:xfrm flipV="1">
              <a:off x="2932507" y="360523"/>
              <a:ext cx="197341" cy="197341"/>
            </a:xfrm>
            <a:custGeom>
              <a:avLst/>
              <a:gdLst>
                <a:gd name="connsiteX0" fmla="*/ 87967 w 197341"/>
                <a:gd name="connsiteY0" fmla="*/ 303 h 197341"/>
                <a:gd name="connsiteX1" fmla="*/ 197601 w 197341"/>
                <a:gd name="connsiteY1" fmla="*/ 36847 h 197341"/>
                <a:gd name="connsiteX2" fmla="*/ 36805 w 197341"/>
                <a:gd name="connsiteY2" fmla="*/ 197644 h 197341"/>
                <a:gd name="connsiteX3" fmla="*/ 260 w 197341"/>
                <a:gd name="connsiteY3" fmla="*/ 88010 h 197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341" h="197341">
                  <a:moveTo>
                    <a:pt x="87967" y="303"/>
                  </a:moveTo>
                  <a:lnTo>
                    <a:pt x="197601" y="36847"/>
                  </a:lnTo>
                  <a:lnTo>
                    <a:pt x="36805" y="197644"/>
                  </a:lnTo>
                  <a:lnTo>
                    <a:pt x="260" y="88010"/>
                  </a:ln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0" name="Freeform 449">
              <a:extLst>
                <a:ext uri="{FF2B5EF4-FFF2-40B4-BE49-F238E27FC236}">
                  <a16:creationId xmlns:a16="http://schemas.microsoft.com/office/drawing/2014/main" id="{10719015-3C6C-66D0-891E-F45AB53FCBD3}"/>
                </a:ext>
              </a:extLst>
            </p:cNvPr>
            <p:cNvSpPr/>
            <p:nvPr/>
          </p:nvSpPr>
          <p:spPr>
            <a:xfrm flipV="1">
              <a:off x="3064067" y="191504"/>
              <a:ext cx="234799" cy="234799"/>
            </a:xfrm>
            <a:custGeom>
              <a:avLst/>
              <a:gdLst>
                <a:gd name="connsiteX0" fmla="*/ 235419 w 234799"/>
                <a:gd name="connsiteY0" fmla="*/ 117134 h 234799"/>
                <a:gd name="connsiteX1" fmla="*/ 117563 w 234799"/>
                <a:gd name="connsiteY1" fmla="*/ 191 h 234799"/>
                <a:gd name="connsiteX2" fmla="*/ 620 w 234799"/>
                <a:gd name="connsiteY2" fmla="*/ 117134 h 234799"/>
                <a:gd name="connsiteX3" fmla="*/ 117563 w 234799"/>
                <a:gd name="connsiteY3" fmla="*/ 234990 h 234799"/>
                <a:gd name="connsiteX4" fmla="*/ 235419 w 234799"/>
                <a:gd name="connsiteY4" fmla="*/ 117134 h 234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4799" h="234799">
                  <a:moveTo>
                    <a:pt x="235419" y="117134"/>
                  </a:moveTo>
                  <a:cubicBezTo>
                    <a:pt x="235419" y="52548"/>
                    <a:pt x="182148" y="191"/>
                    <a:pt x="117563" y="191"/>
                  </a:cubicBezTo>
                  <a:cubicBezTo>
                    <a:pt x="52977" y="191"/>
                    <a:pt x="620" y="52548"/>
                    <a:pt x="620" y="117134"/>
                  </a:cubicBezTo>
                  <a:cubicBezTo>
                    <a:pt x="620" y="181719"/>
                    <a:pt x="52977" y="234990"/>
                    <a:pt x="117563" y="234990"/>
                  </a:cubicBezTo>
                  <a:cubicBezTo>
                    <a:pt x="182148" y="234990"/>
                    <a:pt x="235419" y="181719"/>
                    <a:pt x="235419" y="117134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1" name="Freeform 450">
              <a:extLst>
                <a:ext uri="{FF2B5EF4-FFF2-40B4-BE49-F238E27FC236}">
                  <a16:creationId xmlns:a16="http://schemas.microsoft.com/office/drawing/2014/main" id="{5808A5C9-C7E0-0042-DE2D-C54C01A0119D}"/>
                </a:ext>
              </a:extLst>
            </p:cNvPr>
            <p:cNvSpPr/>
            <p:nvPr/>
          </p:nvSpPr>
          <p:spPr>
            <a:xfrm flipV="1">
              <a:off x="3155456" y="260305"/>
              <a:ext cx="52368" cy="97185"/>
            </a:xfrm>
            <a:custGeom>
              <a:avLst/>
              <a:gdLst>
                <a:gd name="connsiteX0" fmla="*/ 45945 w 52368"/>
                <a:gd name="connsiteY0" fmla="*/ 90973 h 97185"/>
                <a:gd name="connsiteX1" fmla="*/ 18104 w 52368"/>
                <a:gd name="connsiteY1" fmla="*/ 95991 h 97185"/>
                <a:gd name="connsiteX2" fmla="*/ 9285 w 52368"/>
                <a:gd name="connsiteY2" fmla="*/ 61841 h 97185"/>
                <a:gd name="connsiteX3" fmla="*/ 36706 w 52368"/>
                <a:gd name="connsiteY3" fmla="*/ 48858 h 97185"/>
                <a:gd name="connsiteX4" fmla="*/ 26084 w 52368"/>
                <a:gd name="connsiteY4" fmla="*/ 242 h 97185"/>
                <a:gd name="connsiteX5" fmla="*/ 513 w 52368"/>
                <a:gd name="connsiteY5" fmla="*/ 7125 h 97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368" h="97185">
                  <a:moveTo>
                    <a:pt x="45945" y="90973"/>
                  </a:moveTo>
                  <a:cubicBezTo>
                    <a:pt x="45945" y="90973"/>
                    <a:pt x="34990" y="101078"/>
                    <a:pt x="18104" y="95991"/>
                  </a:cubicBezTo>
                  <a:cubicBezTo>
                    <a:pt x="2599" y="91320"/>
                    <a:pt x="-1252" y="70106"/>
                    <a:pt x="9285" y="61841"/>
                  </a:cubicBezTo>
                  <a:cubicBezTo>
                    <a:pt x="15335" y="57096"/>
                    <a:pt x="24438" y="53195"/>
                    <a:pt x="36706" y="48858"/>
                  </a:cubicBezTo>
                  <a:cubicBezTo>
                    <a:pt x="64165" y="39152"/>
                    <a:pt x="54015" y="429"/>
                    <a:pt x="26084" y="242"/>
                  </a:cubicBezTo>
                  <a:cubicBezTo>
                    <a:pt x="15184" y="169"/>
                    <a:pt x="10087" y="862"/>
                    <a:pt x="513" y="7125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2" name="Freeform 451">
              <a:extLst>
                <a:ext uri="{FF2B5EF4-FFF2-40B4-BE49-F238E27FC236}">
                  <a16:creationId xmlns:a16="http://schemas.microsoft.com/office/drawing/2014/main" id="{3EEC7F40-E889-9F51-83A5-43711AD6F912}"/>
                </a:ext>
              </a:extLst>
            </p:cNvPr>
            <p:cNvSpPr/>
            <p:nvPr/>
          </p:nvSpPr>
          <p:spPr>
            <a:xfrm flipV="1">
              <a:off x="3181029" y="357489"/>
              <a:ext cx="685" cy="14133"/>
            </a:xfrm>
            <a:custGeom>
              <a:avLst/>
              <a:gdLst>
                <a:gd name="connsiteX0" fmla="*/ 491 w 685"/>
                <a:gd name="connsiteY0" fmla="*/ 265 h 14133"/>
                <a:gd name="connsiteX1" fmla="*/ 491 w 685"/>
                <a:gd name="connsiteY1" fmla="*/ 14398 h 14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5" h="14133">
                  <a:moveTo>
                    <a:pt x="491" y="265"/>
                  </a:moveTo>
                  <a:lnTo>
                    <a:pt x="491" y="14398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3" name="Freeform 452">
              <a:extLst>
                <a:ext uri="{FF2B5EF4-FFF2-40B4-BE49-F238E27FC236}">
                  <a16:creationId xmlns:a16="http://schemas.microsoft.com/office/drawing/2014/main" id="{3AD007BD-70F6-B1BC-4788-44867F327B7A}"/>
                </a:ext>
              </a:extLst>
            </p:cNvPr>
            <p:cNvSpPr/>
            <p:nvPr/>
          </p:nvSpPr>
          <p:spPr>
            <a:xfrm flipV="1">
              <a:off x="3181029" y="247234"/>
              <a:ext cx="685" cy="13110"/>
            </a:xfrm>
            <a:custGeom>
              <a:avLst/>
              <a:gdLst>
                <a:gd name="connsiteX0" fmla="*/ 491 w 685"/>
                <a:gd name="connsiteY0" fmla="*/ 104 h 13110"/>
                <a:gd name="connsiteX1" fmla="*/ 491 w 685"/>
                <a:gd name="connsiteY1" fmla="*/ 13214 h 13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5" h="13110">
                  <a:moveTo>
                    <a:pt x="491" y="104"/>
                  </a:moveTo>
                  <a:lnTo>
                    <a:pt x="491" y="13214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466" name="Graphic 454">
            <a:extLst>
              <a:ext uri="{FF2B5EF4-FFF2-40B4-BE49-F238E27FC236}">
                <a16:creationId xmlns:a16="http://schemas.microsoft.com/office/drawing/2014/main" id="{CA4B461C-2005-91F7-E419-C7791DF81672}"/>
              </a:ext>
            </a:extLst>
          </p:cNvPr>
          <p:cNvGrpSpPr/>
          <p:nvPr/>
        </p:nvGrpSpPr>
        <p:grpSpPr>
          <a:xfrm>
            <a:off x="1474632" y="1410907"/>
            <a:ext cx="261486" cy="440363"/>
            <a:chOff x="2947942" y="191504"/>
            <a:chExt cx="261486" cy="440363"/>
          </a:xfrm>
          <a:noFill/>
        </p:grpSpPr>
        <p:sp>
          <p:nvSpPr>
            <p:cNvPr id="467" name="Freeform 466">
              <a:extLst>
                <a:ext uri="{FF2B5EF4-FFF2-40B4-BE49-F238E27FC236}">
                  <a16:creationId xmlns:a16="http://schemas.microsoft.com/office/drawing/2014/main" id="{1CBD00D3-C826-59EE-4342-1059AC51AD5B}"/>
                </a:ext>
              </a:extLst>
            </p:cNvPr>
            <p:cNvSpPr/>
            <p:nvPr/>
          </p:nvSpPr>
          <p:spPr>
            <a:xfrm flipV="1">
              <a:off x="2947942" y="452798"/>
              <a:ext cx="261486" cy="95929"/>
            </a:xfrm>
            <a:custGeom>
              <a:avLst/>
              <a:gdLst>
                <a:gd name="connsiteX0" fmla="*/ 261971 w 261486"/>
                <a:gd name="connsiteY0" fmla="*/ 96454 h 95929"/>
                <a:gd name="connsiteX1" fmla="*/ 131228 w 261486"/>
                <a:gd name="connsiteY1" fmla="*/ 524 h 95929"/>
                <a:gd name="connsiteX2" fmla="*/ 484 w 261486"/>
                <a:gd name="connsiteY2" fmla="*/ 96454 h 95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1486" h="95929">
                  <a:moveTo>
                    <a:pt x="261971" y="96454"/>
                  </a:moveTo>
                  <a:cubicBezTo>
                    <a:pt x="244466" y="40914"/>
                    <a:pt x="192471" y="524"/>
                    <a:pt x="131228" y="524"/>
                  </a:cubicBezTo>
                  <a:cubicBezTo>
                    <a:pt x="69984" y="524"/>
                    <a:pt x="17989" y="40914"/>
                    <a:pt x="484" y="96454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8" name="Freeform 467">
              <a:extLst>
                <a:ext uri="{FF2B5EF4-FFF2-40B4-BE49-F238E27FC236}">
                  <a16:creationId xmlns:a16="http://schemas.microsoft.com/office/drawing/2014/main" id="{7404EB6E-A3F5-F8F7-604A-9D4E0CB56505}"/>
                </a:ext>
              </a:extLst>
            </p:cNvPr>
            <p:cNvSpPr/>
            <p:nvPr/>
          </p:nvSpPr>
          <p:spPr>
            <a:xfrm flipV="1">
              <a:off x="2996460" y="191504"/>
              <a:ext cx="164450" cy="302407"/>
            </a:xfrm>
            <a:custGeom>
              <a:avLst/>
              <a:gdLst>
                <a:gd name="connsiteX0" fmla="*/ 164882 w 164450"/>
                <a:gd name="connsiteY0" fmla="*/ 82391 h 302407"/>
                <a:gd name="connsiteX1" fmla="*/ 82657 w 164450"/>
                <a:gd name="connsiteY1" fmla="*/ 165 h 302407"/>
                <a:gd name="connsiteX2" fmla="*/ 431 w 164450"/>
                <a:gd name="connsiteY2" fmla="*/ 82391 h 302407"/>
                <a:gd name="connsiteX3" fmla="*/ 431 w 164450"/>
                <a:gd name="connsiteY3" fmla="*/ 219433 h 302407"/>
                <a:gd name="connsiteX4" fmla="*/ 82657 w 164450"/>
                <a:gd name="connsiteY4" fmla="*/ 302572 h 302407"/>
                <a:gd name="connsiteX5" fmla="*/ 164882 w 164450"/>
                <a:gd name="connsiteY5" fmla="*/ 219433 h 302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450" h="302407">
                  <a:moveTo>
                    <a:pt x="164882" y="82391"/>
                  </a:moveTo>
                  <a:cubicBezTo>
                    <a:pt x="164882" y="36978"/>
                    <a:pt x="128069" y="165"/>
                    <a:pt x="82657" y="165"/>
                  </a:cubicBezTo>
                  <a:cubicBezTo>
                    <a:pt x="37245" y="165"/>
                    <a:pt x="431" y="36978"/>
                    <a:pt x="431" y="82391"/>
                  </a:cubicBezTo>
                  <a:lnTo>
                    <a:pt x="431" y="219433"/>
                  </a:lnTo>
                  <a:cubicBezTo>
                    <a:pt x="431" y="264845"/>
                    <a:pt x="37245" y="302572"/>
                    <a:pt x="82657" y="302572"/>
                  </a:cubicBezTo>
                  <a:cubicBezTo>
                    <a:pt x="128069" y="302572"/>
                    <a:pt x="164882" y="264845"/>
                    <a:pt x="164882" y="219433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9" name="Freeform 468">
              <a:extLst>
                <a:ext uri="{FF2B5EF4-FFF2-40B4-BE49-F238E27FC236}">
                  <a16:creationId xmlns:a16="http://schemas.microsoft.com/office/drawing/2014/main" id="{ADACE990-55FA-7B93-A21A-611B77ADFF10}"/>
                </a:ext>
              </a:extLst>
            </p:cNvPr>
            <p:cNvSpPr/>
            <p:nvPr/>
          </p:nvSpPr>
          <p:spPr>
            <a:xfrm flipV="1">
              <a:off x="3106094" y="329460"/>
              <a:ext cx="54816" cy="685"/>
            </a:xfrm>
            <a:custGeom>
              <a:avLst/>
              <a:gdLst>
                <a:gd name="connsiteX0" fmla="*/ 391 w 54816"/>
                <a:gd name="connsiteY0" fmla="*/ 221 h 685"/>
                <a:gd name="connsiteX1" fmla="*/ 55208 w 54816"/>
                <a:gd name="connsiteY1" fmla="*/ 221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816" h="685">
                  <a:moveTo>
                    <a:pt x="391" y="221"/>
                  </a:moveTo>
                  <a:lnTo>
                    <a:pt x="55208" y="221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0" name="Freeform 469">
              <a:extLst>
                <a:ext uri="{FF2B5EF4-FFF2-40B4-BE49-F238E27FC236}">
                  <a16:creationId xmlns:a16="http://schemas.microsoft.com/office/drawing/2014/main" id="{2F1F6A41-BB71-530C-EE7C-7E939342EAEA}"/>
                </a:ext>
              </a:extLst>
            </p:cNvPr>
            <p:cNvSpPr/>
            <p:nvPr/>
          </p:nvSpPr>
          <p:spPr>
            <a:xfrm flipV="1">
              <a:off x="2996460" y="329460"/>
              <a:ext cx="54816" cy="685"/>
            </a:xfrm>
            <a:custGeom>
              <a:avLst/>
              <a:gdLst>
                <a:gd name="connsiteX0" fmla="*/ 231 w 54816"/>
                <a:gd name="connsiteY0" fmla="*/ 221 h 685"/>
                <a:gd name="connsiteX1" fmla="*/ 55048 w 54816"/>
                <a:gd name="connsiteY1" fmla="*/ 221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816" h="685">
                  <a:moveTo>
                    <a:pt x="231" y="221"/>
                  </a:moveTo>
                  <a:lnTo>
                    <a:pt x="55048" y="221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1" name="Freeform 470">
              <a:extLst>
                <a:ext uri="{FF2B5EF4-FFF2-40B4-BE49-F238E27FC236}">
                  <a16:creationId xmlns:a16="http://schemas.microsoft.com/office/drawing/2014/main" id="{E3AA6F92-2AED-ADDF-DBF8-57B14A82B797}"/>
                </a:ext>
              </a:extLst>
            </p:cNvPr>
            <p:cNvSpPr/>
            <p:nvPr/>
          </p:nvSpPr>
          <p:spPr>
            <a:xfrm flipV="1">
              <a:off x="3106094" y="274643"/>
              <a:ext cx="54816" cy="685"/>
            </a:xfrm>
            <a:custGeom>
              <a:avLst/>
              <a:gdLst>
                <a:gd name="connsiteX0" fmla="*/ 391 w 54816"/>
                <a:gd name="connsiteY0" fmla="*/ 141 h 685"/>
                <a:gd name="connsiteX1" fmla="*/ 55208 w 54816"/>
                <a:gd name="connsiteY1" fmla="*/ 141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816" h="685">
                  <a:moveTo>
                    <a:pt x="391" y="141"/>
                  </a:moveTo>
                  <a:lnTo>
                    <a:pt x="55208" y="141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2" name="Freeform 471">
              <a:extLst>
                <a:ext uri="{FF2B5EF4-FFF2-40B4-BE49-F238E27FC236}">
                  <a16:creationId xmlns:a16="http://schemas.microsoft.com/office/drawing/2014/main" id="{720B4F04-5A24-3AD2-EF10-3F6FF02CEA21}"/>
                </a:ext>
              </a:extLst>
            </p:cNvPr>
            <p:cNvSpPr/>
            <p:nvPr/>
          </p:nvSpPr>
          <p:spPr>
            <a:xfrm flipV="1">
              <a:off x="2996460" y="274643"/>
              <a:ext cx="54816" cy="685"/>
            </a:xfrm>
            <a:custGeom>
              <a:avLst/>
              <a:gdLst>
                <a:gd name="connsiteX0" fmla="*/ 231 w 54816"/>
                <a:gd name="connsiteY0" fmla="*/ 141 h 685"/>
                <a:gd name="connsiteX1" fmla="*/ 55048 w 54816"/>
                <a:gd name="connsiteY1" fmla="*/ 141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816" h="685">
                  <a:moveTo>
                    <a:pt x="231" y="141"/>
                  </a:moveTo>
                  <a:lnTo>
                    <a:pt x="55048" y="141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3" name="Freeform 472">
              <a:extLst>
                <a:ext uri="{FF2B5EF4-FFF2-40B4-BE49-F238E27FC236}">
                  <a16:creationId xmlns:a16="http://schemas.microsoft.com/office/drawing/2014/main" id="{12F25610-BE28-1A74-6BAA-AD7A09929D6E}"/>
                </a:ext>
              </a:extLst>
            </p:cNvPr>
            <p:cNvSpPr/>
            <p:nvPr/>
          </p:nvSpPr>
          <p:spPr>
            <a:xfrm flipV="1">
              <a:off x="2996460" y="384277"/>
              <a:ext cx="164450" cy="685"/>
            </a:xfrm>
            <a:custGeom>
              <a:avLst/>
              <a:gdLst>
                <a:gd name="connsiteX0" fmla="*/ 251 w 164450"/>
                <a:gd name="connsiteY0" fmla="*/ 301 h 685"/>
                <a:gd name="connsiteX1" fmla="*/ 164702 w 164450"/>
                <a:gd name="connsiteY1" fmla="*/ 301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4450" h="685">
                  <a:moveTo>
                    <a:pt x="251" y="301"/>
                  </a:moveTo>
                  <a:lnTo>
                    <a:pt x="164702" y="301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4" name="Freeform 473">
              <a:extLst>
                <a:ext uri="{FF2B5EF4-FFF2-40B4-BE49-F238E27FC236}">
                  <a16:creationId xmlns:a16="http://schemas.microsoft.com/office/drawing/2014/main" id="{A174FDDE-E780-45EC-BC51-CB535CB5DA9F}"/>
                </a:ext>
              </a:extLst>
            </p:cNvPr>
            <p:cNvSpPr/>
            <p:nvPr/>
          </p:nvSpPr>
          <p:spPr>
            <a:xfrm flipV="1">
              <a:off x="2982756" y="631867"/>
              <a:ext cx="191859" cy="685"/>
            </a:xfrm>
            <a:custGeom>
              <a:avLst/>
              <a:gdLst>
                <a:gd name="connsiteX0" fmla="*/ 236 w 191859"/>
                <a:gd name="connsiteY0" fmla="*/ 663 h 685"/>
                <a:gd name="connsiteX1" fmla="*/ 192096 w 191859"/>
                <a:gd name="connsiteY1" fmla="*/ 663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1859" h="685">
                  <a:moveTo>
                    <a:pt x="236" y="663"/>
                  </a:moveTo>
                  <a:lnTo>
                    <a:pt x="192096" y="663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5" name="Freeform 474">
              <a:extLst>
                <a:ext uri="{FF2B5EF4-FFF2-40B4-BE49-F238E27FC236}">
                  <a16:creationId xmlns:a16="http://schemas.microsoft.com/office/drawing/2014/main" id="{15B7E99C-7528-7FE6-CAD1-B1DEE0EB91A5}"/>
                </a:ext>
              </a:extLst>
            </p:cNvPr>
            <p:cNvSpPr/>
            <p:nvPr/>
          </p:nvSpPr>
          <p:spPr>
            <a:xfrm flipV="1">
              <a:off x="3078685" y="548728"/>
              <a:ext cx="685" cy="83139"/>
            </a:xfrm>
            <a:custGeom>
              <a:avLst/>
              <a:gdLst>
                <a:gd name="connsiteX0" fmla="*/ 341 w 685"/>
                <a:gd name="connsiteY0" fmla="*/ 557 h 83139"/>
                <a:gd name="connsiteX1" fmla="*/ 341 w 685"/>
                <a:gd name="connsiteY1" fmla="*/ 83696 h 83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5" h="83139">
                  <a:moveTo>
                    <a:pt x="341" y="557"/>
                  </a:moveTo>
                  <a:lnTo>
                    <a:pt x="341" y="83696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484" name="Graphic 476">
            <a:extLst>
              <a:ext uri="{FF2B5EF4-FFF2-40B4-BE49-F238E27FC236}">
                <a16:creationId xmlns:a16="http://schemas.microsoft.com/office/drawing/2014/main" id="{51E14B34-C635-8CAB-254C-13D0B2DD6838}"/>
              </a:ext>
            </a:extLst>
          </p:cNvPr>
          <p:cNvGrpSpPr/>
          <p:nvPr/>
        </p:nvGrpSpPr>
        <p:grpSpPr>
          <a:xfrm>
            <a:off x="8982159" y="2521648"/>
            <a:ext cx="440363" cy="440363"/>
            <a:chOff x="2858504" y="191504"/>
            <a:chExt cx="440363" cy="440363"/>
          </a:xfrm>
          <a:noFill/>
        </p:grpSpPr>
        <p:sp>
          <p:nvSpPr>
            <p:cNvPr id="485" name="Freeform 484">
              <a:extLst>
                <a:ext uri="{FF2B5EF4-FFF2-40B4-BE49-F238E27FC236}">
                  <a16:creationId xmlns:a16="http://schemas.microsoft.com/office/drawing/2014/main" id="{28929767-2AAB-D07F-9215-468E540E5C78}"/>
                </a:ext>
              </a:extLst>
            </p:cNvPr>
            <p:cNvSpPr/>
            <p:nvPr/>
          </p:nvSpPr>
          <p:spPr>
            <a:xfrm flipV="1">
              <a:off x="2858504" y="191504"/>
              <a:ext cx="440363" cy="440363"/>
            </a:xfrm>
            <a:custGeom>
              <a:avLst/>
              <a:gdLst>
                <a:gd name="connsiteX0" fmla="*/ 440945 w 440363"/>
                <a:gd name="connsiteY0" fmla="*/ 220523 h 440363"/>
                <a:gd name="connsiteX1" fmla="*/ 220764 w 440363"/>
                <a:gd name="connsiteY1" fmla="*/ 341 h 440363"/>
                <a:gd name="connsiteX2" fmla="*/ 582 w 440363"/>
                <a:gd name="connsiteY2" fmla="*/ 220523 h 440363"/>
                <a:gd name="connsiteX3" fmla="*/ 220764 w 440363"/>
                <a:gd name="connsiteY3" fmla="*/ 440704 h 440363"/>
                <a:gd name="connsiteX4" fmla="*/ 440945 w 440363"/>
                <a:gd name="connsiteY4" fmla="*/ 220523 h 440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63" h="440363">
                  <a:moveTo>
                    <a:pt x="440945" y="220523"/>
                  </a:moveTo>
                  <a:cubicBezTo>
                    <a:pt x="440945" y="99425"/>
                    <a:pt x="341862" y="341"/>
                    <a:pt x="220764" y="341"/>
                  </a:cubicBezTo>
                  <a:cubicBezTo>
                    <a:pt x="99666" y="341"/>
                    <a:pt x="582" y="99425"/>
                    <a:pt x="582" y="220523"/>
                  </a:cubicBezTo>
                  <a:cubicBezTo>
                    <a:pt x="582" y="341621"/>
                    <a:pt x="99666" y="440704"/>
                    <a:pt x="220764" y="440704"/>
                  </a:cubicBezTo>
                  <a:cubicBezTo>
                    <a:pt x="341862" y="440704"/>
                    <a:pt x="440945" y="341621"/>
                    <a:pt x="440945" y="220523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6" name="Freeform 485">
              <a:extLst>
                <a:ext uri="{FF2B5EF4-FFF2-40B4-BE49-F238E27FC236}">
                  <a16:creationId xmlns:a16="http://schemas.microsoft.com/office/drawing/2014/main" id="{871C8DA2-73A8-3AAB-DC21-3E886E6063D8}"/>
                </a:ext>
              </a:extLst>
            </p:cNvPr>
            <p:cNvSpPr/>
            <p:nvPr/>
          </p:nvSpPr>
          <p:spPr>
            <a:xfrm flipV="1">
              <a:off x="2914234" y="247234"/>
              <a:ext cx="328901" cy="328901"/>
            </a:xfrm>
            <a:custGeom>
              <a:avLst/>
              <a:gdLst>
                <a:gd name="connsiteX0" fmla="*/ 164792 w 328901"/>
                <a:gd name="connsiteY0" fmla="*/ 161 h 328901"/>
                <a:gd name="connsiteX1" fmla="*/ 341 w 328901"/>
                <a:gd name="connsiteY1" fmla="*/ 164612 h 328901"/>
                <a:gd name="connsiteX2" fmla="*/ 164792 w 328901"/>
                <a:gd name="connsiteY2" fmla="*/ 329063 h 328901"/>
                <a:gd name="connsiteX3" fmla="*/ 329243 w 328901"/>
                <a:gd name="connsiteY3" fmla="*/ 164612 h 328901"/>
                <a:gd name="connsiteX4" fmla="*/ 164792 w 328901"/>
                <a:gd name="connsiteY4" fmla="*/ 161 h 32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8901" h="328901">
                  <a:moveTo>
                    <a:pt x="164792" y="161"/>
                  </a:moveTo>
                  <a:cubicBezTo>
                    <a:pt x="74109" y="161"/>
                    <a:pt x="341" y="73929"/>
                    <a:pt x="341" y="164612"/>
                  </a:cubicBezTo>
                  <a:cubicBezTo>
                    <a:pt x="341" y="255296"/>
                    <a:pt x="74109" y="329063"/>
                    <a:pt x="164792" y="329063"/>
                  </a:cubicBezTo>
                  <a:cubicBezTo>
                    <a:pt x="255476" y="329063"/>
                    <a:pt x="329243" y="255296"/>
                    <a:pt x="329243" y="164612"/>
                  </a:cubicBezTo>
                  <a:cubicBezTo>
                    <a:pt x="329243" y="73929"/>
                    <a:pt x="255476" y="161"/>
                    <a:pt x="164792" y="161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7" name="Freeform 486">
              <a:extLst>
                <a:ext uri="{FF2B5EF4-FFF2-40B4-BE49-F238E27FC236}">
                  <a16:creationId xmlns:a16="http://schemas.microsoft.com/office/drawing/2014/main" id="{B495B6F8-88B4-E1C6-82BF-2A221DCB8BF8}"/>
                </a:ext>
              </a:extLst>
            </p:cNvPr>
            <p:cNvSpPr/>
            <p:nvPr/>
          </p:nvSpPr>
          <p:spPr>
            <a:xfrm flipV="1">
              <a:off x="3078685" y="301913"/>
              <a:ext cx="685" cy="219406"/>
            </a:xfrm>
            <a:custGeom>
              <a:avLst/>
              <a:gdLst>
                <a:gd name="connsiteX0" fmla="*/ 341 w 685"/>
                <a:gd name="connsiteY0" fmla="*/ 219868 h 219406"/>
                <a:gd name="connsiteX1" fmla="*/ 341 w 685"/>
                <a:gd name="connsiteY1" fmla="*/ 461 h 219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5" h="219406">
                  <a:moveTo>
                    <a:pt x="341" y="219868"/>
                  </a:moveTo>
                  <a:lnTo>
                    <a:pt x="341" y="461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8" name="Freeform 487">
              <a:extLst>
                <a:ext uri="{FF2B5EF4-FFF2-40B4-BE49-F238E27FC236}">
                  <a16:creationId xmlns:a16="http://schemas.microsoft.com/office/drawing/2014/main" id="{C0C9026F-E545-52BD-1021-6383EDBACCDF}"/>
                </a:ext>
              </a:extLst>
            </p:cNvPr>
            <p:cNvSpPr/>
            <p:nvPr/>
          </p:nvSpPr>
          <p:spPr>
            <a:xfrm flipV="1">
              <a:off x="3023868" y="411547"/>
              <a:ext cx="109633" cy="82225"/>
            </a:xfrm>
            <a:custGeom>
              <a:avLst/>
              <a:gdLst>
                <a:gd name="connsiteX0" fmla="*/ 55158 w 109633"/>
                <a:gd name="connsiteY0" fmla="*/ 82672 h 82225"/>
                <a:gd name="connsiteX1" fmla="*/ 109975 w 109633"/>
                <a:gd name="connsiteY1" fmla="*/ 41559 h 82225"/>
                <a:gd name="connsiteX2" fmla="*/ 55158 w 109633"/>
                <a:gd name="connsiteY2" fmla="*/ 446 h 82225"/>
                <a:gd name="connsiteX3" fmla="*/ 341 w 109633"/>
                <a:gd name="connsiteY3" fmla="*/ 41559 h 8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633" h="82225">
                  <a:moveTo>
                    <a:pt x="55158" y="82672"/>
                  </a:moveTo>
                  <a:cubicBezTo>
                    <a:pt x="85433" y="82672"/>
                    <a:pt x="109975" y="64265"/>
                    <a:pt x="109975" y="41559"/>
                  </a:cubicBezTo>
                  <a:cubicBezTo>
                    <a:pt x="109975" y="18853"/>
                    <a:pt x="85433" y="446"/>
                    <a:pt x="55158" y="446"/>
                  </a:cubicBezTo>
                  <a:cubicBezTo>
                    <a:pt x="24884" y="446"/>
                    <a:pt x="341" y="18853"/>
                    <a:pt x="341" y="41559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9" name="Freeform 488">
              <a:extLst>
                <a:ext uri="{FF2B5EF4-FFF2-40B4-BE49-F238E27FC236}">
                  <a16:creationId xmlns:a16="http://schemas.microsoft.com/office/drawing/2014/main" id="{345B23BF-37A5-E3B4-F310-B5E90A444BCA}"/>
                </a:ext>
              </a:extLst>
            </p:cNvPr>
            <p:cNvSpPr/>
            <p:nvPr/>
          </p:nvSpPr>
          <p:spPr>
            <a:xfrm flipV="1">
              <a:off x="3023868" y="329321"/>
              <a:ext cx="109633" cy="82225"/>
            </a:xfrm>
            <a:custGeom>
              <a:avLst/>
              <a:gdLst>
                <a:gd name="connsiteX0" fmla="*/ 110035 w 109633"/>
                <a:gd name="connsiteY0" fmla="*/ 41394 h 82225"/>
                <a:gd name="connsiteX1" fmla="*/ 55218 w 109633"/>
                <a:gd name="connsiteY1" fmla="*/ 82507 h 82225"/>
                <a:gd name="connsiteX2" fmla="*/ 401 w 109633"/>
                <a:gd name="connsiteY2" fmla="*/ 41394 h 82225"/>
                <a:gd name="connsiteX3" fmla="*/ 55218 w 109633"/>
                <a:gd name="connsiteY3" fmla="*/ 281 h 82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633" h="82225">
                  <a:moveTo>
                    <a:pt x="110035" y="41394"/>
                  </a:moveTo>
                  <a:cubicBezTo>
                    <a:pt x="110035" y="64100"/>
                    <a:pt x="85493" y="82507"/>
                    <a:pt x="55218" y="82507"/>
                  </a:cubicBezTo>
                  <a:cubicBezTo>
                    <a:pt x="24944" y="82507"/>
                    <a:pt x="401" y="64100"/>
                    <a:pt x="401" y="41394"/>
                  </a:cubicBezTo>
                  <a:cubicBezTo>
                    <a:pt x="401" y="18688"/>
                    <a:pt x="24944" y="281"/>
                    <a:pt x="55218" y="281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502" name="Graphic 490">
            <a:extLst>
              <a:ext uri="{FF2B5EF4-FFF2-40B4-BE49-F238E27FC236}">
                <a16:creationId xmlns:a16="http://schemas.microsoft.com/office/drawing/2014/main" id="{0EB99520-CA9B-B57F-4DED-43688674C2A5}"/>
              </a:ext>
            </a:extLst>
          </p:cNvPr>
          <p:cNvGrpSpPr/>
          <p:nvPr/>
        </p:nvGrpSpPr>
        <p:grpSpPr>
          <a:xfrm>
            <a:off x="6924759" y="2537179"/>
            <a:ext cx="440363" cy="409300"/>
            <a:chOff x="2858504" y="207035"/>
            <a:chExt cx="440363" cy="409300"/>
          </a:xfrm>
          <a:noFill/>
        </p:grpSpPr>
        <p:sp>
          <p:nvSpPr>
            <p:cNvPr id="503" name="Freeform 502">
              <a:extLst>
                <a:ext uri="{FF2B5EF4-FFF2-40B4-BE49-F238E27FC236}">
                  <a16:creationId xmlns:a16="http://schemas.microsoft.com/office/drawing/2014/main" id="{54C932F6-3094-41DE-7285-A9567462C4B4}"/>
                </a:ext>
              </a:extLst>
            </p:cNvPr>
            <p:cNvSpPr/>
            <p:nvPr/>
          </p:nvSpPr>
          <p:spPr>
            <a:xfrm flipV="1">
              <a:off x="2858504" y="207035"/>
              <a:ext cx="377323" cy="409300"/>
            </a:xfrm>
            <a:custGeom>
              <a:avLst/>
              <a:gdLst>
                <a:gd name="connsiteX0" fmla="*/ 377825 w 377323"/>
                <a:gd name="connsiteY0" fmla="*/ 117 h 409300"/>
                <a:gd name="connsiteX1" fmla="*/ 55319 w 377323"/>
                <a:gd name="connsiteY1" fmla="*/ 117 h 409300"/>
                <a:gd name="connsiteX2" fmla="*/ 502 w 377323"/>
                <a:gd name="connsiteY2" fmla="*/ 54934 h 409300"/>
                <a:gd name="connsiteX3" fmla="*/ 502 w 377323"/>
                <a:gd name="connsiteY3" fmla="*/ 409417 h 409300"/>
                <a:gd name="connsiteX4" fmla="*/ 323008 w 377323"/>
                <a:gd name="connsiteY4" fmla="*/ 409417 h 409300"/>
                <a:gd name="connsiteX5" fmla="*/ 323008 w 377323"/>
                <a:gd name="connsiteY5" fmla="*/ 54934 h 409300"/>
                <a:gd name="connsiteX6" fmla="*/ 377825 w 377323"/>
                <a:gd name="connsiteY6" fmla="*/ 117 h 409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7323" h="409300">
                  <a:moveTo>
                    <a:pt x="377825" y="117"/>
                  </a:moveTo>
                  <a:lnTo>
                    <a:pt x="55319" y="117"/>
                  </a:lnTo>
                  <a:cubicBezTo>
                    <a:pt x="25042" y="117"/>
                    <a:pt x="502" y="24657"/>
                    <a:pt x="502" y="54934"/>
                  </a:cubicBezTo>
                  <a:lnTo>
                    <a:pt x="502" y="409417"/>
                  </a:lnTo>
                  <a:lnTo>
                    <a:pt x="323008" y="409417"/>
                  </a:lnTo>
                  <a:lnTo>
                    <a:pt x="323008" y="54934"/>
                  </a:lnTo>
                  <a:cubicBezTo>
                    <a:pt x="323008" y="24657"/>
                    <a:pt x="347547" y="117"/>
                    <a:pt x="377825" y="117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4" name="Freeform 503">
              <a:extLst>
                <a:ext uri="{FF2B5EF4-FFF2-40B4-BE49-F238E27FC236}">
                  <a16:creationId xmlns:a16="http://schemas.microsoft.com/office/drawing/2014/main" id="{1524A230-0032-8C2D-8476-50F2EBD489C5}"/>
                </a:ext>
              </a:extLst>
            </p:cNvPr>
            <p:cNvSpPr/>
            <p:nvPr/>
          </p:nvSpPr>
          <p:spPr>
            <a:xfrm flipV="1">
              <a:off x="3181010" y="302051"/>
              <a:ext cx="117856" cy="314284"/>
            </a:xfrm>
            <a:custGeom>
              <a:avLst/>
              <a:gdLst>
                <a:gd name="connsiteX0" fmla="*/ 118498 w 117856"/>
                <a:gd name="connsiteY0" fmla="*/ 314867 h 314284"/>
                <a:gd name="connsiteX1" fmla="*/ 118498 w 117856"/>
                <a:gd name="connsiteY1" fmla="*/ 55400 h 314284"/>
                <a:gd name="connsiteX2" fmla="*/ 63681 w 117856"/>
                <a:gd name="connsiteY2" fmla="*/ 583 h 314284"/>
                <a:gd name="connsiteX3" fmla="*/ 55458 w 117856"/>
                <a:gd name="connsiteY3" fmla="*/ 583 h 314284"/>
                <a:gd name="connsiteX4" fmla="*/ 641 w 117856"/>
                <a:gd name="connsiteY4" fmla="*/ 55400 h 314284"/>
                <a:gd name="connsiteX5" fmla="*/ 641 w 117856"/>
                <a:gd name="connsiteY5" fmla="*/ 314867 h 314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7856" h="314284">
                  <a:moveTo>
                    <a:pt x="118498" y="314867"/>
                  </a:moveTo>
                  <a:lnTo>
                    <a:pt x="118498" y="55400"/>
                  </a:lnTo>
                  <a:cubicBezTo>
                    <a:pt x="118498" y="25122"/>
                    <a:pt x="93959" y="583"/>
                    <a:pt x="63681" y="583"/>
                  </a:cubicBezTo>
                  <a:lnTo>
                    <a:pt x="55458" y="583"/>
                  </a:lnTo>
                  <a:cubicBezTo>
                    <a:pt x="25180" y="583"/>
                    <a:pt x="641" y="25122"/>
                    <a:pt x="641" y="55400"/>
                  </a:cubicBezTo>
                  <a:lnTo>
                    <a:pt x="641" y="314867"/>
                  </a:ln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5" name="Freeform 504">
              <a:extLst>
                <a:ext uri="{FF2B5EF4-FFF2-40B4-BE49-F238E27FC236}">
                  <a16:creationId xmlns:a16="http://schemas.microsoft.com/office/drawing/2014/main" id="{71EB4D1F-3CDD-B1E2-5DD9-AE6813678D42}"/>
                </a:ext>
              </a:extLst>
            </p:cNvPr>
            <p:cNvSpPr/>
            <p:nvPr/>
          </p:nvSpPr>
          <p:spPr>
            <a:xfrm flipV="1">
              <a:off x="3235827" y="616335"/>
              <a:ext cx="4568" cy="685"/>
            </a:xfrm>
            <a:custGeom>
              <a:avLst/>
              <a:gdLst>
                <a:gd name="connsiteX0" fmla="*/ 5145 w 4568"/>
                <a:gd name="connsiteY0" fmla="*/ 640 h 685"/>
                <a:gd name="connsiteX1" fmla="*/ 577 w 4568"/>
                <a:gd name="connsiteY1" fmla="*/ 640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8" h="685">
                  <a:moveTo>
                    <a:pt x="5145" y="640"/>
                  </a:moveTo>
                  <a:lnTo>
                    <a:pt x="577" y="64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6" name="Freeform 505">
              <a:extLst>
                <a:ext uri="{FF2B5EF4-FFF2-40B4-BE49-F238E27FC236}">
                  <a16:creationId xmlns:a16="http://schemas.microsoft.com/office/drawing/2014/main" id="{1A98B4D8-E8AC-30A8-66BC-7B35F3519C3B}"/>
                </a:ext>
              </a:extLst>
            </p:cNvPr>
            <p:cNvSpPr/>
            <p:nvPr/>
          </p:nvSpPr>
          <p:spPr>
            <a:xfrm flipV="1">
              <a:off x="2917889" y="272816"/>
              <a:ext cx="204650" cy="685"/>
            </a:xfrm>
            <a:custGeom>
              <a:avLst/>
              <a:gdLst>
                <a:gd name="connsiteX0" fmla="*/ 144 w 204650"/>
                <a:gd name="connsiteY0" fmla="*/ 139 h 685"/>
                <a:gd name="connsiteX1" fmla="*/ 204794 w 204650"/>
                <a:gd name="connsiteY1" fmla="*/ 139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4650" h="685">
                  <a:moveTo>
                    <a:pt x="144" y="139"/>
                  </a:moveTo>
                  <a:lnTo>
                    <a:pt x="204794" y="139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7" name="Freeform 506">
              <a:extLst>
                <a:ext uri="{FF2B5EF4-FFF2-40B4-BE49-F238E27FC236}">
                  <a16:creationId xmlns:a16="http://schemas.microsoft.com/office/drawing/2014/main" id="{70F0CE5E-C18A-FEFF-A1F7-F80FF57A229E}"/>
                </a:ext>
              </a:extLst>
            </p:cNvPr>
            <p:cNvSpPr/>
            <p:nvPr/>
          </p:nvSpPr>
          <p:spPr>
            <a:xfrm flipV="1">
              <a:off x="2917889" y="331287"/>
              <a:ext cx="204650" cy="685"/>
            </a:xfrm>
            <a:custGeom>
              <a:avLst/>
              <a:gdLst>
                <a:gd name="connsiteX0" fmla="*/ 144 w 204650"/>
                <a:gd name="connsiteY0" fmla="*/ 224 h 685"/>
                <a:gd name="connsiteX1" fmla="*/ 204794 w 204650"/>
                <a:gd name="connsiteY1" fmla="*/ 224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4650" h="685">
                  <a:moveTo>
                    <a:pt x="144" y="224"/>
                  </a:moveTo>
                  <a:lnTo>
                    <a:pt x="204794" y="224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8" name="Freeform 507">
              <a:extLst>
                <a:ext uri="{FF2B5EF4-FFF2-40B4-BE49-F238E27FC236}">
                  <a16:creationId xmlns:a16="http://schemas.microsoft.com/office/drawing/2014/main" id="{FCCCC6B3-9074-F854-0CDF-14B4B01628F4}"/>
                </a:ext>
              </a:extLst>
            </p:cNvPr>
            <p:cNvSpPr/>
            <p:nvPr/>
          </p:nvSpPr>
          <p:spPr>
            <a:xfrm flipV="1">
              <a:off x="2917889" y="550555"/>
              <a:ext cx="204650" cy="685"/>
            </a:xfrm>
            <a:custGeom>
              <a:avLst/>
              <a:gdLst>
                <a:gd name="connsiteX0" fmla="*/ 144 w 204650"/>
                <a:gd name="connsiteY0" fmla="*/ 544 h 685"/>
                <a:gd name="connsiteX1" fmla="*/ 204794 w 204650"/>
                <a:gd name="connsiteY1" fmla="*/ 544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4650" h="685">
                  <a:moveTo>
                    <a:pt x="144" y="544"/>
                  </a:moveTo>
                  <a:lnTo>
                    <a:pt x="204794" y="544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9" name="Freeform 508">
              <a:extLst>
                <a:ext uri="{FF2B5EF4-FFF2-40B4-BE49-F238E27FC236}">
                  <a16:creationId xmlns:a16="http://schemas.microsoft.com/office/drawing/2014/main" id="{C398897E-4FA3-A57F-3125-2CD8C95C7D43}"/>
                </a:ext>
              </a:extLst>
            </p:cNvPr>
            <p:cNvSpPr/>
            <p:nvPr/>
          </p:nvSpPr>
          <p:spPr>
            <a:xfrm flipV="1">
              <a:off x="3020214" y="389759"/>
              <a:ext cx="102325" cy="102325"/>
            </a:xfrm>
            <a:custGeom>
              <a:avLst/>
              <a:gdLst>
                <a:gd name="connsiteX0" fmla="*/ 102408 w 102325"/>
                <a:gd name="connsiteY0" fmla="*/ 160 h 102325"/>
                <a:gd name="connsiteX1" fmla="*/ 83 w 102325"/>
                <a:gd name="connsiteY1" fmla="*/ 160 h 102325"/>
                <a:gd name="connsiteX2" fmla="*/ 83 w 102325"/>
                <a:gd name="connsiteY2" fmla="*/ 102485 h 102325"/>
                <a:gd name="connsiteX3" fmla="*/ 102408 w 102325"/>
                <a:gd name="connsiteY3" fmla="*/ 102485 h 10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325" h="102325">
                  <a:moveTo>
                    <a:pt x="102408" y="160"/>
                  </a:moveTo>
                  <a:lnTo>
                    <a:pt x="83" y="160"/>
                  </a:lnTo>
                  <a:lnTo>
                    <a:pt x="83" y="102485"/>
                  </a:lnTo>
                  <a:lnTo>
                    <a:pt x="102408" y="102485"/>
                  </a:ln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0" name="Freeform 509">
              <a:extLst>
                <a:ext uri="{FF2B5EF4-FFF2-40B4-BE49-F238E27FC236}">
                  <a16:creationId xmlns:a16="http://schemas.microsoft.com/office/drawing/2014/main" id="{673BA980-91DF-A941-7D18-46D991E89177}"/>
                </a:ext>
              </a:extLst>
            </p:cNvPr>
            <p:cNvSpPr/>
            <p:nvPr/>
          </p:nvSpPr>
          <p:spPr>
            <a:xfrm flipV="1">
              <a:off x="2917889" y="411685"/>
              <a:ext cx="43853" cy="685"/>
            </a:xfrm>
            <a:custGeom>
              <a:avLst/>
              <a:gdLst>
                <a:gd name="connsiteX0" fmla="*/ 115 w 43853"/>
                <a:gd name="connsiteY0" fmla="*/ 341 h 685"/>
                <a:gd name="connsiteX1" fmla="*/ 43968 w 43853"/>
                <a:gd name="connsiteY1" fmla="*/ 341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853" h="685">
                  <a:moveTo>
                    <a:pt x="115" y="341"/>
                  </a:moveTo>
                  <a:lnTo>
                    <a:pt x="43968" y="341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1" name="Freeform 510">
              <a:extLst>
                <a:ext uri="{FF2B5EF4-FFF2-40B4-BE49-F238E27FC236}">
                  <a16:creationId xmlns:a16="http://schemas.microsoft.com/office/drawing/2014/main" id="{AA3E8A14-BFEB-4FAD-155F-477A4BF89D33}"/>
                </a:ext>
              </a:extLst>
            </p:cNvPr>
            <p:cNvSpPr/>
            <p:nvPr/>
          </p:nvSpPr>
          <p:spPr>
            <a:xfrm flipV="1">
              <a:off x="2917889" y="470157"/>
              <a:ext cx="43853" cy="685"/>
            </a:xfrm>
            <a:custGeom>
              <a:avLst/>
              <a:gdLst>
                <a:gd name="connsiteX0" fmla="*/ 115 w 43853"/>
                <a:gd name="connsiteY0" fmla="*/ 427 h 685"/>
                <a:gd name="connsiteX1" fmla="*/ 43968 w 43853"/>
                <a:gd name="connsiteY1" fmla="*/ 427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853" h="685">
                  <a:moveTo>
                    <a:pt x="115" y="427"/>
                  </a:moveTo>
                  <a:lnTo>
                    <a:pt x="43968" y="427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520" name="Graphic 512">
            <a:extLst>
              <a:ext uri="{FF2B5EF4-FFF2-40B4-BE49-F238E27FC236}">
                <a16:creationId xmlns:a16="http://schemas.microsoft.com/office/drawing/2014/main" id="{8D0850E0-5A59-81A5-041B-6AC53ABDE9BA}"/>
              </a:ext>
            </a:extLst>
          </p:cNvPr>
          <p:cNvGrpSpPr/>
          <p:nvPr/>
        </p:nvGrpSpPr>
        <p:grpSpPr>
          <a:xfrm>
            <a:off x="6917907" y="1425525"/>
            <a:ext cx="454066" cy="411126"/>
            <a:chOff x="2851652" y="206123"/>
            <a:chExt cx="454066" cy="411126"/>
          </a:xfrm>
          <a:noFill/>
        </p:grpSpPr>
        <p:sp>
          <p:nvSpPr>
            <p:cNvPr id="521" name="Freeform 520">
              <a:extLst>
                <a:ext uri="{FF2B5EF4-FFF2-40B4-BE49-F238E27FC236}">
                  <a16:creationId xmlns:a16="http://schemas.microsoft.com/office/drawing/2014/main" id="{07E241B0-858E-1EBA-E9D8-EDBC89C3CE8A}"/>
                </a:ext>
              </a:extLst>
            </p:cNvPr>
            <p:cNvSpPr/>
            <p:nvPr/>
          </p:nvSpPr>
          <p:spPr>
            <a:xfrm flipV="1">
              <a:off x="2982755" y="535024"/>
              <a:ext cx="41112" cy="54816"/>
            </a:xfrm>
            <a:custGeom>
              <a:avLst/>
              <a:gdLst>
                <a:gd name="connsiteX0" fmla="*/ 41366 w 41112"/>
                <a:gd name="connsiteY0" fmla="*/ 55408 h 54816"/>
                <a:gd name="connsiteX1" fmla="*/ 41366 w 41112"/>
                <a:gd name="connsiteY1" fmla="*/ 41704 h 54816"/>
                <a:gd name="connsiteX2" fmla="*/ 254 w 41112"/>
                <a:gd name="connsiteY2" fmla="*/ 591 h 54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112" h="54816">
                  <a:moveTo>
                    <a:pt x="41366" y="55408"/>
                  </a:moveTo>
                  <a:lnTo>
                    <a:pt x="41366" y="41704"/>
                  </a:lnTo>
                  <a:cubicBezTo>
                    <a:pt x="41366" y="19092"/>
                    <a:pt x="22866" y="591"/>
                    <a:pt x="254" y="591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2" name="Freeform 521">
              <a:extLst>
                <a:ext uri="{FF2B5EF4-FFF2-40B4-BE49-F238E27FC236}">
                  <a16:creationId xmlns:a16="http://schemas.microsoft.com/office/drawing/2014/main" id="{9FAE3DEC-FA20-59C4-587D-F059678F50FD}"/>
                </a:ext>
              </a:extLst>
            </p:cNvPr>
            <p:cNvSpPr/>
            <p:nvPr/>
          </p:nvSpPr>
          <p:spPr>
            <a:xfrm flipV="1">
              <a:off x="3133502" y="535024"/>
              <a:ext cx="41112" cy="54816"/>
            </a:xfrm>
            <a:custGeom>
              <a:avLst/>
              <a:gdLst>
                <a:gd name="connsiteX0" fmla="*/ 429 w 41112"/>
                <a:gd name="connsiteY0" fmla="*/ 55408 h 54816"/>
                <a:gd name="connsiteX1" fmla="*/ 429 w 41112"/>
                <a:gd name="connsiteY1" fmla="*/ 41704 h 54816"/>
                <a:gd name="connsiteX2" fmla="*/ 41541 w 41112"/>
                <a:gd name="connsiteY2" fmla="*/ 591 h 54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112" h="54816">
                  <a:moveTo>
                    <a:pt x="429" y="55408"/>
                  </a:moveTo>
                  <a:lnTo>
                    <a:pt x="429" y="41704"/>
                  </a:lnTo>
                  <a:cubicBezTo>
                    <a:pt x="429" y="19092"/>
                    <a:pt x="18930" y="591"/>
                    <a:pt x="41541" y="591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3" name="Freeform 522">
              <a:extLst>
                <a:ext uri="{FF2B5EF4-FFF2-40B4-BE49-F238E27FC236}">
                  <a16:creationId xmlns:a16="http://schemas.microsoft.com/office/drawing/2014/main" id="{801AC8E2-E3FA-E4D4-11CD-CE3556F617D8}"/>
                </a:ext>
              </a:extLst>
            </p:cNvPr>
            <p:cNvSpPr/>
            <p:nvPr/>
          </p:nvSpPr>
          <p:spPr>
            <a:xfrm flipV="1">
              <a:off x="2851652" y="206123"/>
              <a:ext cx="454066" cy="328901"/>
            </a:xfrm>
            <a:custGeom>
              <a:avLst/>
              <a:gdLst>
                <a:gd name="connsiteX0" fmla="*/ 427218 w 454066"/>
                <a:gd name="connsiteY0" fmla="*/ 329362 h 328901"/>
                <a:gd name="connsiteX1" fmla="*/ 27968 w 454066"/>
                <a:gd name="connsiteY1" fmla="*/ 329362 h 328901"/>
                <a:gd name="connsiteX2" fmla="*/ 560 w 454066"/>
                <a:gd name="connsiteY2" fmla="*/ 301954 h 328901"/>
                <a:gd name="connsiteX3" fmla="*/ 560 w 454066"/>
                <a:gd name="connsiteY3" fmla="*/ 27870 h 328901"/>
                <a:gd name="connsiteX4" fmla="*/ 27968 w 454066"/>
                <a:gd name="connsiteY4" fmla="*/ 461 h 328901"/>
                <a:gd name="connsiteX5" fmla="*/ 427218 w 454066"/>
                <a:gd name="connsiteY5" fmla="*/ 461 h 328901"/>
                <a:gd name="connsiteX6" fmla="*/ 454626 w 454066"/>
                <a:gd name="connsiteY6" fmla="*/ 27870 h 328901"/>
                <a:gd name="connsiteX7" fmla="*/ 454626 w 454066"/>
                <a:gd name="connsiteY7" fmla="*/ 301954 h 328901"/>
                <a:gd name="connsiteX8" fmla="*/ 427218 w 454066"/>
                <a:gd name="connsiteY8" fmla="*/ 329362 h 328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4066" h="328901">
                  <a:moveTo>
                    <a:pt x="427218" y="329362"/>
                  </a:moveTo>
                  <a:lnTo>
                    <a:pt x="27968" y="329362"/>
                  </a:lnTo>
                  <a:cubicBezTo>
                    <a:pt x="12894" y="329362"/>
                    <a:pt x="560" y="317029"/>
                    <a:pt x="560" y="301954"/>
                  </a:cubicBezTo>
                  <a:lnTo>
                    <a:pt x="560" y="27870"/>
                  </a:lnTo>
                  <a:cubicBezTo>
                    <a:pt x="560" y="12795"/>
                    <a:pt x="12894" y="461"/>
                    <a:pt x="27968" y="461"/>
                  </a:cubicBezTo>
                  <a:lnTo>
                    <a:pt x="427218" y="461"/>
                  </a:lnTo>
                  <a:cubicBezTo>
                    <a:pt x="442292" y="461"/>
                    <a:pt x="454626" y="12795"/>
                    <a:pt x="454626" y="27870"/>
                  </a:cubicBezTo>
                  <a:lnTo>
                    <a:pt x="454626" y="301954"/>
                  </a:lnTo>
                  <a:cubicBezTo>
                    <a:pt x="454626" y="317029"/>
                    <a:pt x="442292" y="329362"/>
                    <a:pt x="427218" y="329362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4" name="Freeform 523">
              <a:extLst>
                <a:ext uri="{FF2B5EF4-FFF2-40B4-BE49-F238E27FC236}">
                  <a16:creationId xmlns:a16="http://schemas.microsoft.com/office/drawing/2014/main" id="{9C250942-D7AA-70C3-5EFD-EDDF3FBCFC3B}"/>
                </a:ext>
              </a:extLst>
            </p:cNvPr>
            <p:cNvSpPr/>
            <p:nvPr/>
          </p:nvSpPr>
          <p:spPr>
            <a:xfrm flipV="1">
              <a:off x="2851652" y="480207"/>
              <a:ext cx="454066" cy="685"/>
            </a:xfrm>
            <a:custGeom>
              <a:avLst/>
              <a:gdLst>
                <a:gd name="connsiteX0" fmla="*/ 454656 w 454066"/>
                <a:gd name="connsiteY0" fmla="*/ 441 h 685"/>
                <a:gd name="connsiteX1" fmla="*/ 590 w 454066"/>
                <a:gd name="connsiteY1" fmla="*/ 441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4066" h="685">
                  <a:moveTo>
                    <a:pt x="454656" y="441"/>
                  </a:moveTo>
                  <a:lnTo>
                    <a:pt x="590" y="441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5" name="Freeform 524">
              <a:extLst>
                <a:ext uri="{FF2B5EF4-FFF2-40B4-BE49-F238E27FC236}">
                  <a16:creationId xmlns:a16="http://schemas.microsoft.com/office/drawing/2014/main" id="{4818519A-10C2-4BBF-19A1-B00AA86F4A17}"/>
                </a:ext>
              </a:extLst>
            </p:cNvPr>
            <p:cNvSpPr/>
            <p:nvPr/>
          </p:nvSpPr>
          <p:spPr>
            <a:xfrm flipV="1">
              <a:off x="2892764" y="589841"/>
              <a:ext cx="371840" cy="27408"/>
            </a:xfrm>
            <a:custGeom>
              <a:avLst/>
              <a:gdLst>
                <a:gd name="connsiteX0" fmla="*/ 172543 w 371840"/>
                <a:gd name="connsiteY0" fmla="*/ 28045 h 27408"/>
                <a:gd name="connsiteX1" fmla="*/ 27735 w 371840"/>
                <a:gd name="connsiteY1" fmla="*/ 28045 h 27408"/>
                <a:gd name="connsiteX2" fmla="*/ 326 w 371840"/>
                <a:gd name="connsiteY2" fmla="*/ 636 h 27408"/>
                <a:gd name="connsiteX3" fmla="*/ 372167 w 371840"/>
                <a:gd name="connsiteY3" fmla="*/ 636 h 27408"/>
                <a:gd name="connsiteX4" fmla="*/ 344759 w 371840"/>
                <a:gd name="connsiteY4" fmla="*/ 28045 h 27408"/>
                <a:gd name="connsiteX5" fmla="*/ 199951 w 371840"/>
                <a:gd name="connsiteY5" fmla="*/ 28045 h 27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1840" h="27408">
                  <a:moveTo>
                    <a:pt x="172543" y="28045"/>
                  </a:moveTo>
                  <a:lnTo>
                    <a:pt x="27735" y="28045"/>
                  </a:lnTo>
                  <a:cubicBezTo>
                    <a:pt x="12660" y="28045"/>
                    <a:pt x="326" y="15711"/>
                    <a:pt x="326" y="636"/>
                  </a:cubicBezTo>
                  <a:lnTo>
                    <a:pt x="372167" y="636"/>
                  </a:lnTo>
                  <a:cubicBezTo>
                    <a:pt x="372167" y="15711"/>
                    <a:pt x="359834" y="28045"/>
                    <a:pt x="344759" y="28045"/>
                  </a:cubicBezTo>
                  <a:lnTo>
                    <a:pt x="199951" y="28045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531" name="Graphic 526">
            <a:extLst>
              <a:ext uri="{FF2B5EF4-FFF2-40B4-BE49-F238E27FC236}">
                <a16:creationId xmlns:a16="http://schemas.microsoft.com/office/drawing/2014/main" id="{01D9ED3A-E1A5-E38C-B915-E8EE5FACDB14}"/>
              </a:ext>
            </a:extLst>
          </p:cNvPr>
          <p:cNvGrpSpPr/>
          <p:nvPr/>
        </p:nvGrpSpPr>
        <p:grpSpPr>
          <a:xfrm>
            <a:off x="2076312" y="1410907"/>
            <a:ext cx="440363" cy="440363"/>
            <a:chOff x="2858504" y="191504"/>
            <a:chExt cx="440363" cy="440363"/>
          </a:xfrm>
          <a:noFill/>
        </p:grpSpPr>
        <p:sp>
          <p:nvSpPr>
            <p:cNvPr id="532" name="Freeform 531">
              <a:extLst>
                <a:ext uri="{FF2B5EF4-FFF2-40B4-BE49-F238E27FC236}">
                  <a16:creationId xmlns:a16="http://schemas.microsoft.com/office/drawing/2014/main" id="{CCC06D99-8C1C-6447-C068-CAC68429A26F}"/>
                </a:ext>
              </a:extLst>
            </p:cNvPr>
            <p:cNvSpPr/>
            <p:nvPr/>
          </p:nvSpPr>
          <p:spPr>
            <a:xfrm flipV="1">
              <a:off x="2858504" y="191504"/>
              <a:ext cx="440363" cy="440363"/>
            </a:xfrm>
            <a:custGeom>
              <a:avLst/>
              <a:gdLst>
                <a:gd name="connsiteX0" fmla="*/ 440945 w 440363"/>
                <a:gd name="connsiteY0" fmla="*/ 220523 h 440363"/>
                <a:gd name="connsiteX1" fmla="*/ 220764 w 440363"/>
                <a:gd name="connsiteY1" fmla="*/ 341 h 440363"/>
                <a:gd name="connsiteX2" fmla="*/ 582 w 440363"/>
                <a:gd name="connsiteY2" fmla="*/ 220523 h 440363"/>
                <a:gd name="connsiteX3" fmla="*/ 220764 w 440363"/>
                <a:gd name="connsiteY3" fmla="*/ 440704 h 440363"/>
                <a:gd name="connsiteX4" fmla="*/ 440945 w 440363"/>
                <a:gd name="connsiteY4" fmla="*/ 220523 h 440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63" h="440363">
                  <a:moveTo>
                    <a:pt x="440945" y="220523"/>
                  </a:moveTo>
                  <a:cubicBezTo>
                    <a:pt x="440945" y="98920"/>
                    <a:pt x="342367" y="341"/>
                    <a:pt x="220764" y="341"/>
                  </a:cubicBezTo>
                  <a:cubicBezTo>
                    <a:pt x="99161" y="341"/>
                    <a:pt x="582" y="98920"/>
                    <a:pt x="582" y="220523"/>
                  </a:cubicBezTo>
                  <a:cubicBezTo>
                    <a:pt x="582" y="342126"/>
                    <a:pt x="99161" y="440704"/>
                    <a:pt x="220764" y="440704"/>
                  </a:cubicBezTo>
                  <a:cubicBezTo>
                    <a:pt x="342367" y="440704"/>
                    <a:pt x="440945" y="342126"/>
                    <a:pt x="440945" y="220523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3" name="Freeform 532">
              <a:extLst>
                <a:ext uri="{FF2B5EF4-FFF2-40B4-BE49-F238E27FC236}">
                  <a16:creationId xmlns:a16="http://schemas.microsoft.com/office/drawing/2014/main" id="{8486A86C-794E-4DEF-A7D2-E52676728DA4}"/>
                </a:ext>
              </a:extLst>
            </p:cNvPr>
            <p:cNvSpPr/>
            <p:nvPr/>
          </p:nvSpPr>
          <p:spPr>
            <a:xfrm flipV="1">
              <a:off x="3014732" y="292915"/>
              <a:ext cx="164450" cy="237540"/>
            </a:xfrm>
            <a:custGeom>
              <a:avLst/>
              <a:gdLst>
                <a:gd name="connsiteX0" fmla="*/ 278 w 164450"/>
                <a:gd name="connsiteY0" fmla="*/ 238012 h 237540"/>
                <a:gd name="connsiteX1" fmla="*/ 278 w 164450"/>
                <a:gd name="connsiteY1" fmla="*/ 471 h 237540"/>
                <a:gd name="connsiteX2" fmla="*/ 164729 w 164450"/>
                <a:gd name="connsiteY2" fmla="*/ 119241 h 237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4450" h="237540">
                  <a:moveTo>
                    <a:pt x="278" y="238012"/>
                  </a:moveTo>
                  <a:lnTo>
                    <a:pt x="278" y="471"/>
                  </a:lnTo>
                  <a:lnTo>
                    <a:pt x="164729" y="119241"/>
                  </a:ln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536" name="Graphic 534">
            <a:extLst>
              <a:ext uri="{FF2B5EF4-FFF2-40B4-BE49-F238E27FC236}">
                <a16:creationId xmlns:a16="http://schemas.microsoft.com/office/drawing/2014/main" id="{2F708A34-AB63-F871-DD7D-9C5443B2E160}"/>
              </a:ext>
            </a:extLst>
          </p:cNvPr>
          <p:cNvGrpSpPr/>
          <p:nvPr/>
        </p:nvGrpSpPr>
        <p:grpSpPr>
          <a:xfrm>
            <a:off x="688763" y="1448365"/>
            <a:ext cx="440363" cy="365446"/>
            <a:chOff x="2858504" y="228962"/>
            <a:chExt cx="440363" cy="365446"/>
          </a:xfrm>
          <a:noFill/>
        </p:grpSpPr>
        <p:sp>
          <p:nvSpPr>
            <p:cNvPr id="537" name="Freeform 536">
              <a:extLst>
                <a:ext uri="{FF2B5EF4-FFF2-40B4-BE49-F238E27FC236}">
                  <a16:creationId xmlns:a16="http://schemas.microsoft.com/office/drawing/2014/main" id="{859B283E-C911-9468-269A-E64B2E4FC597}"/>
                </a:ext>
              </a:extLst>
            </p:cNvPr>
            <p:cNvSpPr/>
            <p:nvPr/>
          </p:nvSpPr>
          <p:spPr>
            <a:xfrm flipV="1">
              <a:off x="2858504" y="287433"/>
              <a:ext cx="440363" cy="87707"/>
            </a:xfrm>
            <a:custGeom>
              <a:avLst/>
              <a:gdLst>
                <a:gd name="connsiteX0" fmla="*/ 440945 w 440363"/>
                <a:gd name="connsiteY0" fmla="*/ 46821 h 87707"/>
                <a:gd name="connsiteX1" fmla="*/ 440945 w 440363"/>
                <a:gd name="connsiteY1" fmla="*/ 227 h 87707"/>
                <a:gd name="connsiteX2" fmla="*/ 582 w 440363"/>
                <a:gd name="connsiteY2" fmla="*/ 227 h 87707"/>
                <a:gd name="connsiteX3" fmla="*/ 582 w 440363"/>
                <a:gd name="connsiteY3" fmla="*/ 46821 h 87707"/>
                <a:gd name="connsiteX4" fmla="*/ 41695 w 440363"/>
                <a:gd name="connsiteY4" fmla="*/ 87934 h 87707"/>
                <a:gd name="connsiteX5" fmla="*/ 399833 w 440363"/>
                <a:gd name="connsiteY5" fmla="*/ 87934 h 87707"/>
                <a:gd name="connsiteX6" fmla="*/ 440945 w 440363"/>
                <a:gd name="connsiteY6" fmla="*/ 46821 h 87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0363" h="87707">
                  <a:moveTo>
                    <a:pt x="440945" y="46821"/>
                  </a:moveTo>
                  <a:lnTo>
                    <a:pt x="440945" y="227"/>
                  </a:lnTo>
                  <a:lnTo>
                    <a:pt x="582" y="227"/>
                  </a:lnTo>
                  <a:lnTo>
                    <a:pt x="582" y="46821"/>
                  </a:lnTo>
                  <a:cubicBezTo>
                    <a:pt x="582" y="69528"/>
                    <a:pt x="18989" y="87934"/>
                    <a:pt x="41695" y="87934"/>
                  </a:cubicBezTo>
                  <a:lnTo>
                    <a:pt x="399833" y="87934"/>
                  </a:lnTo>
                  <a:cubicBezTo>
                    <a:pt x="422539" y="87934"/>
                    <a:pt x="440945" y="69528"/>
                    <a:pt x="440945" y="46821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8" name="Freeform 537">
              <a:extLst>
                <a:ext uri="{FF2B5EF4-FFF2-40B4-BE49-F238E27FC236}">
                  <a16:creationId xmlns:a16="http://schemas.microsoft.com/office/drawing/2014/main" id="{4C19D725-7123-0D8B-9634-70413ACB755D}"/>
                </a:ext>
              </a:extLst>
            </p:cNvPr>
            <p:cNvSpPr/>
            <p:nvPr/>
          </p:nvSpPr>
          <p:spPr>
            <a:xfrm flipV="1">
              <a:off x="2917889" y="433612"/>
              <a:ext cx="102325" cy="102325"/>
            </a:xfrm>
            <a:custGeom>
              <a:avLst/>
              <a:gdLst>
                <a:gd name="connsiteX0" fmla="*/ 102562 w 102325"/>
                <a:gd name="connsiteY0" fmla="*/ 51611 h 102325"/>
                <a:gd name="connsiteX1" fmla="*/ 51400 w 102325"/>
                <a:gd name="connsiteY1" fmla="*/ 448 h 102325"/>
                <a:gd name="connsiteX2" fmla="*/ 237 w 102325"/>
                <a:gd name="connsiteY2" fmla="*/ 51611 h 102325"/>
                <a:gd name="connsiteX3" fmla="*/ 51400 w 102325"/>
                <a:gd name="connsiteY3" fmla="*/ 102773 h 102325"/>
                <a:gd name="connsiteX4" fmla="*/ 102562 w 102325"/>
                <a:gd name="connsiteY4" fmla="*/ 51611 h 102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325" h="102325">
                  <a:moveTo>
                    <a:pt x="102562" y="51611"/>
                  </a:moveTo>
                  <a:cubicBezTo>
                    <a:pt x="102562" y="23354"/>
                    <a:pt x="79656" y="448"/>
                    <a:pt x="51400" y="448"/>
                  </a:cubicBezTo>
                  <a:cubicBezTo>
                    <a:pt x="23144" y="448"/>
                    <a:pt x="237" y="23354"/>
                    <a:pt x="237" y="51611"/>
                  </a:cubicBezTo>
                  <a:cubicBezTo>
                    <a:pt x="237" y="79867"/>
                    <a:pt x="23144" y="102773"/>
                    <a:pt x="51400" y="102773"/>
                  </a:cubicBezTo>
                  <a:cubicBezTo>
                    <a:pt x="79656" y="102773"/>
                    <a:pt x="102562" y="79867"/>
                    <a:pt x="102562" y="51611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9" name="Freeform 538">
              <a:extLst>
                <a:ext uri="{FF2B5EF4-FFF2-40B4-BE49-F238E27FC236}">
                  <a16:creationId xmlns:a16="http://schemas.microsoft.com/office/drawing/2014/main" id="{FA44459B-6F2A-1ECF-4268-C5F5A1C485CC}"/>
                </a:ext>
              </a:extLst>
            </p:cNvPr>
            <p:cNvSpPr/>
            <p:nvPr/>
          </p:nvSpPr>
          <p:spPr>
            <a:xfrm flipV="1">
              <a:off x="3093303" y="448230"/>
              <a:ext cx="146178" cy="685"/>
            </a:xfrm>
            <a:custGeom>
              <a:avLst/>
              <a:gdLst>
                <a:gd name="connsiteX0" fmla="*/ 146728 w 146178"/>
                <a:gd name="connsiteY0" fmla="*/ 395 h 685"/>
                <a:gd name="connsiteX1" fmla="*/ 549 w 146178"/>
                <a:gd name="connsiteY1" fmla="*/ 395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178" h="685">
                  <a:moveTo>
                    <a:pt x="146728" y="395"/>
                  </a:moveTo>
                  <a:lnTo>
                    <a:pt x="549" y="395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0" name="Freeform 539">
              <a:extLst>
                <a:ext uri="{FF2B5EF4-FFF2-40B4-BE49-F238E27FC236}">
                  <a16:creationId xmlns:a16="http://schemas.microsoft.com/office/drawing/2014/main" id="{6D2AB603-4F18-1557-517E-5E79E0D6C56F}"/>
                </a:ext>
              </a:extLst>
            </p:cNvPr>
            <p:cNvSpPr/>
            <p:nvPr/>
          </p:nvSpPr>
          <p:spPr>
            <a:xfrm flipV="1">
              <a:off x="3093303" y="521319"/>
              <a:ext cx="146178" cy="685"/>
            </a:xfrm>
            <a:custGeom>
              <a:avLst/>
              <a:gdLst>
                <a:gd name="connsiteX0" fmla="*/ 146728 w 146178"/>
                <a:gd name="connsiteY0" fmla="*/ 501 h 685"/>
                <a:gd name="connsiteX1" fmla="*/ 549 w 146178"/>
                <a:gd name="connsiteY1" fmla="*/ 501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178" h="685">
                  <a:moveTo>
                    <a:pt x="146728" y="501"/>
                  </a:moveTo>
                  <a:lnTo>
                    <a:pt x="549" y="501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1" name="Freeform 540">
              <a:extLst>
                <a:ext uri="{FF2B5EF4-FFF2-40B4-BE49-F238E27FC236}">
                  <a16:creationId xmlns:a16="http://schemas.microsoft.com/office/drawing/2014/main" id="{C2CA1E77-99B7-8764-D23F-CFB1C90A762E}"/>
                </a:ext>
              </a:extLst>
            </p:cNvPr>
            <p:cNvSpPr/>
            <p:nvPr/>
          </p:nvSpPr>
          <p:spPr>
            <a:xfrm flipV="1">
              <a:off x="2969051" y="345905"/>
              <a:ext cx="685" cy="29235"/>
            </a:xfrm>
            <a:custGeom>
              <a:avLst/>
              <a:gdLst>
                <a:gd name="connsiteX0" fmla="*/ 181 w 685"/>
                <a:gd name="connsiteY0" fmla="*/ 251 h 29235"/>
                <a:gd name="connsiteX1" fmla="*/ 181 w 685"/>
                <a:gd name="connsiteY1" fmla="*/ 29486 h 29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5" h="29235">
                  <a:moveTo>
                    <a:pt x="181" y="251"/>
                  </a:moveTo>
                  <a:lnTo>
                    <a:pt x="181" y="29486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2" name="Freeform 541">
              <a:extLst>
                <a:ext uri="{FF2B5EF4-FFF2-40B4-BE49-F238E27FC236}">
                  <a16:creationId xmlns:a16="http://schemas.microsoft.com/office/drawing/2014/main" id="{1B8D652A-FE1B-2CD3-6270-97B8F864C686}"/>
                </a:ext>
              </a:extLst>
            </p:cNvPr>
            <p:cNvSpPr/>
            <p:nvPr/>
          </p:nvSpPr>
          <p:spPr>
            <a:xfrm flipV="1">
              <a:off x="3056758" y="228962"/>
              <a:ext cx="190032" cy="58471"/>
            </a:xfrm>
            <a:custGeom>
              <a:avLst/>
              <a:gdLst>
                <a:gd name="connsiteX0" fmla="*/ 190584 w 190032"/>
                <a:gd name="connsiteY0" fmla="*/ 85 h 58471"/>
                <a:gd name="connsiteX1" fmla="*/ 552 w 190032"/>
                <a:gd name="connsiteY1" fmla="*/ 58557 h 5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032" h="58471">
                  <a:moveTo>
                    <a:pt x="190584" y="85"/>
                  </a:moveTo>
                  <a:lnTo>
                    <a:pt x="552" y="58557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3" name="Freeform 542">
              <a:extLst>
                <a:ext uri="{FF2B5EF4-FFF2-40B4-BE49-F238E27FC236}">
                  <a16:creationId xmlns:a16="http://schemas.microsoft.com/office/drawing/2014/main" id="{8C47C9E2-E194-537B-94BA-55DAFB45EBD6}"/>
                </a:ext>
              </a:extLst>
            </p:cNvPr>
            <p:cNvSpPr/>
            <p:nvPr/>
          </p:nvSpPr>
          <p:spPr>
            <a:xfrm flipV="1">
              <a:off x="2858504" y="287433"/>
              <a:ext cx="440363" cy="306975"/>
            </a:xfrm>
            <a:custGeom>
              <a:avLst/>
              <a:gdLst>
                <a:gd name="connsiteX0" fmla="*/ 399788 w 440363"/>
                <a:gd name="connsiteY0" fmla="*/ 216 h 306975"/>
                <a:gd name="connsiteX1" fmla="*/ 41650 w 440363"/>
                <a:gd name="connsiteY1" fmla="*/ 216 h 306975"/>
                <a:gd name="connsiteX2" fmla="*/ 537 w 440363"/>
                <a:gd name="connsiteY2" fmla="*/ 41329 h 306975"/>
                <a:gd name="connsiteX3" fmla="*/ 537 w 440363"/>
                <a:gd name="connsiteY3" fmla="*/ 266078 h 306975"/>
                <a:gd name="connsiteX4" fmla="*/ 41650 w 440363"/>
                <a:gd name="connsiteY4" fmla="*/ 307191 h 306975"/>
                <a:gd name="connsiteX5" fmla="*/ 399788 w 440363"/>
                <a:gd name="connsiteY5" fmla="*/ 307191 h 306975"/>
                <a:gd name="connsiteX6" fmla="*/ 440900 w 440363"/>
                <a:gd name="connsiteY6" fmla="*/ 266078 h 306975"/>
                <a:gd name="connsiteX7" fmla="*/ 440900 w 440363"/>
                <a:gd name="connsiteY7" fmla="*/ 41329 h 306975"/>
                <a:gd name="connsiteX8" fmla="*/ 399788 w 440363"/>
                <a:gd name="connsiteY8" fmla="*/ 216 h 306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0363" h="306975">
                  <a:moveTo>
                    <a:pt x="399788" y="216"/>
                  </a:moveTo>
                  <a:lnTo>
                    <a:pt x="41650" y="216"/>
                  </a:lnTo>
                  <a:cubicBezTo>
                    <a:pt x="18944" y="216"/>
                    <a:pt x="537" y="18623"/>
                    <a:pt x="537" y="41329"/>
                  </a:cubicBezTo>
                  <a:lnTo>
                    <a:pt x="537" y="266078"/>
                  </a:lnTo>
                  <a:cubicBezTo>
                    <a:pt x="537" y="288784"/>
                    <a:pt x="18944" y="307191"/>
                    <a:pt x="41650" y="307191"/>
                  </a:cubicBezTo>
                  <a:lnTo>
                    <a:pt x="399788" y="307191"/>
                  </a:lnTo>
                  <a:cubicBezTo>
                    <a:pt x="422494" y="307191"/>
                    <a:pt x="440900" y="288784"/>
                    <a:pt x="440900" y="266078"/>
                  </a:cubicBezTo>
                  <a:lnTo>
                    <a:pt x="440900" y="41329"/>
                  </a:lnTo>
                  <a:cubicBezTo>
                    <a:pt x="440900" y="18623"/>
                    <a:pt x="422494" y="216"/>
                    <a:pt x="399788" y="216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546" name="Graphic 544">
            <a:extLst>
              <a:ext uri="{FF2B5EF4-FFF2-40B4-BE49-F238E27FC236}">
                <a16:creationId xmlns:a16="http://schemas.microsoft.com/office/drawing/2014/main" id="{AB96EFE2-F3C1-152F-97D5-E9E9E6C8B7D8}"/>
              </a:ext>
            </a:extLst>
          </p:cNvPr>
          <p:cNvGrpSpPr/>
          <p:nvPr/>
        </p:nvGrpSpPr>
        <p:grpSpPr>
          <a:xfrm>
            <a:off x="3457794" y="1415475"/>
            <a:ext cx="431226" cy="431227"/>
            <a:chOff x="2863072" y="196072"/>
            <a:chExt cx="431226" cy="431227"/>
          </a:xfrm>
          <a:noFill/>
        </p:grpSpPr>
        <p:sp>
          <p:nvSpPr>
            <p:cNvPr id="547" name="Freeform 546">
              <a:extLst>
                <a:ext uri="{FF2B5EF4-FFF2-40B4-BE49-F238E27FC236}">
                  <a16:creationId xmlns:a16="http://schemas.microsoft.com/office/drawing/2014/main" id="{AC78E121-9F89-B630-2EB7-F17D3A6674C8}"/>
                </a:ext>
              </a:extLst>
            </p:cNvPr>
            <p:cNvSpPr/>
            <p:nvPr/>
          </p:nvSpPr>
          <p:spPr>
            <a:xfrm flipV="1">
              <a:off x="2863072" y="196072"/>
              <a:ext cx="351130" cy="359352"/>
            </a:xfrm>
            <a:custGeom>
              <a:avLst/>
              <a:gdLst>
                <a:gd name="connsiteX0" fmla="*/ 351605 w 351130"/>
                <a:gd name="connsiteY0" fmla="*/ 125998 h 359352"/>
                <a:gd name="connsiteX1" fmla="*/ 180156 w 351130"/>
                <a:gd name="connsiteY1" fmla="*/ 230 h 359352"/>
                <a:gd name="connsiteX2" fmla="*/ 475 w 351130"/>
                <a:gd name="connsiteY2" fmla="*/ 179902 h 359352"/>
                <a:gd name="connsiteX3" fmla="*/ 180156 w 351130"/>
                <a:gd name="connsiteY3" fmla="*/ 359583 h 359352"/>
                <a:gd name="connsiteX4" fmla="*/ 351605 w 351130"/>
                <a:gd name="connsiteY4" fmla="*/ 233805 h 35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1130" h="359352">
                  <a:moveTo>
                    <a:pt x="351605" y="125998"/>
                  </a:moveTo>
                  <a:cubicBezTo>
                    <a:pt x="328709" y="53110"/>
                    <a:pt x="260600" y="230"/>
                    <a:pt x="180156" y="230"/>
                  </a:cubicBezTo>
                  <a:cubicBezTo>
                    <a:pt x="80919" y="230"/>
                    <a:pt x="475" y="80674"/>
                    <a:pt x="475" y="179902"/>
                  </a:cubicBezTo>
                  <a:cubicBezTo>
                    <a:pt x="475" y="279139"/>
                    <a:pt x="80919" y="359583"/>
                    <a:pt x="180156" y="359583"/>
                  </a:cubicBezTo>
                  <a:cubicBezTo>
                    <a:pt x="260609" y="359583"/>
                    <a:pt x="328709" y="306703"/>
                    <a:pt x="351605" y="233805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8" name="Freeform 547">
              <a:extLst>
                <a:ext uri="{FF2B5EF4-FFF2-40B4-BE49-F238E27FC236}">
                  <a16:creationId xmlns:a16="http://schemas.microsoft.com/office/drawing/2014/main" id="{8715B5F1-CB43-B516-C7E0-E5BC5B709FB9}"/>
                </a:ext>
              </a:extLst>
            </p:cNvPr>
            <p:cNvSpPr/>
            <p:nvPr/>
          </p:nvSpPr>
          <p:spPr>
            <a:xfrm flipV="1">
              <a:off x="3169801" y="502801"/>
              <a:ext cx="124497" cy="124497"/>
            </a:xfrm>
            <a:custGeom>
              <a:avLst/>
              <a:gdLst>
                <a:gd name="connsiteX0" fmla="*/ 125131 w 124497"/>
                <a:gd name="connsiteY0" fmla="*/ 497 h 124497"/>
                <a:gd name="connsiteX1" fmla="*/ 633 w 124497"/>
                <a:gd name="connsiteY1" fmla="*/ 124995 h 124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497" h="124497">
                  <a:moveTo>
                    <a:pt x="125131" y="497"/>
                  </a:moveTo>
                  <a:lnTo>
                    <a:pt x="633" y="124995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9" name="Freeform 548">
              <a:extLst>
                <a:ext uri="{FF2B5EF4-FFF2-40B4-BE49-F238E27FC236}">
                  <a16:creationId xmlns:a16="http://schemas.microsoft.com/office/drawing/2014/main" id="{3135C6E2-0BBD-0188-C8F6-4AD31F74A14B}"/>
                </a:ext>
              </a:extLst>
            </p:cNvPr>
            <p:cNvSpPr/>
            <p:nvPr/>
          </p:nvSpPr>
          <p:spPr>
            <a:xfrm flipV="1">
              <a:off x="2934946" y="321849"/>
              <a:ext cx="359352" cy="107806"/>
            </a:xfrm>
            <a:custGeom>
              <a:avLst/>
              <a:gdLst>
                <a:gd name="connsiteX0" fmla="*/ 359943 w 359352"/>
                <a:gd name="connsiteY0" fmla="*/ 54192 h 107806"/>
                <a:gd name="connsiteX1" fmla="*/ 359943 w 359352"/>
                <a:gd name="connsiteY1" fmla="*/ 54192 h 107806"/>
                <a:gd name="connsiteX2" fmla="*/ 306040 w 359352"/>
                <a:gd name="connsiteY2" fmla="*/ 289 h 107806"/>
                <a:gd name="connsiteX3" fmla="*/ 54494 w 359352"/>
                <a:gd name="connsiteY3" fmla="*/ 289 h 107806"/>
                <a:gd name="connsiteX4" fmla="*/ 590 w 359352"/>
                <a:gd name="connsiteY4" fmla="*/ 54192 h 107806"/>
                <a:gd name="connsiteX5" fmla="*/ 54494 w 359352"/>
                <a:gd name="connsiteY5" fmla="*/ 108096 h 107806"/>
                <a:gd name="connsiteX6" fmla="*/ 306040 w 359352"/>
                <a:gd name="connsiteY6" fmla="*/ 108096 h 107806"/>
                <a:gd name="connsiteX7" fmla="*/ 359943 w 359352"/>
                <a:gd name="connsiteY7" fmla="*/ 54192 h 107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9352" h="107806">
                  <a:moveTo>
                    <a:pt x="359943" y="54192"/>
                  </a:moveTo>
                  <a:lnTo>
                    <a:pt x="359943" y="54192"/>
                  </a:lnTo>
                  <a:cubicBezTo>
                    <a:pt x="359943" y="24422"/>
                    <a:pt x="335810" y="289"/>
                    <a:pt x="306040" y="289"/>
                  </a:cubicBezTo>
                  <a:lnTo>
                    <a:pt x="54494" y="289"/>
                  </a:lnTo>
                  <a:cubicBezTo>
                    <a:pt x="24724" y="289"/>
                    <a:pt x="590" y="24422"/>
                    <a:pt x="590" y="54192"/>
                  </a:cubicBezTo>
                  <a:cubicBezTo>
                    <a:pt x="590" y="83962"/>
                    <a:pt x="24724" y="108096"/>
                    <a:pt x="54494" y="108096"/>
                  </a:cubicBezTo>
                  <a:lnTo>
                    <a:pt x="306040" y="108096"/>
                  </a:lnTo>
                  <a:cubicBezTo>
                    <a:pt x="335810" y="108096"/>
                    <a:pt x="359943" y="83962"/>
                    <a:pt x="359943" y="54192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552" name="Graphic 550">
            <a:extLst>
              <a:ext uri="{FF2B5EF4-FFF2-40B4-BE49-F238E27FC236}">
                <a16:creationId xmlns:a16="http://schemas.microsoft.com/office/drawing/2014/main" id="{C1599226-CDF9-304F-8FB6-87BF5D25601D}"/>
              </a:ext>
            </a:extLst>
          </p:cNvPr>
          <p:cNvGrpSpPr/>
          <p:nvPr/>
        </p:nvGrpSpPr>
        <p:grpSpPr>
          <a:xfrm>
            <a:off x="10403351" y="1410907"/>
            <a:ext cx="383718" cy="440363"/>
            <a:chOff x="2886826" y="191504"/>
            <a:chExt cx="383718" cy="440363"/>
          </a:xfrm>
          <a:noFill/>
        </p:grpSpPr>
        <p:sp>
          <p:nvSpPr>
            <p:cNvPr id="553" name="Freeform 552">
              <a:extLst>
                <a:ext uri="{FF2B5EF4-FFF2-40B4-BE49-F238E27FC236}">
                  <a16:creationId xmlns:a16="http://schemas.microsoft.com/office/drawing/2014/main" id="{18E29855-CBC4-D816-5832-3AA873649E60}"/>
                </a:ext>
              </a:extLst>
            </p:cNvPr>
            <p:cNvSpPr/>
            <p:nvPr/>
          </p:nvSpPr>
          <p:spPr>
            <a:xfrm flipV="1">
              <a:off x="3133502" y="191504"/>
              <a:ext cx="137042" cy="137042"/>
            </a:xfrm>
            <a:custGeom>
              <a:avLst/>
              <a:gdLst>
                <a:gd name="connsiteX0" fmla="*/ 137639 w 137042"/>
                <a:gd name="connsiteY0" fmla="*/ 68641 h 137042"/>
                <a:gd name="connsiteX1" fmla="*/ 69118 w 137042"/>
                <a:gd name="connsiteY1" fmla="*/ 120 h 137042"/>
                <a:gd name="connsiteX2" fmla="*/ 596 w 137042"/>
                <a:gd name="connsiteY2" fmla="*/ 68641 h 137042"/>
                <a:gd name="connsiteX3" fmla="*/ 69118 w 137042"/>
                <a:gd name="connsiteY3" fmla="*/ 137162 h 137042"/>
                <a:gd name="connsiteX4" fmla="*/ 137639 w 137042"/>
                <a:gd name="connsiteY4" fmla="*/ 68641 h 137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042" h="137042">
                  <a:moveTo>
                    <a:pt x="137639" y="68641"/>
                  </a:moveTo>
                  <a:cubicBezTo>
                    <a:pt x="137639" y="30798"/>
                    <a:pt x="106960" y="120"/>
                    <a:pt x="69118" y="120"/>
                  </a:cubicBezTo>
                  <a:cubicBezTo>
                    <a:pt x="31275" y="120"/>
                    <a:pt x="596" y="30798"/>
                    <a:pt x="596" y="68641"/>
                  </a:cubicBezTo>
                  <a:cubicBezTo>
                    <a:pt x="596" y="106484"/>
                    <a:pt x="31275" y="137162"/>
                    <a:pt x="69118" y="137162"/>
                  </a:cubicBezTo>
                  <a:cubicBezTo>
                    <a:pt x="106960" y="137162"/>
                    <a:pt x="137639" y="106484"/>
                    <a:pt x="137639" y="68641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4" name="Freeform 553">
              <a:extLst>
                <a:ext uri="{FF2B5EF4-FFF2-40B4-BE49-F238E27FC236}">
                  <a16:creationId xmlns:a16="http://schemas.microsoft.com/office/drawing/2014/main" id="{95447702-FE10-397A-2038-94D76936C7E7}"/>
                </a:ext>
              </a:extLst>
            </p:cNvPr>
            <p:cNvSpPr/>
            <p:nvPr/>
          </p:nvSpPr>
          <p:spPr>
            <a:xfrm flipV="1">
              <a:off x="2886826" y="329460"/>
              <a:ext cx="164450" cy="164450"/>
            </a:xfrm>
            <a:custGeom>
              <a:avLst/>
              <a:gdLst>
                <a:gd name="connsiteX0" fmla="*/ 164722 w 164450"/>
                <a:gd name="connsiteY0" fmla="*/ 82567 h 164450"/>
                <a:gd name="connsiteX1" fmla="*/ 82497 w 164450"/>
                <a:gd name="connsiteY1" fmla="*/ 341 h 164450"/>
                <a:gd name="connsiteX2" fmla="*/ 271 w 164450"/>
                <a:gd name="connsiteY2" fmla="*/ 82567 h 164450"/>
                <a:gd name="connsiteX3" fmla="*/ 82497 w 164450"/>
                <a:gd name="connsiteY3" fmla="*/ 164792 h 164450"/>
                <a:gd name="connsiteX4" fmla="*/ 164722 w 164450"/>
                <a:gd name="connsiteY4" fmla="*/ 82567 h 16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50" h="164450">
                  <a:moveTo>
                    <a:pt x="164722" y="82567"/>
                  </a:moveTo>
                  <a:cubicBezTo>
                    <a:pt x="164722" y="37155"/>
                    <a:pt x="127909" y="341"/>
                    <a:pt x="82497" y="341"/>
                  </a:cubicBezTo>
                  <a:cubicBezTo>
                    <a:pt x="37085" y="341"/>
                    <a:pt x="271" y="37155"/>
                    <a:pt x="271" y="82567"/>
                  </a:cubicBezTo>
                  <a:cubicBezTo>
                    <a:pt x="271" y="127979"/>
                    <a:pt x="37085" y="164792"/>
                    <a:pt x="82497" y="164792"/>
                  </a:cubicBezTo>
                  <a:cubicBezTo>
                    <a:pt x="127909" y="164792"/>
                    <a:pt x="164722" y="127979"/>
                    <a:pt x="164722" y="82567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5" name="Freeform 554">
              <a:extLst>
                <a:ext uri="{FF2B5EF4-FFF2-40B4-BE49-F238E27FC236}">
                  <a16:creationId xmlns:a16="http://schemas.microsoft.com/office/drawing/2014/main" id="{F1297B62-1BAF-082B-274E-8F5CE0F5A0D9}"/>
                </a:ext>
              </a:extLst>
            </p:cNvPr>
            <p:cNvSpPr/>
            <p:nvPr/>
          </p:nvSpPr>
          <p:spPr>
            <a:xfrm flipV="1">
              <a:off x="3133502" y="494824"/>
              <a:ext cx="137042" cy="137042"/>
            </a:xfrm>
            <a:custGeom>
              <a:avLst/>
              <a:gdLst>
                <a:gd name="connsiteX0" fmla="*/ 137639 w 137042"/>
                <a:gd name="connsiteY0" fmla="*/ 69084 h 137042"/>
                <a:gd name="connsiteX1" fmla="*/ 69118 w 137042"/>
                <a:gd name="connsiteY1" fmla="*/ 563 h 137042"/>
                <a:gd name="connsiteX2" fmla="*/ 596 w 137042"/>
                <a:gd name="connsiteY2" fmla="*/ 69084 h 137042"/>
                <a:gd name="connsiteX3" fmla="*/ 69118 w 137042"/>
                <a:gd name="connsiteY3" fmla="*/ 137605 h 137042"/>
                <a:gd name="connsiteX4" fmla="*/ 137639 w 137042"/>
                <a:gd name="connsiteY4" fmla="*/ 69084 h 137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042" h="137042">
                  <a:moveTo>
                    <a:pt x="137639" y="69084"/>
                  </a:moveTo>
                  <a:cubicBezTo>
                    <a:pt x="137639" y="31241"/>
                    <a:pt x="106960" y="563"/>
                    <a:pt x="69118" y="563"/>
                  </a:cubicBezTo>
                  <a:cubicBezTo>
                    <a:pt x="31275" y="563"/>
                    <a:pt x="596" y="31241"/>
                    <a:pt x="596" y="69084"/>
                  </a:cubicBezTo>
                  <a:cubicBezTo>
                    <a:pt x="596" y="106927"/>
                    <a:pt x="31275" y="137605"/>
                    <a:pt x="69118" y="137605"/>
                  </a:cubicBezTo>
                  <a:cubicBezTo>
                    <a:pt x="106960" y="137605"/>
                    <a:pt x="137639" y="106927"/>
                    <a:pt x="137639" y="69084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6" name="Freeform 555">
              <a:extLst>
                <a:ext uri="{FF2B5EF4-FFF2-40B4-BE49-F238E27FC236}">
                  <a16:creationId xmlns:a16="http://schemas.microsoft.com/office/drawing/2014/main" id="{65C416DA-4395-885D-D5BE-562F09345F5D}"/>
                </a:ext>
              </a:extLst>
            </p:cNvPr>
            <p:cNvSpPr/>
            <p:nvPr/>
          </p:nvSpPr>
          <p:spPr>
            <a:xfrm flipV="1">
              <a:off x="3039223" y="301660"/>
              <a:ext cx="108375" cy="67142"/>
            </a:xfrm>
            <a:custGeom>
              <a:avLst/>
              <a:gdLst>
                <a:gd name="connsiteX0" fmla="*/ 108797 w 108375"/>
                <a:gd name="connsiteY0" fmla="*/ 67409 h 67142"/>
                <a:gd name="connsiteX1" fmla="*/ 422 w 108375"/>
                <a:gd name="connsiteY1" fmla="*/ 267 h 6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375" h="67142">
                  <a:moveTo>
                    <a:pt x="108797" y="67409"/>
                  </a:moveTo>
                  <a:lnTo>
                    <a:pt x="422" y="26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7" name="Freeform 556">
              <a:extLst>
                <a:ext uri="{FF2B5EF4-FFF2-40B4-BE49-F238E27FC236}">
                  <a16:creationId xmlns:a16="http://schemas.microsoft.com/office/drawing/2014/main" id="{289E893E-84BA-227E-35A5-F4E21379F26D}"/>
                </a:ext>
              </a:extLst>
            </p:cNvPr>
            <p:cNvSpPr/>
            <p:nvPr/>
          </p:nvSpPr>
          <p:spPr>
            <a:xfrm flipV="1">
              <a:off x="3039223" y="454568"/>
              <a:ext cx="108375" cy="67142"/>
            </a:xfrm>
            <a:custGeom>
              <a:avLst/>
              <a:gdLst>
                <a:gd name="connsiteX0" fmla="*/ 304 w 108375"/>
                <a:gd name="connsiteY0" fmla="*/ 67632 h 67142"/>
                <a:gd name="connsiteX1" fmla="*/ 108679 w 108375"/>
                <a:gd name="connsiteY1" fmla="*/ 490 h 6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375" h="67142">
                  <a:moveTo>
                    <a:pt x="304" y="67632"/>
                  </a:moveTo>
                  <a:lnTo>
                    <a:pt x="108679" y="490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560" name="Graphic 558">
            <a:extLst>
              <a:ext uri="{FF2B5EF4-FFF2-40B4-BE49-F238E27FC236}">
                <a16:creationId xmlns:a16="http://schemas.microsoft.com/office/drawing/2014/main" id="{0F66CD21-71BE-6522-6871-8F74B963DB4C}"/>
              </a:ext>
            </a:extLst>
          </p:cNvPr>
          <p:cNvGrpSpPr/>
          <p:nvPr/>
        </p:nvGrpSpPr>
        <p:grpSpPr>
          <a:xfrm>
            <a:off x="1415387" y="3636393"/>
            <a:ext cx="379977" cy="440121"/>
            <a:chOff x="3701382" y="1004310"/>
            <a:chExt cx="379977" cy="440121"/>
          </a:xfrm>
          <a:noFill/>
        </p:grpSpPr>
        <p:sp>
          <p:nvSpPr>
            <p:cNvPr id="561" name="Freeform 560">
              <a:extLst>
                <a:ext uri="{FF2B5EF4-FFF2-40B4-BE49-F238E27FC236}">
                  <a16:creationId xmlns:a16="http://schemas.microsoft.com/office/drawing/2014/main" id="{CC049D51-E334-4E4F-3302-A8D3F30908D8}"/>
                </a:ext>
              </a:extLst>
            </p:cNvPr>
            <p:cNvSpPr/>
            <p:nvPr/>
          </p:nvSpPr>
          <p:spPr>
            <a:xfrm>
              <a:off x="3701382" y="1103302"/>
              <a:ext cx="306748" cy="341129"/>
            </a:xfrm>
            <a:custGeom>
              <a:avLst/>
              <a:gdLst>
                <a:gd name="connsiteX0" fmla="*/ 0 w 306748"/>
                <a:gd name="connsiteY0" fmla="*/ 0 h 341129"/>
                <a:gd name="connsiteX1" fmla="*/ 306748 w 306748"/>
                <a:gd name="connsiteY1" fmla="*/ 0 h 341129"/>
                <a:gd name="connsiteX2" fmla="*/ 306748 w 306748"/>
                <a:gd name="connsiteY2" fmla="*/ 341129 h 341129"/>
                <a:gd name="connsiteX3" fmla="*/ 0 w 306748"/>
                <a:gd name="connsiteY3" fmla="*/ 341129 h 34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6748" h="341129">
                  <a:moveTo>
                    <a:pt x="0" y="0"/>
                  </a:moveTo>
                  <a:lnTo>
                    <a:pt x="306748" y="0"/>
                  </a:lnTo>
                  <a:lnTo>
                    <a:pt x="306748" y="341129"/>
                  </a:lnTo>
                  <a:lnTo>
                    <a:pt x="0" y="341129"/>
                  </a:ln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2" name="Freeform 561">
              <a:extLst>
                <a:ext uri="{FF2B5EF4-FFF2-40B4-BE49-F238E27FC236}">
                  <a16:creationId xmlns:a16="http://schemas.microsoft.com/office/drawing/2014/main" id="{7A09DF6F-9126-8B56-AC81-03F128ED6331}"/>
                </a:ext>
              </a:extLst>
            </p:cNvPr>
            <p:cNvSpPr/>
            <p:nvPr/>
          </p:nvSpPr>
          <p:spPr>
            <a:xfrm>
              <a:off x="4008131" y="1103302"/>
              <a:ext cx="73229" cy="341129"/>
            </a:xfrm>
            <a:custGeom>
              <a:avLst/>
              <a:gdLst>
                <a:gd name="connsiteX0" fmla="*/ 0 w 73229"/>
                <a:gd name="connsiteY0" fmla="*/ 341129 h 341129"/>
                <a:gd name="connsiteX1" fmla="*/ 73229 w 73229"/>
                <a:gd name="connsiteY1" fmla="*/ 341129 h 341129"/>
                <a:gd name="connsiteX2" fmla="*/ 73229 w 73229"/>
                <a:gd name="connsiteY2" fmla="*/ 0 h 341129"/>
                <a:gd name="connsiteX3" fmla="*/ 0 w 73229"/>
                <a:gd name="connsiteY3" fmla="*/ 0 h 34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229" h="341129">
                  <a:moveTo>
                    <a:pt x="0" y="341129"/>
                  </a:moveTo>
                  <a:lnTo>
                    <a:pt x="73229" y="341129"/>
                  </a:lnTo>
                  <a:lnTo>
                    <a:pt x="73229" y="0"/>
                  </a:ln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3" name="Freeform 562">
              <a:extLst>
                <a:ext uri="{FF2B5EF4-FFF2-40B4-BE49-F238E27FC236}">
                  <a16:creationId xmlns:a16="http://schemas.microsoft.com/office/drawing/2014/main" id="{3E15314C-A815-6BEE-53EB-1B8908FA8B15}"/>
                </a:ext>
              </a:extLst>
            </p:cNvPr>
            <p:cNvSpPr/>
            <p:nvPr/>
          </p:nvSpPr>
          <p:spPr>
            <a:xfrm>
              <a:off x="3868279" y="1004310"/>
              <a:ext cx="139851" cy="98992"/>
            </a:xfrm>
            <a:custGeom>
              <a:avLst/>
              <a:gdLst>
                <a:gd name="connsiteX0" fmla="*/ 0 w 139851"/>
                <a:gd name="connsiteY0" fmla="*/ 98992 h 98992"/>
                <a:gd name="connsiteX1" fmla="*/ 0 w 139851"/>
                <a:gd name="connsiteY1" fmla="*/ 69926 h 98992"/>
                <a:gd name="connsiteX2" fmla="*/ 69926 w 139851"/>
                <a:gd name="connsiteY2" fmla="*/ 0 h 98992"/>
                <a:gd name="connsiteX3" fmla="*/ 69926 w 139851"/>
                <a:gd name="connsiteY3" fmla="*/ 0 h 98992"/>
                <a:gd name="connsiteX4" fmla="*/ 139852 w 139851"/>
                <a:gd name="connsiteY4" fmla="*/ 69926 h 98992"/>
                <a:gd name="connsiteX5" fmla="*/ 139852 w 139851"/>
                <a:gd name="connsiteY5" fmla="*/ 98992 h 98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851" h="98992">
                  <a:moveTo>
                    <a:pt x="0" y="98992"/>
                  </a:moveTo>
                  <a:lnTo>
                    <a:pt x="0" y="69926"/>
                  </a:lnTo>
                  <a:cubicBezTo>
                    <a:pt x="0" y="31307"/>
                    <a:pt x="31307" y="0"/>
                    <a:pt x="69926" y="0"/>
                  </a:cubicBezTo>
                  <a:lnTo>
                    <a:pt x="69926" y="0"/>
                  </a:lnTo>
                  <a:cubicBezTo>
                    <a:pt x="108545" y="0"/>
                    <a:pt x="139852" y="31307"/>
                    <a:pt x="139852" y="69926"/>
                  </a:cubicBezTo>
                  <a:lnTo>
                    <a:pt x="139852" y="98992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4" name="Freeform 563">
              <a:extLst>
                <a:ext uri="{FF2B5EF4-FFF2-40B4-BE49-F238E27FC236}">
                  <a16:creationId xmlns:a16="http://schemas.microsoft.com/office/drawing/2014/main" id="{59BC755A-B8B8-F18F-EC52-3BDC53408B3E}"/>
                </a:ext>
              </a:extLst>
            </p:cNvPr>
            <p:cNvSpPr/>
            <p:nvPr/>
          </p:nvSpPr>
          <p:spPr>
            <a:xfrm>
              <a:off x="3783271" y="1004310"/>
              <a:ext cx="139851" cy="161479"/>
            </a:xfrm>
            <a:custGeom>
              <a:avLst/>
              <a:gdLst>
                <a:gd name="connsiteX0" fmla="*/ 0 w 139851"/>
                <a:gd name="connsiteY0" fmla="*/ 161479 h 161479"/>
                <a:gd name="connsiteX1" fmla="*/ 0 w 139851"/>
                <a:gd name="connsiteY1" fmla="*/ 69926 h 161479"/>
                <a:gd name="connsiteX2" fmla="*/ 69926 w 139851"/>
                <a:gd name="connsiteY2" fmla="*/ 0 h 161479"/>
                <a:gd name="connsiteX3" fmla="*/ 69926 w 139851"/>
                <a:gd name="connsiteY3" fmla="*/ 0 h 161479"/>
                <a:gd name="connsiteX4" fmla="*/ 139852 w 139851"/>
                <a:gd name="connsiteY4" fmla="*/ 69926 h 161479"/>
                <a:gd name="connsiteX5" fmla="*/ 139852 w 139851"/>
                <a:gd name="connsiteY5" fmla="*/ 161479 h 161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851" h="161479">
                  <a:moveTo>
                    <a:pt x="0" y="161479"/>
                  </a:moveTo>
                  <a:lnTo>
                    <a:pt x="0" y="69926"/>
                  </a:lnTo>
                  <a:cubicBezTo>
                    <a:pt x="0" y="31307"/>
                    <a:pt x="31307" y="0"/>
                    <a:pt x="69926" y="0"/>
                  </a:cubicBezTo>
                  <a:lnTo>
                    <a:pt x="69926" y="0"/>
                  </a:lnTo>
                  <a:cubicBezTo>
                    <a:pt x="108545" y="0"/>
                    <a:pt x="139852" y="31307"/>
                    <a:pt x="139852" y="69926"/>
                  </a:cubicBezTo>
                  <a:lnTo>
                    <a:pt x="139852" y="161479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567" name="Graphic 565">
            <a:extLst>
              <a:ext uri="{FF2B5EF4-FFF2-40B4-BE49-F238E27FC236}">
                <a16:creationId xmlns:a16="http://schemas.microsoft.com/office/drawing/2014/main" id="{F7E23AAC-3D4A-8C78-2DC8-909AFF4F0EAA}"/>
              </a:ext>
            </a:extLst>
          </p:cNvPr>
          <p:cNvGrpSpPr/>
          <p:nvPr/>
        </p:nvGrpSpPr>
        <p:grpSpPr>
          <a:xfrm>
            <a:off x="688763" y="3664595"/>
            <a:ext cx="440362" cy="383717"/>
            <a:chOff x="2858504" y="219827"/>
            <a:chExt cx="440362" cy="383717"/>
          </a:xfrm>
          <a:noFill/>
        </p:grpSpPr>
        <p:sp>
          <p:nvSpPr>
            <p:cNvPr id="568" name="Freeform 567">
              <a:extLst>
                <a:ext uri="{FF2B5EF4-FFF2-40B4-BE49-F238E27FC236}">
                  <a16:creationId xmlns:a16="http://schemas.microsoft.com/office/drawing/2014/main" id="{EAF867BD-E535-040C-1577-9EE32D5E9E92}"/>
                </a:ext>
              </a:extLst>
            </p:cNvPr>
            <p:cNvSpPr/>
            <p:nvPr/>
          </p:nvSpPr>
          <p:spPr>
            <a:xfrm flipV="1">
              <a:off x="2941643" y="274644"/>
              <a:ext cx="357223" cy="191858"/>
            </a:xfrm>
            <a:custGeom>
              <a:avLst/>
              <a:gdLst>
                <a:gd name="connsiteX0" fmla="*/ 206 w 357223"/>
                <a:gd name="connsiteY0" fmla="*/ 192245 h 191858"/>
                <a:gd name="connsiteX1" fmla="*/ 357430 w 357223"/>
                <a:gd name="connsiteY1" fmla="*/ 192245 h 191858"/>
                <a:gd name="connsiteX2" fmla="*/ 302613 w 357223"/>
                <a:gd name="connsiteY2" fmla="*/ 386 h 191858"/>
                <a:gd name="connsiteX3" fmla="*/ 55023 w 357223"/>
                <a:gd name="connsiteY3" fmla="*/ 386 h 191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7223" h="191858">
                  <a:moveTo>
                    <a:pt x="206" y="192245"/>
                  </a:moveTo>
                  <a:lnTo>
                    <a:pt x="357430" y="192245"/>
                  </a:lnTo>
                  <a:lnTo>
                    <a:pt x="302613" y="386"/>
                  </a:lnTo>
                  <a:lnTo>
                    <a:pt x="55023" y="386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9" name="Freeform 568">
              <a:extLst>
                <a:ext uri="{FF2B5EF4-FFF2-40B4-BE49-F238E27FC236}">
                  <a16:creationId xmlns:a16="http://schemas.microsoft.com/office/drawing/2014/main" id="{2804EA9B-9B57-7F77-E646-4E92DE410BC1}"/>
                </a:ext>
              </a:extLst>
            </p:cNvPr>
            <p:cNvSpPr/>
            <p:nvPr/>
          </p:nvSpPr>
          <p:spPr>
            <a:xfrm flipV="1">
              <a:off x="3023868" y="548728"/>
              <a:ext cx="54816" cy="54816"/>
            </a:xfrm>
            <a:custGeom>
              <a:avLst/>
              <a:gdLst>
                <a:gd name="connsiteX0" fmla="*/ 55148 w 54816"/>
                <a:gd name="connsiteY0" fmla="*/ 27990 h 54816"/>
                <a:gd name="connsiteX1" fmla="*/ 27740 w 54816"/>
                <a:gd name="connsiteY1" fmla="*/ 581 h 54816"/>
                <a:gd name="connsiteX2" fmla="*/ 331 w 54816"/>
                <a:gd name="connsiteY2" fmla="*/ 27990 h 54816"/>
                <a:gd name="connsiteX3" fmla="*/ 27740 w 54816"/>
                <a:gd name="connsiteY3" fmla="*/ 55398 h 54816"/>
                <a:gd name="connsiteX4" fmla="*/ 55148 w 54816"/>
                <a:gd name="connsiteY4" fmla="*/ 27990 h 54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816" h="54816">
                  <a:moveTo>
                    <a:pt x="55148" y="27990"/>
                  </a:moveTo>
                  <a:cubicBezTo>
                    <a:pt x="55148" y="12853"/>
                    <a:pt x="42877" y="581"/>
                    <a:pt x="27740" y="581"/>
                  </a:cubicBezTo>
                  <a:cubicBezTo>
                    <a:pt x="12603" y="581"/>
                    <a:pt x="331" y="12853"/>
                    <a:pt x="331" y="27990"/>
                  </a:cubicBezTo>
                  <a:cubicBezTo>
                    <a:pt x="331" y="43127"/>
                    <a:pt x="12603" y="55398"/>
                    <a:pt x="27740" y="55398"/>
                  </a:cubicBezTo>
                  <a:cubicBezTo>
                    <a:pt x="42877" y="55398"/>
                    <a:pt x="55148" y="43127"/>
                    <a:pt x="55148" y="27990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0" name="Freeform 569">
              <a:extLst>
                <a:ext uri="{FF2B5EF4-FFF2-40B4-BE49-F238E27FC236}">
                  <a16:creationId xmlns:a16="http://schemas.microsoft.com/office/drawing/2014/main" id="{D5A95410-BEC7-548D-FBA5-043DAE7016AA}"/>
                </a:ext>
              </a:extLst>
            </p:cNvPr>
            <p:cNvSpPr/>
            <p:nvPr/>
          </p:nvSpPr>
          <p:spPr>
            <a:xfrm flipV="1">
              <a:off x="3161824" y="548728"/>
              <a:ext cx="54816" cy="54816"/>
            </a:xfrm>
            <a:custGeom>
              <a:avLst/>
              <a:gdLst>
                <a:gd name="connsiteX0" fmla="*/ 55350 w 54816"/>
                <a:gd name="connsiteY0" fmla="*/ 27990 h 54816"/>
                <a:gd name="connsiteX1" fmla="*/ 27941 w 54816"/>
                <a:gd name="connsiteY1" fmla="*/ 581 h 54816"/>
                <a:gd name="connsiteX2" fmla="*/ 533 w 54816"/>
                <a:gd name="connsiteY2" fmla="*/ 27990 h 54816"/>
                <a:gd name="connsiteX3" fmla="*/ 27941 w 54816"/>
                <a:gd name="connsiteY3" fmla="*/ 55398 h 54816"/>
                <a:gd name="connsiteX4" fmla="*/ 55350 w 54816"/>
                <a:gd name="connsiteY4" fmla="*/ 27990 h 54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816" h="54816">
                  <a:moveTo>
                    <a:pt x="55350" y="27990"/>
                  </a:moveTo>
                  <a:cubicBezTo>
                    <a:pt x="55350" y="12853"/>
                    <a:pt x="43078" y="581"/>
                    <a:pt x="27941" y="581"/>
                  </a:cubicBezTo>
                  <a:cubicBezTo>
                    <a:pt x="12804" y="581"/>
                    <a:pt x="533" y="12853"/>
                    <a:pt x="533" y="27990"/>
                  </a:cubicBezTo>
                  <a:cubicBezTo>
                    <a:pt x="533" y="43127"/>
                    <a:pt x="12804" y="55398"/>
                    <a:pt x="27941" y="55398"/>
                  </a:cubicBezTo>
                  <a:cubicBezTo>
                    <a:pt x="43078" y="55398"/>
                    <a:pt x="55350" y="43127"/>
                    <a:pt x="55350" y="27990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1" name="Freeform 570">
              <a:extLst>
                <a:ext uri="{FF2B5EF4-FFF2-40B4-BE49-F238E27FC236}">
                  <a16:creationId xmlns:a16="http://schemas.microsoft.com/office/drawing/2014/main" id="{E6C45B3F-238C-2370-2E90-B2D9CF217D9D}"/>
                </a:ext>
              </a:extLst>
            </p:cNvPr>
            <p:cNvSpPr/>
            <p:nvPr/>
          </p:nvSpPr>
          <p:spPr>
            <a:xfrm flipV="1">
              <a:off x="2985955" y="466503"/>
              <a:ext cx="258093" cy="54816"/>
            </a:xfrm>
            <a:custGeom>
              <a:avLst/>
              <a:gdLst>
                <a:gd name="connsiteX0" fmla="*/ 258629 w 258093"/>
                <a:gd name="connsiteY0" fmla="*/ 431 h 54816"/>
                <a:gd name="connsiteX1" fmla="*/ 27979 w 258093"/>
                <a:gd name="connsiteY1" fmla="*/ 431 h 54816"/>
                <a:gd name="connsiteX2" fmla="*/ 3464 w 258093"/>
                <a:gd name="connsiteY2" fmla="*/ 40098 h 54816"/>
                <a:gd name="connsiteX3" fmla="*/ 11040 w 258093"/>
                <a:gd name="connsiteY3" fmla="*/ 55248 h 54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8093" h="54816">
                  <a:moveTo>
                    <a:pt x="258629" y="431"/>
                  </a:moveTo>
                  <a:lnTo>
                    <a:pt x="27979" y="431"/>
                  </a:lnTo>
                  <a:cubicBezTo>
                    <a:pt x="7605" y="431"/>
                    <a:pt x="-5647" y="21873"/>
                    <a:pt x="3464" y="40098"/>
                  </a:cubicBezTo>
                  <a:lnTo>
                    <a:pt x="11040" y="55248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2" name="Freeform 571">
              <a:extLst>
                <a:ext uri="{FF2B5EF4-FFF2-40B4-BE49-F238E27FC236}">
                  <a16:creationId xmlns:a16="http://schemas.microsoft.com/office/drawing/2014/main" id="{31E0B525-C185-716F-B646-935B26C2D86A}"/>
                </a:ext>
              </a:extLst>
            </p:cNvPr>
            <p:cNvSpPr/>
            <p:nvPr/>
          </p:nvSpPr>
          <p:spPr>
            <a:xfrm flipV="1">
              <a:off x="2858504" y="219827"/>
              <a:ext cx="137955" cy="246675"/>
            </a:xfrm>
            <a:custGeom>
              <a:avLst/>
              <a:gdLst>
                <a:gd name="connsiteX0" fmla="*/ 45 w 137955"/>
                <a:gd name="connsiteY0" fmla="*/ 247052 h 246675"/>
                <a:gd name="connsiteX1" fmla="*/ 67526 w 137955"/>
                <a:gd name="connsiteY1" fmla="*/ 247052 h 246675"/>
                <a:gd name="connsiteX2" fmla="*/ 138001 w 137955"/>
                <a:gd name="connsiteY2" fmla="*/ 376 h 24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7955" h="246675">
                  <a:moveTo>
                    <a:pt x="45" y="247052"/>
                  </a:moveTo>
                  <a:lnTo>
                    <a:pt x="67526" y="247052"/>
                  </a:lnTo>
                  <a:cubicBezTo>
                    <a:pt x="90860" y="165367"/>
                    <a:pt x="138001" y="376"/>
                    <a:pt x="138001" y="376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575" name="Graphic 573">
            <a:extLst>
              <a:ext uri="{FF2B5EF4-FFF2-40B4-BE49-F238E27FC236}">
                <a16:creationId xmlns:a16="http://schemas.microsoft.com/office/drawing/2014/main" id="{DF3DC00B-DE19-FB75-4980-ADEA6025C428}"/>
              </a:ext>
            </a:extLst>
          </p:cNvPr>
          <p:cNvGrpSpPr/>
          <p:nvPr/>
        </p:nvGrpSpPr>
        <p:grpSpPr>
          <a:xfrm>
            <a:off x="5629099" y="1410906"/>
            <a:ext cx="261294" cy="440364"/>
            <a:chOff x="2948038" y="191503"/>
            <a:chExt cx="261294" cy="440364"/>
          </a:xfrm>
          <a:noFill/>
        </p:grpSpPr>
        <p:sp>
          <p:nvSpPr>
            <p:cNvPr id="576" name="Freeform 575">
              <a:extLst>
                <a:ext uri="{FF2B5EF4-FFF2-40B4-BE49-F238E27FC236}">
                  <a16:creationId xmlns:a16="http://schemas.microsoft.com/office/drawing/2014/main" id="{4A5D24CB-B772-0007-7463-C4F0D1E9F94B}"/>
                </a:ext>
              </a:extLst>
            </p:cNvPr>
            <p:cNvSpPr/>
            <p:nvPr/>
          </p:nvSpPr>
          <p:spPr>
            <a:xfrm flipV="1">
              <a:off x="2948038" y="191503"/>
              <a:ext cx="261294" cy="440364"/>
            </a:xfrm>
            <a:custGeom>
              <a:avLst/>
              <a:gdLst>
                <a:gd name="connsiteX0" fmla="*/ 222907 w 261294"/>
                <a:gd name="connsiteY0" fmla="*/ 100 h 440364"/>
                <a:gd name="connsiteX1" fmla="*/ 39271 w 261294"/>
                <a:gd name="connsiteY1" fmla="*/ 100 h 440364"/>
                <a:gd name="connsiteX2" fmla="*/ 442 w 261294"/>
                <a:gd name="connsiteY2" fmla="*/ 38929 h 440364"/>
                <a:gd name="connsiteX3" fmla="*/ 442 w 261294"/>
                <a:gd name="connsiteY3" fmla="*/ 401636 h 440364"/>
                <a:gd name="connsiteX4" fmla="*/ 39271 w 261294"/>
                <a:gd name="connsiteY4" fmla="*/ 440464 h 440364"/>
                <a:gd name="connsiteX5" fmla="*/ 222907 w 261294"/>
                <a:gd name="connsiteY5" fmla="*/ 440464 h 440364"/>
                <a:gd name="connsiteX6" fmla="*/ 261736 w 261294"/>
                <a:gd name="connsiteY6" fmla="*/ 401636 h 440364"/>
                <a:gd name="connsiteX7" fmla="*/ 261736 w 261294"/>
                <a:gd name="connsiteY7" fmla="*/ 38929 h 440364"/>
                <a:gd name="connsiteX8" fmla="*/ 222907 w 261294"/>
                <a:gd name="connsiteY8" fmla="*/ 100 h 44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1294" h="440364">
                  <a:moveTo>
                    <a:pt x="222907" y="100"/>
                  </a:moveTo>
                  <a:lnTo>
                    <a:pt x="39271" y="100"/>
                  </a:lnTo>
                  <a:cubicBezTo>
                    <a:pt x="17826" y="100"/>
                    <a:pt x="442" y="17485"/>
                    <a:pt x="442" y="38929"/>
                  </a:cubicBezTo>
                  <a:lnTo>
                    <a:pt x="442" y="401636"/>
                  </a:lnTo>
                  <a:cubicBezTo>
                    <a:pt x="442" y="423080"/>
                    <a:pt x="17826" y="440464"/>
                    <a:pt x="39271" y="440464"/>
                  </a:cubicBezTo>
                  <a:lnTo>
                    <a:pt x="222907" y="440464"/>
                  </a:lnTo>
                  <a:cubicBezTo>
                    <a:pt x="244352" y="440464"/>
                    <a:pt x="261736" y="423080"/>
                    <a:pt x="261736" y="401636"/>
                  </a:cubicBezTo>
                  <a:lnTo>
                    <a:pt x="261736" y="38929"/>
                  </a:lnTo>
                  <a:cubicBezTo>
                    <a:pt x="261736" y="17485"/>
                    <a:pt x="244352" y="100"/>
                    <a:pt x="222907" y="100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7" name="Freeform 576">
              <a:extLst>
                <a:ext uri="{FF2B5EF4-FFF2-40B4-BE49-F238E27FC236}">
                  <a16:creationId xmlns:a16="http://schemas.microsoft.com/office/drawing/2014/main" id="{DFA2E6F9-F54D-B45E-5597-088DDB233FC7}"/>
                </a:ext>
              </a:extLst>
            </p:cNvPr>
            <p:cNvSpPr/>
            <p:nvPr/>
          </p:nvSpPr>
          <p:spPr>
            <a:xfrm flipV="1">
              <a:off x="2948038" y="552382"/>
              <a:ext cx="261294" cy="685"/>
            </a:xfrm>
            <a:custGeom>
              <a:avLst/>
              <a:gdLst>
                <a:gd name="connsiteX0" fmla="*/ 198 w 261294"/>
                <a:gd name="connsiteY0" fmla="*/ 547 h 685"/>
                <a:gd name="connsiteX1" fmla="*/ 261493 w 261294"/>
                <a:gd name="connsiteY1" fmla="*/ 547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294" h="685">
                  <a:moveTo>
                    <a:pt x="198" y="547"/>
                  </a:moveTo>
                  <a:lnTo>
                    <a:pt x="261493" y="547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8" name="Freeform 577">
              <a:extLst>
                <a:ext uri="{FF2B5EF4-FFF2-40B4-BE49-F238E27FC236}">
                  <a16:creationId xmlns:a16="http://schemas.microsoft.com/office/drawing/2014/main" id="{0D9EFBAC-47FC-3DFE-BAE4-37AF1FD90475}"/>
                </a:ext>
              </a:extLst>
            </p:cNvPr>
            <p:cNvSpPr/>
            <p:nvPr/>
          </p:nvSpPr>
          <p:spPr>
            <a:xfrm flipV="1">
              <a:off x="3078685" y="590755"/>
              <a:ext cx="685" cy="1827"/>
            </a:xfrm>
            <a:custGeom>
              <a:avLst/>
              <a:gdLst>
                <a:gd name="connsiteX0" fmla="*/ 341 w 685"/>
                <a:gd name="connsiteY0" fmla="*/ 2432 h 1827"/>
                <a:gd name="connsiteX1" fmla="*/ 341 w 685"/>
                <a:gd name="connsiteY1" fmla="*/ 605 h 1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5" h="1827">
                  <a:moveTo>
                    <a:pt x="341" y="2432"/>
                  </a:moveTo>
                  <a:lnTo>
                    <a:pt x="341" y="605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581" name="Graphic 579">
            <a:extLst>
              <a:ext uri="{FF2B5EF4-FFF2-40B4-BE49-F238E27FC236}">
                <a16:creationId xmlns:a16="http://schemas.microsoft.com/office/drawing/2014/main" id="{7378695F-6323-6087-8B7C-DCD51E613E08}"/>
              </a:ext>
            </a:extLst>
          </p:cNvPr>
          <p:cNvGrpSpPr/>
          <p:nvPr/>
        </p:nvGrpSpPr>
        <p:grpSpPr>
          <a:xfrm>
            <a:off x="8982159" y="1410906"/>
            <a:ext cx="440363" cy="440364"/>
            <a:chOff x="2858504" y="191503"/>
            <a:chExt cx="440363" cy="440364"/>
          </a:xfrm>
          <a:noFill/>
        </p:grpSpPr>
        <p:sp>
          <p:nvSpPr>
            <p:cNvPr id="582" name="Freeform 581">
              <a:extLst>
                <a:ext uri="{FF2B5EF4-FFF2-40B4-BE49-F238E27FC236}">
                  <a16:creationId xmlns:a16="http://schemas.microsoft.com/office/drawing/2014/main" id="{F359F21E-FA95-030B-8B95-C607BF434495}"/>
                </a:ext>
              </a:extLst>
            </p:cNvPr>
            <p:cNvSpPr/>
            <p:nvPr/>
          </p:nvSpPr>
          <p:spPr>
            <a:xfrm flipV="1">
              <a:off x="3091479" y="424478"/>
              <a:ext cx="207388" cy="207389"/>
            </a:xfrm>
            <a:custGeom>
              <a:avLst/>
              <a:gdLst>
                <a:gd name="connsiteX0" fmla="*/ 208013 w 207388"/>
                <a:gd name="connsiteY0" fmla="*/ 104206 h 207389"/>
                <a:gd name="connsiteX1" fmla="*/ 129753 w 207388"/>
                <a:gd name="connsiteY1" fmla="*/ 3657 h 207389"/>
                <a:gd name="connsiteX2" fmla="*/ 104318 w 207388"/>
                <a:gd name="connsiteY2" fmla="*/ 511 h 207389"/>
                <a:gd name="connsiteX3" fmla="*/ 78885 w 207388"/>
                <a:gd name="connsiteY3" fmla="*/ 3657 h 207389"/>
                <a:gd name="connsiteX4" fmla="*/ 625 w 207388"/>
                <a:gd name="connsiteY4" fmla="*/ 104206 h 207389"/>
                <a:gd name="connsiteX5" fmla="*/ 104318 w 207388"/>
                <a:gd name="connsiteY5" fmla="*/ 207900 h 207389"/>
                <a:gd name="connsiteX6" fmla="*/ 208013 w 207388"/>
                <a:gd name="connsiteY6" fmla="*/ 104206 h 20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7388" h="207389">
                  <a:moveTo>
                    <a:pt x="208013" y="104206"/>
                  </a:moveTo>
                  <a:cubicBezTo>
                    <a:pt x="208013" y="55712"/>
                    <a:pt x="174728" y="14992"/>
                    <a:pt x="129753" y="3657"/>
                  </a:cubicBezTo>
                  <a:cubicBezTo>
                    <a:pt x="121614" y="1605"/>
                    <a:pt x="113094" y="511"/>
                    <a:pt x="104318" y="511"/>
                  </a:cubicBezTo>
                  <a:cubicBezTo>
                    <a:pt x="95544" y="511"/>
                    <a:pt x="87024" y="1605"/>
                    <a:pt x="78885" y="3657"/>
                  </a:cubicBezTo>
                  <a:cubicBezTo>
                    <a:pt x="33910" y="14992"/>
                    <a:pt x="625" y="55712"/>
                    <a:pt x="625" y="104206"/>
                  </a:cubicBezTo>
                  <a:cubicBezTo>
                    <a:pt x="625" y="161475"/>
                    <a:pt x="47050" y="207900"/>
                    <a:pt x="104318" y="207900"/>
                  </a:cubicBezTo>
                  <a:cubicBezTo>
                    <a:pt x="161588" y="207900"/>
                    <a:pt x="208013" y="161475"/>
                    <a:pt x="208013" y="104206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3" name="Freeform 582">
              <a:extLst>
                <a:ext uri="{FF2B5EF4-FFF2-40B4-BE49-F238E27FC236}">
                  <a16:creationId xmlns:a16="http://schemas.microsoft.com/office/drawing/2014/main" id="{93305F30-3C3E-5373-0886-50C0CA1DF78B}"/>
                </a:ext>
              </a:extLst>
            </p:cNvPr>
            <p:cNvSpPr/>
            <p:nvPr/>
          </p:nvSpPr>
          <p:spPr>
            <a:xfrm flipV="1">
              <a:off x="3163384" y="484700"/>
              <a:ext cx="63577" cy="63577"/>
            </a:xfrm>
            <a:custGeom>
              <a:avLst/>
              <a:gdLst>
                <a:gd name="connsiteX0" fmla="*/ 64124 w 63577"/>
                <a:gd name="connsiteY0" fmla="*/ 32284 h 63577"/>
                <a:gd name="connsiteX1" fmla="*/ 32335 w 63577"/>
                <a:gd name="connsiteY1" fmla="*/ 494 h 63577"/>
                <a:gd name="connsiteX2" fmla="*/ 546 w 63577"/>
                <a:gd name="connsiteY2" fmla="*/ 32284 h 63577"/>
                <a:gd name="connsiteX3" fmla="*/ 32335 w 63577"/>
                <a:gd name="connsiteY3" fmla="*/ 64072 h 63577"/>
                <a:gd name="connsiteX4" fmla="*/ 64124 w 63577"/>
                <a:gd name="connsiteY4" fmla="*/ 32284 h 6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77" h="63577">
                  <a:moveTo>
                    <a:pt x="64124" y="32284"/>
                  </a:moveTo>
                  <a:cubicBezTo>
                    <a:pt x="64124" y="14727"/>
                    <a:pt x="49891" y="494"/>
                    <a:pt x="32335" y="494"/>
                  </a:cubicBezTo>
                  <a:cubicBezTo>
                    <a:pt x="14778" y="494"/>
                    <a:pt x="546" y="14727"/>
                    <a:pt x="546" y="32284"/>
                  </a:cubicBezTo>
                  <a:cubicBezTo>
                    <a:pt x="546" y="49840"/>
                    <a:pt x="14778" y="64072"/>
                    <a:pt x="32335" y="64072"/>
                  </a:cubicBezTo>
                  <a:cubicBezTo>
                    <a:pt x="49891" y="64072"/>
                    <a:pt x="64124" y="49840"/>
                    <a:pt x="64124" y="32284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4" name="Freeform 583">
              <a:extLst>
                <a:ext uri="{FF2B5EF4-FFF2-40B4-BE49-F238E27FC236}">
                  <a16:creationId xmlns:a16="http://schemas.microsoft.com/office/drawing/2014/main" id="{02C182E0-68C6-BD37-A177-97D0B2DD339C}"/>
                </a:ext>
              </a:extLst>
            </p:cNvPr>
            <p:cNvSpPr/>
            <p:nvPr/>
          </p:nvSpPr>
          <p:spPr>
            <a:xfrm flipV="1">
              <a:off x="3138213" y="548277"/>
              <a:ext cx="113920" cy="66558"/>
            </a:xfrm>
            <a:custGeom>
              <a:avLst/>
              <a:gdLst>
                <a:gd name="connsiteX0" fmla="*/ 114494 w 113920"/>
                <a:gd name="connsiteY0" fmla="*/ 553 h 66558"/>
                <a:gd name="connsiteX1" fmla="*/ 114494 w 113920"/>
                <a:gd name="connsiteY1" fmla="*/ 10141 h 66558"/>
                <a:gd name="connsiteX2" fmla="*/ 57534 w 113920"/>
                <a:gd name="connsiteY2" fmla="*/ 67112 h 66558"/>
                <a:gd name="connsiteX3" fmla="*/ 574 w 113920"/>
                <a:gd name="connsiteY3" fmla="*/ 10141 h 66558"/>
                <a:gd name="connsiteX4" fmla="*/ 574 w 113920"/>
                <a:gd name="connsiteY4" fmla="*/ 553 h 6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920" h="66558">
                  <a:moveTo>
                    <a:pt x="114494" y="553"/>
                  </a:moveTo>
                  <a:lnTo>
                    <a:pt x="114494" y="10141"/>
                  </a:lnTo>
                  <a:cubicBezTo>
                    <a:pt x="114494" y="41612"/>
                    <a:pt x="88985" y="67112"/>
                    <a:pt x="57534" y="67112"/>
                  </a:cubicBezTo>
                  <a:cubicBezTo>
                    <a:pt x="26083" y="67112"/>
                    <a:pt x="574" y="41612"/>
                    <a:pt x="574" y="10141"/>
                  </a:cubicBezTo>
                  <a:lnTo>
                    <a:pt x="574" y="553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5" name="Freeform 584">
              <a:extLst>
                <a:ext uri="{FF2B5EF4-FFF2-40B4-BE49-F238E27FC236}">
                  <a16:creationId xmlns:a16="http://schemas.microsoft.com/office/drawing/2014/main" id="{9871390B-0C23-6452-BEDF-112BFA2DF332}"/>
                </a:ext>
              </a:extLst>
            </p:cNvPr>
            <p:cNvSpPr/>
            <p:nvPr/>
          </p:nvSpPr>
          <p:spPr>
            <a:xfrm flipV="1">
              <a:off x="2858504" y="191503"/>
              <a:ext cx="207388" cy="207389"/>
            </a:xfrm>
            <a:custGeom>
              <a:avLst/>
              <a:gdLst>
                <a:gd name="connsiteX0" fmla="*/ 207673 w 207388"/>
                <a:gd name="connsiteY0" fmla="*/ 103866 h 207389"/>
                <a:gd name="connsiteX1" fmla="*/ 129413 w 207388"/>
                <a:gd name="connsiteY1" fmla="*/ 3317 h 207389"/>
                <a:gd name="connsiteX2" fmla="*/ 103978 w 207388"/>
                <a:gd name="connsiteY2" fmla="*/ 171 h 207389"/>
                <a:gd name="connsiteX3" fmla="*/ 78545 w 207388"/>
                <a:gd name="connsiteY3" fmla="*/ 3317 h 207389"/>
                <a:gd name="connsiteX4" fmla="*/ 285 w 207388"/>
                <a:gd name="connsiteY4" fmla="*/ 103866 h 207389"/>
                <a:gd name="connsiteX5" fmla="*/ 103978 w 207388"/>
                <a:gd name="connsiteY5" fmla="*/ 207560 h 207389"/>
                <a:gd name="connsiteX6" fmla="*/ 207673 w 207388"/>
                <a:gd name="connsiteY6" fmla="*/ 103866 h 207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7388" h="207389">
                  <a:moveTo>
                    <a:pt x="207673" y="103866"/>
                  </a:moveTo>
                  <a:cubicBezTo>
                    <a:pt x="207673" y="55372"/>
                    <a:pt x="174388" y="14652"/>
                    <a:pt x="129413" y="3317"/>
                  </a:cubicBezTo>
                  <a:cubicBezTo>
                    <a:pt x="121274" y="1266"/>
                    <a:pt x="112754" y="171"/>
                    <a:pt x="103978" y="171"/>
                  </a:cubicBezTo>
                  <a:cubicBezTo>
                    <a:pt x="95204" y="171"/>
                    <a:pt x="86684" y="1266"/>
                    <a:pt x="78545" y="3317"/>
                  </a:cubicBezTo>
                  <a:cubicBezTo>
                    <a:pt x="33570" y="14652"/>
                    <a:pt x="285" y="55372"/>
                    <a:pt x="285" y="103866"/>
                  </a:cubicBezTo>
                  <a:cubicBezTo>
                    <a:pt x="285" y="161135"/>
                    <a:pt x="46710" y="207560"/>
                    <a:pt x="103978" y="207560"/>
                  </a:cubicBezTo>
                  <a:cubicBezTo>
                    <a:pt x="161248" y="207560"/>
                    <a:pt x="207673" y="161135"/>
                    <a:pt x="207673" y="103866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6" name="Freeform 585">
              <a:extLst>
                <a:ext uri="{FF2B5EF4-FFF2-40B4-BE49-F238E27FC236}">
                  <a16:creationId xmlns:a16="http://schemas.microsoft.com/office/drawing/2014/main" id="{DBC278A6-B3CF-ED5D-8F58-F8C667282F9B}"/>
                </a:ext>
              </a:extLst>
            </p:cNvPr>
            <p:cNvSpPr/>
            <p:nvPr/>
          </p:nvSpPr>
          <p:spPr>
            <a:xfrm flipV="1">
              <a:off x="2930409" y="251725"/>
              <a:ext cx="63577" cy="63576"/>
            </a:xfrm>
            <a:custGeom>
              <a:avLst/>
              <a:gdLst>
                <a:gd name="connsiteX0" fmla="*/ 63784 w 63577"/>
                <a:gd name="connsiteY0" fmla="*/ 31943 h 63576"/>
                <a:gd name="connsiteX1" fmla="*/ 31995 w 63577"/>
                <a:gd name="connsiteY1" fmla="*/ 154 h 63576"/>
                <a:gd name="connsiteX2" fmla="*/ 206 w 63577"/>
                <a:gd name="connsiteY2" fmla="*/ 31943 h 63576"/>
                <a:gd name="connsiteX3" fmla="*/ 31995 w 63577"/>
                <a:gd name="connsiteY3" fmla="*/ 63731 h 63576"/>
                <a:gd name="connsiteX4" fmla="*/ 63784 w 63577"/>
                <a:gd name="connsiteY4" fmla="*/ 31943 h 6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577" h="63576">
                  <a:moveTo>
                    <a:pt x="63784" y="31943"/>
                  </a:moveTo>
                  <a:cubicBezTo>
                    <a:pt x="63784" y="14386"/>
                    <a:pt x="49551" y="154"/>
                    <a:pt x="31995" y="154"/>
                  </a:cubicBezTo>
                  <a:cubicBezTo>
                    <a:pt x="14438" y="154"/>
                    <a:pt x="206" y="14386"/>
                    <a:pt x="206" y="31943"/>
                  </a:cubicBezTo>
                  <a:cubicBezTo>
                    <a:pt x="206" y="49499"/>
                    <a:pt x="14438" y="63731"/>
                    <a:pt x="31995" y="63731"/>
                  </a:cubicBezTo>
                  <a:cubicBezTo>
                    <a:pt x="49551" y="63731"/>
                    <a:pt x="63784" y="49499"/>
                    <a:pt x="63784" y="31943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7" name="Freeform 586">
              <a:extLst>
                <a:ext uri="{FF2B5EF4-FFF2-40B4-BE49-F238E27FC236}">
                  <a16:creationId xmlns:a16="http://schemas.microsoft.com/office/drawing/2014/main" id="{11312128-152F-C2F0-C686-D14B6F90101D}"/>
                </a:ext>
              </a:extLst>
            </p:cNvPr>
            <p:cNvSpPr/>
            <p:nvPr/>
          </p:nvSpPr>
          <p:spPr>
            <a:xfrm flipV="1">
              <a:off x="2905238" y="315302"/>
              <a:ext cx="113920" cy="66558"/>
            </a:xfrm>
            <a:custGeom>
              <a:avLst/>
              <a:gdLst>
                <a:gd name="connsiteX0" fmla="*/ 114154 w 113920"/>
                <a:gd name="connsiteY0" fmla="*/ 213 h 66558"/>
                <a:gd name="connsiteX1" fmla="*/ 114154 w 113920"/>
                <a:gd name="connsiteY1" fmla="*/ 9801 h 66558"/>
                <a:gd name="connsiteX2" fmla="*/ 57194 w 113920"/>
                <a:gd name="connsiteY2" fmla="*/ 66772 h 66558"/>
                <a:gd name="connsiteX3" fmla="*/ 234 w 113920"/>
                <a:gd name="connsiteY3" fmla="*/ 9801 h 66558"/>
                <a:gd name="connsiteX4" fmla="*/ 234 w 113920"/>
                <a:gd name="connsiteY4" fmla="*/ 213 h 6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920" h="66558">
                  <a:moveTo>
                    <a:pt x="114154" y="213"/>
                  </a:moveTo>
                  <a:lnTo>
                    <a:pt x="114154" y="9801"/>
                  </a:lnTo>
                  <a:cubicBezTo>
                    <a:pt x="114154" y="41272"/>
                    <a:pt x="88645" y="66772"/>
                    <a:pt x="57194" y="66772"/>
                  </a:cubicBezTo>
                  <a:cubicBezTo>
                    <a:pt x="25743" y="66772"/>
                    <a:pt x="234" y="41272"/>
                    <a:pt x="234" y="9801"/>
                  </a:cubicBezTo>
                  <a:lnTo>
                    <a:pt x="234" y="213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8" name="Freeform 587">
              <a:extLst>
                <a:ext uri="{FF2B5EF4-FFF2-40B4-BE49-F238E27FC236}">
                  <a16:creationId xmlns:a16="http://schemas.microsoft.com/office/drawing/2014/main" id="{98B61803-123A-47AB-D2B8-618D0BB6E4CD}"/>
                </a:ext>
              </a:extLst>
            </p:cNvPr>
            <p:cNvSpPr/>
            <p:nvPr/>
          </p:nvSpPr>
          <p:spPr>
            <a:xfrm flipV="1">
              <a:off x="3182530" y="237030"/>
              <a:ext cx="116337" cy="116336"/>
            </a:xfrm>
            <a:custGeom>
              <a:avLst/>
              <a:gdLst>
                <a:gd name="connsiteX0" fmla="*/ 116979 w 116337"/>
                <a:gd name="connsiteY0" fmla="*/ 58339 h 116336"/>
                <a:gd name="connsiteX1" fmla="*/ 58810 w 116337"/>
                <a:gd name="connsiteY1" fmla="*/ 171 h 116336"/>
                <a:gd name="connsiteX2" fmla="*/ 641 w 116337"/>
                <a:gd name="connsiteY2" fmla="*/ 58339 h 116336"/>
                <a:gd name="connsiteX3" fmla="*/ 58810 w 116337"/>
                <a:gd name="connsiteY3" fmla="*/ 116508 h 116336"/>
                <a:gd name="connsiteX4" fmla="*/ 116979 w 116337"/>
                <a:gd name="connsiteY4" fmla="*/ 58339 h 116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337" h="116336">
                  <a:moveTo>
                    <a:pt x="116979" y="58339"/>
                  </a:moveTo>
                  <a:cubicBezTo>
                    <a:pt x="116979" y="26214"/>
                    <a:pt x="90936" y="171"/>
                    <a:pt x="58810" y="171"/>
                  </a:cubicBezTo>
                  <a:cubicBezTo>
                    <a:pt x="26684" y="171"/>
                    <a:pt x="641" y="26214"/>
                    <a:pt x="641" y="58339"/>
                  </a:cubicBezTo>
                  <a:cubicBezTo>
                    <a:pt x="641" y="90465"/>
                    <a:pt x="26684" y="116508"/>
                    <a:pt x="58810" y="116508"/>
                  </a:cubicBezTo>
                  <a:cubicBezTo>
                    <a:pt x="90936" y="116508"/>
                    <a:pt x="116979" y="90465"/>
                    <a:pt x="116979" y="58339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9" name="Freeform 588">
              <a:extLst>
                <a:ext uri="{FF2B5EF4-FFF2-40B4-BE49-F238E27FC236}">
                  <a16:creationId xmlns:a16="http://schemas.microsoft.com/office/drawing/2014/main" id="{DB02C086-4781-B2F7-FCCD-489CA5F7E51D}"/>
                </a:ext>
              </a:extLst>
            </p:cNvPr>
            <p:cNvSpPr/>
            <p:nvPr/>
          </p:nvSpPr>
          <p:spPr>
            <a:xfrm flipV="1">
              <a:off x="2858504" y="470005"/>
              <a:ext cx="116337" cy="116336"/>
            </a:xfrm>
            <a:custGeom>
              <a:avLst/>
              <a:gdLst>
                <a:gd name="connsiteX0" fmla="*/ 116506 w 116337"/>
                <a:gd name="connsiteY0" fmla="*/ 58679 h 116336"/>
                <a:gd name="connsiteX1" fmla="*/ 58338 w 116337"/>
                <a:gd name="connsiteY1" fmla="*/ 511 h 116336"/>
                <a:gd name="connsiteX2" fmla="*/ 169 w 116337"/>
                <a:gd name="connsiteY2" fmla="*/ 58679 h 116336"/>
                <a:gd name="connsiteX3" fmla="*/ 58338 w 116337"/>
                <a:gd name="connsiteY3" fmla="*/ 116848 h 116336"/>
                <a:gd name="connsiteX4" fmla="*/ 116506 w 116337"/>
                <a:gd name="connsiteY4" fmla="*/ 58679 h 116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337" h="116336">
                  <a:moveTo>
                    <a:pt x="116506" y="58679"/>
                  </a:moveTo>
                  <a:cubicBezTo>
                    <a:pt x="116506" y="26554"/>
                    <a:pt x="90463" y="511"/>
                    <a:pt x="58338" y="511"/>
                  </a:cubicBezTo>
                  <a:cubicBezTo>
                    <a:pt x="26211" y="511"/>
                    <a:pt x="169" y="26554"/>
                    <a:pt x="169" y="58679"/>
                  </a:cubicBezTo>
                  <a:cubicBezTo>
                    <a:pt x="169" y="90805"/>
                    <a:pt x="26211" y="116848"/>
                    <a:pt x="58338" y="116848"/>
                  </a:cubicBezTo>
                  <a:cubicBezTo>
                    <a:pt x="90463" y="116848"/>
                    <a:pt x="116506" y="90805"/>
                    <a:pt x="116506" y="58679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0" name="Freeform 589">
              <a:extLst>
                <a:ext uri="{FF2B5EF4-FFF2-40B4-BE49-F238E27FC236}">
                  <a16:creationId xmlns:a16="http://schemas.microsoft.com/office/drawing/2014/main" id="{DF373FD7-0559-B3C4-D607-D149FCB8D4A0}"/>
                </a:ext>
              </a:extLst>
            </p:cNvPr>
            <p:cNvSpPr/>
            <p:nvPr/>
          </p:nvSpPr>
          <p:spPr>
            <a:xfrm flipV="1">
              <a:off x="3065892" y="295198"/>
              <a:ext cx="116637" cy="685"/>
            </a:xfrm>
            <a:custGeom>
              <a:avLst/>
              <a:gdLst>
                <a:gd name="connsiteX0" fmla="*/ 117109 w 116637"/>
                <a:gd name="connsiteY0" fmla="*/ 171 h 685"/>
                <a:gd name="connsiteX1" fmla="*/ 472 w 116637"/>
                <a:gd name="connsiteY1" fmla="*/ 171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637" h="685">
                  <a:moveTo>
                    <a:pt x="117109" y="171"/>
                  </a:moveTo>
                  <a:lnTo>
                    <a:pt x="472" y="171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1" name="Freeform 590">
              <a:extLst>
                <a:ext uri="{FF2B5EF4-FFF2-40B4-BE49-F238E27FC236}">
                  <a16:creationId xmlns:a16="http://schemas.microsoft.com/office/drawing/2014/main" id="{DA1E891A-48C4-9B36-8E09-65913F011131}"/>
                </a:ext>
              </a:extLst>
            </p:cNvPr>
            <p:cNvSpPr/>
            <p:nvPr/>
          </p:nvSpPr>
          <p:spPr>
            <a:xfrm flipV="1">
              <a:off x="2974841" y="528173"/>
              <a:ext cx="116637" cy="685"/>
            </a:xfrm>
            <a:custGeom>
              <a:avLst/>
              <a:gdLst>
                <a:gd name="connsiteX0" fmla="*/ 116976 w 116637"/>
                <a:gd name="connsiteY0" fmla="*/ 511 h 685"/>
                <a:gd name="connsiteX1" fmla="*/ 339 w 116637"/>
                <a:gd name="connsiteY1" fmla="*/ 511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6637" h="685">
                  <a:moveTo>
                    <a:pt x="116976" y="511"/>
                  </a:moveTo>
                  <a:lnTo>
                    <a:pt x="339" y="511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2" name="Freeform 591">
              <a:extLst>
                <a:ext uri="{FF2B5EF4-FFF2-40B4-BE49-F238E27FC236}">
                  <a16:creationId xmlns:a16="http://schemas.microsoft.com/office/drawing/2014/main" id="{FF08B0EA-F8F1-F365-2821-CC90D47F1585}"/>
                </a:ext>
              </a:extLst>
            </p:cNvPr>
            <p:cNvSpPr/>
            <p:nvPr/>
          </p:nvSpPr>
          <p:spPr>
            <a:xfrm flipV="1">
              <a:off x="3035517" y="368517"/>
              <a:ext cx="86327" cy="86327"/>
            </a:xfrm>
            <a:custGeom>
              <a:avLst/>
              <a:gdLst>
                <a:gd name="connsiteX0" fmla="*/ 86716 w 86327"/>
                <a:gd name="connsiteY0" fmla="*/ 294 h 86327"/>
                <a:gd name="connsiteX1" fmla="*/ 389 w 86327"/>
                <a:gd name="connsiteY1" fmla="*/ 86622 h 8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327" h="86327">
                  <a:moveTo>
                    <a:pt x="86716" y="294"/>
                  </a:moveTo>
                  <a:lnTo>
                    <a:pt x="389" y="86622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595" name="Graphic 593">
            <a:extLst>
              <a:ext uri="{FF2B5EF4-FFF2-40B4-BE49-F238E27FC236}">
                <a16:creationId xmlns:a16="http://schemas.microsoft.com/office/drawing/2014/main" id="{7603AF89-0021-B87F-56B2-7EAB05F29DDD}"/>
              </a:ext>
            </a:extLst>
          </p:cNvPr>
          <p:cNvGrpSpPr/>
          <p:nvPr/>
        </p:nvGrpSpPr>
        <p:grpSpPr>
          <a:xfrm>
            <a:off x="10375029" y="2521648"/>
            <a:ext cx="440363" cy="440363"/>
            <a:chOff x="2858504" y="191504"/>
            <a:chExt cx="440363" cy="440363"/>
          </a:xfrm>
          <a:noFill/>
        </p:grpSpPr>
        <p:sp>
          <p:nvSpPr>
            <p:cNvPr id="596" name="Freeform 595">
              <a:extLst>
                <a:ext uri="{FF2B5EF4-FFF2-40B4-BE49-F238E27FC236}">
                  <a16:creationId xmlns:a16="http://schemas.microsoft.com/office/drawing/2014/main" id="{FC40ED43-B031-DE70-AB3B-9216AD4A3167}"/>
                </a:ext>
              </a:extLst>
            </p:cNvPr>
            <p:cNvSpPr/>
            <p:nvPr/>
          </p:nvSpPr>
          <p:spPr>
            <a:xfrm flipV="1">
              <a:off x="3034649" y="352970"/>
              <a:ext cx="88072" cy="88072"/>
            </a:xfrm>
            <a:custGeom>
              <a:avLst/>
              <a:gdLst>
                <a:gd name="connsiteX0" fmla="*/ 44378 w 88072"/>
                <a:gd name="connsiteY0" fmla="*/ 88441 h 88072"/>
                <a:gd name="connsiteX1" fmla="*/ 88414 w 88072"/>
                <a:gd name="connsiteY1" fmla="*/ 44404 h 88072"/>
                <a:gd name="connsiteX2" fmla="*/ 44378 w 88072"/>
                <a:gd name="connsiteY2" fmla="*/ 368 h 88072"/>
                <a:gd name="connsiteX3" fmla="*/ 341 w 88072"/>
                <a:gd name="connsiteY3" fmla="*/ 44404 h 88072"/>
                <a:gd name="connsiteX4" fmla="*/ 44378 w 88072"/>
                <a:gd name="connsiteY4" fmla="*/ 88441 h 88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072" h="88072">
                  <a:moveTo>
                    <a:pt x="44378" y="88441"/>
                  </a:moveTo>
                  <a:cubicBezTo>
                    <a:pt x="68683" y="88441"/>
                    <a:pt x="88414" y="68705"/>
                    <a:pt x="88414" y="44404"/>
                  </a:cubicBezTo>
                  <a:cubicBezTo>
                    <a:pt x="88414" y="20104"/>
                    <a:pt x="68683" y="368"/>
                    <a:pt x="44378" y="368"/>
                  </a:cubicBezTo>
                  <a:cubicBezTo>
                    <a:pt x="20073" y="368"/>
                    <a:pt x="341" y="20104"/>
                    <a:pt x="341" y="44404"/>
                  </a:cubicBezTo>
                  <a:cubicBezTo>
                    <a:pt x="341" y="68705"/>
                    <a:pt x="20073" y="88441"/>
                    <a:pt x="44378" y="88441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7" name="Freeform 596">
              <a:extLst>
                <a:ext uri="{FF2B5EF4-FFF2-40B4-BE49-F238E27FC236}">
                  <a16:creationId xmlns:a16="http://schemas.microsoft.com/office/drawing/2014/main" id="{3FE6E46C-0955-5173-29AD-2FB7A943D4C9}"/>
                </a:ext>
              </a:extLst>
            </p:cNvPr>
            <p:cNvSpPr/>
            <p:nvPr/>
          </p:nvSpPr>
          <p:spPr>
            <a:xfrm flipV="1">
              <a:off x="2858504" y="191504"/>
              <a:ext cx="73393" cy="73393"/>
            </a:xfrm>
            <a:custGeom>
              <a:avLst/>
              <a:gdLst>
                <a:gd name="connsiteX0" fmla="*/ 36771 w 73393"/>
                <a:gd name="connsiteY0" fmla="*/ 73507 h 73393"/>
                <a:gd name="connsiteX1" fmla="*/ 73467 w 73393"/>
                <a:gd name="connsiteY1" fmla="*/ 36810 h 73393"/>
                <a:gd name="connsiteX2" fmla="*/ 36771 w 73393"/>
                <a:gd name="connsiteY2" fmla="*/ 114 h 73393"/>
                <a:gd name="connsiteX3" fmla="*/ 74 w 73393"/>
                <a:gd name="connsiteY3" fmla="*/ 36810 h 73393"/>
                <a:gd name="connsiteX4" fmla="*/ 36771 w 73393"/>
                <a:gd name="connsiteY4" fmla="*/ 73507 h 73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393" h="73393">
                  <a:moveTo>
                    <a:pt x="36771" y="73507"/>
                  </a:moveTo>
                  <a:cubicBezTo>
                    <a:pt x="57025" y="73507"/>
                    <a:pt x="73467" y="57068"/>
                    <a:pt x="73467" y="36810"/>
                  </a:cubicBezTo>
                  <a:cubicBezTo>
                    <a:pt x="73467" y="16553"/>
                    <a:pt x="57025" y="114"/>
                    <a:pt x="36771" y="114"/>
                  </a:cubicBezTo>
                  <a:cubicBezTo>
                    <a:pt x="16517" y="114"/>
                    <a:pt x="74" y="16553"/>
                    <a:pt x="74" y="36810"/>
                  </a:cubicBezTo>
                  <a:cubicBezTo>
                    <a:pt x="74" y="57068"/>
                    <a:pt x="16517" y="73507"/>
                    <a:pt x="36771" y="73507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8" name="Freeform 597">
              <a:extLst>
                <a:ext uri="{FF2B5EF4-FFF2-40B4-BE49-F238E27FC236}">
                  <a16:creationId xmlns:a16="http://schemas.microsoft.com/office/drawing/2014/main" id="{A6117A50-EF58-4307-D7F8-F3D76282C206}"/>
                </a:ext>
              </a:extLst>
            </p:cNvPr>
            <p:cNvSpPr/>
            <p:nvPr/>
          </p:nvSpPr>
          <p:spPr>
            <a:xfrm flipV="1">
              <a:off x="3225473" y="558473"/>
              <a:ext cx="73393" cy="73393"/>
            </a:xfrm>
            <a:custGeom>
              <a:avLst/>
              <a:gdLst>
                <a:gd name="connsiteX0" fmla="*/ 37305 w 73393"/>
                <a:gd name="connsiteY0" fmla="*/ 74043 h 73393"/>
                <a:gd name="connsiteX1" fmla="*/ 74003 w 73393"/>
                <a:gd name="connsiteY1" fmla="*/ 37347 h 73393"/>
                <a:gd name="connsiteX2" fmla="*/ 37305 w 73393"/>
                <a:gd name="connsiteY2" fmla="*/ 649 h 73393"/>
                <a:gd name="connsiteX3" fmla="*/ 609 w 73393"/>
                <a:gd name="connsiteY3" fmla="*/ 37347 h 73393"/>
                <a:gd name="connsiteX4" fmla="*/ 37305 w 73393"/>
                <a:gd name="connsiteY4" fmla="*/ 74043 h 73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393" h="73393">
                  <a:moveTo>
                    <a:pt x="37305" y="74043"/>
                  </a:moveTo>
                  <a:cubicBezTo>
                    <a:pt x="57559" y="74043"/>
                    <a:pt x="74003" y="57603"/>
                    <a:pt x="74003" y="37347"/>
                  </a:cubicBezTo>
                  <a:cubicBezTo>
                    <a:pt x="74003" y="17089"/>
                    <a:pt x="57559" y="649"/>
                    <a:pt x="37305" y="649"/>
                  </a:cubicBezTo>
                  <a:cubicBezTo>
                    <a:pt x="17051" y="649"/>
                    <a:pt x="609" y="17089"/>
                    <a:pt x="609" y="37347"/>
                  </a:cubicBezTo>
                  <a:cubicBezTo>
                    <a:pt x="609" y="57603"/>
                    <a:pt x="17051" y="74043"/>
                    <a:pt x="37305" y="74043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9" name="Freeform 598">
              <a:extLst>
                <a:ext uri="{FF2B5EF4-FFF2-40B4-BE49-F238E27FC236}">
                  <a16:creationId xmlns:a16="http://schemas.microsoft.com/office/drawing/2014/main" id="{0D108AA3-1C55-D84C-9F2B-0027F0ABAC23}"/>
                </a:ext>
              </a:extLst>
            </p:cNvPr>
            <p:cNvSpPr/>
            <p:nvPr/>
          </p:nvSpPr>
          <p:spPr>
            <a:xfrm flipV="1">
              <a:off x="3196116" y="191504"/>
              <a:ext cx="102750" cy="102751"/>
            </a:xfrm>
            <a:custGeom>
              <a:avLst/>
              <a:gdLst>
                <a:gd name="connsiteX0" fmla="*/ 51963 w 102750"/>
                <a:gd name="connsiteY0" fmla="*/ 102903 h 102751"/>
                <a:gd name="connsiteX1" fmla="*/ 103338 w 102750"/>
                <a:gd name="connsiteY1" fmla="*/ 51528 h 102751"/>
                <a:gd name="connsiteX2" fmla="*/ 51963 w 102750"/>
                <a:gd name="connsiteY2" fmla="*/ 151 h 102751"/>
                <a:gd name="connsiteX3" fmla="*/ 588 w 102750"/>
                <a:gd name="connsiteY3" fmla="*/ 51528 h 102751"/>
                <a:gd name="connsiteX4" fmla="*/ 51963 w 102750"/>
                <a:gd name="connsiteY4" fmla="*/ 102903 h 102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750" h="102751">
                  <a:moveTo>
                    <a:pt x="51963" y="102903"/>
                  </a:moveTo>
                  <a:cubicBezTo>
                    <a:pt x="80318" y="102903"/>
                    <a:pt x="103338" y="79880"/>
                    <a:pt x="103338" y="51528"/>
                  </a:cubicBezTo>
                  <a:cubicBezTo>
                    <a:pt x="103338" y="23174"/>
                    <a:pt x="80318" y="151"/>
                    <a:pt x="51963" y="151"/>
                  </a:cubicBezTo>
                  <a:cubicBezTo>
                    <a:pt x="23608" y="151"/>
                    <a:pt x="588" y="23174"/>
                    <a:pt x="588" y="51528"/>
                  </a:cubicBezTo>
                  <a:cubicBezTo>
                    <a:pt x="588" y="79880"/>
                    <a:pt x="23608" y="102903"/>
                    <a:pt x="51963" y="102903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0" name="Freeform 599">
              <a:extLst>
                <a:ext uri="{FF2B5EF4-FFF2-40B4-BE49-F238E27FC236}">
                  <a16:creationId xmlns:a16="http://schemas.microsoft.com/office/drawing/2014/main" id="{136D4F77-B761-FC28-2162-65829EECF797}"/>
                </a:ext>
              </a:extLst>
            </p:cNvPr>
            <p:cNvSpPr/>
            <p:nvPr/>
          </p:nvSpPr>
          <p:spPr>
            <a:xfrm flipV="1">
              <a:off x="2858504" y="529115"/>
              <a:ext cx="102750" cy="102751"/>
            </a:xfrm>
            <a:custGeom>
              <a:avLst/>
              <a:gdLst>
                <a:gd name="connsiteX0" fmla="*/ 51470 w 102750"/>
                <a:gd name="connsiteY0" fmla="*/ 103396 h 102751"/>
                <a:gd name="connsiteX1" fmla="*/ 102846 w 102750"/>
                <a:gd name="connsiteY1" fmla="*/ 52020 h 102751"/>
                <a:gd name="connsiteX2" fmla="*/ 51470 w 102750"/>
                <a:gd name="connsiteY2" fmla="*/ 644 h 102751"/>
                <a:gd name="connsiteX3" fmla="*/ 95 w 102750"/>
                <a:gd name="connsiteY3" fmla="*/ 52020 h 102751"/>
                <a:gd name="connsiteX4" fmla="*/ 51470 w 102750"/>
                <a:gd name="connsiteY4" fmla="*/ 103396 h 102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750" h="102751">
                  <a:moveTo>
                    <a:pt x="51470" y="103396"/>
                  </a:moveTo>
                  <a:cubicBezTo>
                    <a:pt x="79825" y="103396"/>
                    <a:pt x="102846" y="80372"/>
                    <a:pt x="102846" y="52020"/>
                  </a:cubicBezTo>
                  <a:cubicBezTo>
                    <a:pt x="102846" y="23667"/>
                    <a:pt x="79825" y="644"/>
                    <a:pt x="51470" y="644"/>
                  </a:cubicBezTo>
                  <a:cubicBezTo>
                    <a:pt x="23115" y="644"/>
                    <a:pt x="95" y="23667"/>
                    <a:pt x="95" y="52020"/>
                  </a:cubicBezTo>
                  <a:cubicBezTo>
                    <a:pt x="95" y="80372"/>
                    <a:pt x="23115" y="103396"/>
                    <a:pt x="51470" y="103396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1" name="Freeform 600">
              <a:extLst>
                <a:ext uri="{FF2B5EF4-FFF2-40B4-BE49-F238E27FC236}">
                  <a16:creationId xmlns:a16="http://schemas.microsoft.com/office/drawing/2014/main" id="{BD2FF371-9971-5358-B8A3-4EEA42F1A236}"/>
                </a:ext>
              </a:extLst>
            </p:cNvPr>
            <p:cNvSpPr/>
            <p:nvPr/>
          </p:nvSpPr>
          <p:spPr>
            <a:xfrm flipV="1">
              <a:off x="2961255" y="294255"/>
              <a:ext cx="234859" cy="234859"/>
            </a:xfrm>
            <a:custGeom>
              <a:avLst/>
              <a:gdLst>
                <a:gd name="connsiteX0" fmla="*/ 117771 w 234859"/>
                <a:gd name="connsiteY0" fmla="*/ 235330 h 234859"/>
                <a:gd name="connsiteX1" fmla="*/ 235201 w 234859"/>
                <a:gd name="connsiteY1" fmla="*/ 117900 h 234859"/>
                <a:gd name="connsiteX2" fmla="*/ 117771 w 234859"/>
                <a:gd name="connsiteY2" fmla="*/ 470 h 234859"/>
                <a:gd name="connsiteX3" fmla="*/ 341 w 234859"/>
                <a:gd name="connsiteY3" fmla="*/ 117900 h 234859"/>
                <a:gd name="connsiteX4" fmla="*/ 117771 w 234859"/>
                <a:gd name="connsiteY4" fmla="*/ 235330 h 234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4859" h="234859">
                  <a:moveTo>
                    <a:pt x="117771" y="235330"/>
                  </a:moveTo>
                  <a:cubicBezTo>
                    <a:pt x="182582" y="235330"/>
                    <a:pt x="235201" y="182714"/>
                    <a:pt x="235201" y="117900"/>
                  </a:cubicBezTo>
                  <a:cubicBezTo>
                    <a:pt x="235201" y="53085"/>
                    <a:pt x="182582" y="470"/>
                    <a:pt x="117771" y="470"/>
                  </a:cubicBezTo>
                  <a:cubicBezTo>
                    <a:pt x="52960" y="470"/>
                    <a:pt x="341" y="53085"/>
                    <a:pt x="341" y="117900"/>
                  </a:cubicBezTo>
                  <a:cubicBezTo>
                    <a:pt x="341" y="182714"/>
                    <a:pt x="52960" y="235330"/>
                    <a:pt x="117771" y="235330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2" name="Freeform 601">
              <a:extLst>
                <a:ext uri="{FF2B5EF4-FFF2-40B4-BE49-F238E27FC236}">
                  <a16:creationId xmlns:a16="http://schemas.microsoft.com/office/drawing/2014/main" id="{D293FABF-F6EA-1C5A-2473-7B397483A26E}"/>
                </a:ext>
              </a:extLst>
            </p:cNvPr>
            <p:cNvSpPr/>
            <p:nvPr/>
          </p:nvSpPr>
          <p:spPr>
            <a:xfrm flipV="1">
              <a:off x="2946200" y="494701"/>
              <a:ext cx="49465" cy="49467"/>
            </a:xfrm>
            <a:custGeom>
              <a:avLst/>
              <a:gdLst>
                <a:gd name="connsiteX0" fmla="*/ 157 w 49465"/>
                <a:gd name="connsiteY0" fmla="*/ 472 h 49467"/>
                <a:gd name="connsiteX1" fmla="*/ 49623 w 49465"/>
                <a:gd name="connsiteY1" fmla="*/ 49939 h 49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465" h="49467">
                  <a:moveTo>
                    <a:pt x="157" y="472"/>
                  </a:moveTo>
                  <a:lnTo>
                    <a:pt x="49623" y="49939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3" name="Freeform 602">
              <a:extLst>
                <a:ext uri="{FF2B5EF4-FFF2-40B4-BE49-F238E27FC236}">
                  <a16:creationId xmlns:a16="http://schemas.microsoft.com/office/drawing/2014/main" id="{8B2AF7BA-DB3C-2064-906C-6863A1060C39}"/>
                </a:ext>
              </a:extLst>
            </p:cNvPr>
            <p:cNvSpPr/>
            <p:nvPr/>
          </p:nvSpPr>
          <p:spPr>
            <a:xfrm flipV="1">
              <a:off x="3161329" y="279576"/>
              <a:ext cx="49465" cy="49467"/>
            </a:xfrm>
            <a:custGeom>
              <a:avLst/>
              <a:gdLst>
                <a:gd name="connsiteX0" fmla="*/ 471 w 49465"/>
                <a:gd name="connsiteY0" fmla="*/ 158 h 49467"/>
                <a:gd name="connsiteX1" fmla="*/ 49936 w 49465"/>
                <a:gd name="connsiteY1" fmla="*/ 49625 h 49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465" h="49467">
                  <a:moveTo>
                    <a:pt x="471" y="158"/>
                  </a:moveTo>
                  <a:lnTo>
                    <a:pt x="49936" y="49625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4" name="Freeform 603">
              <a:extLst>
                <a:ext uri="{FF2B5EF4-FFF2-40B4-BE49-F238E27FC236}">
                  <a16:creationId xmlns:a16="http://schemas.microsoft.com/office/drawing/2014/main" id="{37793DA7-28B1-D51F-6B38-1B80E75DF854}"/>
                </a:ext>
              </a:extLst>
            </p:cNvPr>
            <p:cNvSpPr/>
            <p:nvPr/>
          </p:nvSpPr>
          <p:spPr>
            <a:xfrm flipV="1">
              <a:off x="2921144" y="254145"/>
              <a:ext cx="74521" cy="74523"/>
            </a:xfrm>
            <a:custGeom>
              <a:avLst/>
              <a:gdLst>
                <a:gd name="connsiteX0" fmla="*/ 125 w 74521"/>
                <a:gd name="connsiteY0" fmla="*/ 74730 h 74523"/>
                <a:gd name="connsiteX1" fmla="*/ 74647 w 74521"/>
                <a:gd name="connsiteY1" fmla="*/ 207 h 74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521" h="74523">
                  <a:moveTo>
                    <a:pt x="125" y="74730"/>
                  </a:moveTo>
                  <a:lnTo>
                    <a:pt x="74647" y="207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5" name="Freeform 604">
              <a:extLst>
                <a:ext uri="{FF2B5EF4-FFF2-40B4-BE49-F238E27FC236}">
                  <a16:creationId xmlns:a16="http://schemas.microsoft.com/office/drawing/2014/main" id="{DE710F82-F510-45AA-0CA2-2DC9AEDF86E1}"/>
                </a:ext>
              </a:extLst>
            </p:cNvPr>
            <p:cNvSpPr/>
            <p:nvPr/>
          </p:nvSpPr>
          <p:spPr>
            <a:xfrm flipV="1">
              <a:off x="3161705" y="494701"/>
              <a:ext cx="74521" cy="74523"/>
            </a:xfrm>
            <a:custGeom>
              <a:avLst/>
              <a:gdLst>
                <a:gd name="connsiteX0" fmla="*/ 476 w 74521"/>
                <a:gd name="connsiteY0" fmla="*/ 75081 h 74523"/>
                <a:gd name="connsiteX1" fmla="*/ 74998 w 74521"/>
                <a:gd name="connsiteY1" fmla="*/ 558 h 74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4521" h="74523">
                  <a:moveTo>
                    <a:pt x="476" y="75081"/>
                  </a:moveTo>
                  <a:lnTo>
                    <a:pt x="74998" y="558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6" name="Freeform 605">
              <a:extLst>
                <a:ext uri="{FF2B5EF4-FFF2-40B4-BE49-F238E27FC236}">
                  <a16:creationId xmlns:a16="http://schemas.microsoft.com/office/drawing/2014/main" id="{00CB02B7-25BB-E09C-AAB9-BF4E43BC2C77}"/>
                </a:ext>
              </a:extLst>
            </p:cNvPr>
            <p:cNvSpPr/>
            <p:nvPr/>
          </p:nvSpPr>
          <p:spPr>
            <a:xfrm flipV="1">
              <a:off x="3006045" y="441043"/>
              <a:ext cx="145281" cy="88071"/>
            </a:xfrm>
            <a:custGeom>
              <a:avLst/>
              <a:gdLst>
                <a:gd name="connsiteX0" fmla="*/ 262 w 145281"/>
                <a:gd name="connsiteY0" fmla="*/ 25609 h 88071"/>
                <a:gd name="connsiteX1" fmla="*/ 21000 w 145281"/>
                <a:gd name="connsiteY1" fmla="*/ 67009 h 88071"/>
                <a:gd name="connsiteX2" fmla="*/ 72888 w 145281"/>
                <a:gd name="connsiteY2" fmla="*/ 88500 h 88071"/>
                <a:gd name="connsiteX3" fmla="*/ 72916 w 145281"/>
                <a:gd name="connsiteY3" fmla="*/ 88500 h 88071"/>
                <a:gd name="connsiteX4" fmla="*/ 124804 w 145281"/>
                <a:gd name="connsiteY4" fmla="*/ 67009 h 88071"/>
                <a:gd name="connsiteX5" fmla="*/ 145543 w 145281"/>
                <a:gd name="connsiteY5" fmla="*/ 25609 h 88071"/>
                <a:gd name="connsiteX6" fmla="*/ 72903 w 145281"/>
                <a:gd name="connsiteY6" fmla="*/ 428 h 88071"/>
                <a:gd name="connsiteX7" fmla="*/ 262 w 145281"/>
                <a:gd name="connsiteY7" fmla="*/ 25609 h 88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5281" h="88071">
                  <a:moveTo>
                    <a:pt x="262" y="25609"/>
                  </a:moveTo>
                  <a:cubicBezTo>
                    <a:pt x="2513" y="41197"/>
                    <a:pt x="9737" y="55744"/>
                    <a:pt x="21000" y="67009"/>
                  </a:cubicBezTo>
                  <a:cubicBezTo>
                    <a:pt x="34762" y="80771"/>
                    <a:pt x="53426" y="88500"/>
                    <a:pt x="72888" y="88500"/>
                  </a:cubicBezTo>
                  <a:lnTo>
                    <a:pt x="72916" y="88500"/>
                  </a:lnTo>
                  <a:cubicBezTo>
                    <a:pt x="92378" y="88500"/>
                    <a:pt x="111043" y="80771"/>
                    <a:pt x="124804" y="67009"/>
                  </a:cubicBezTo>
                  <a:cubicBezTo>
                    <a:pt x="136067" y="55744"/>
                    <a:pt x="143292" y="41197"/>
                    <a:pt x="145543" y="25609"/>
                  </a:cubicBezTo>
                  <a:cubicBezTo>
                    <a:pt x="125551" y="9844"/>
                    <a:pt x="100317" y="428"/>
                    <a:pt x="72903" y="428"/>
                  </a:cubicBezTo>
                  <a:cubicBezTo>
                    <a:pt x="45488" y="428"/>
                    <a:pt x="20254" y="9844"/>
                    <a:pt x="262" y="25609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609" name="Graphic 607">
            <a:extLst>
              <a:ext uri="{FF2B5EF4-FFF2-40B4-BE49-F238E27FC236}">
                <a16:creationId xmlns:a16="http://schemas.microsoft.com/office/drawing/2014/main" id="{9C779E32-F934-A239-39E4-82F205C026C8}"/>
              </a:ext>
            </a:extLst>
          </p:cNvPr>
          <p:cNvGrpSpPr/>
          <p:nvPr/>
        </p:nvGrpSpPr>
        <p:grpSpPr>
          <a:xfrm>
            <a:off x="6289371" y="1410907"/>
            <a:ext cx="328901" cy="440363"/>
            <a:chOff x="2914234" y="191504"/>
            <a:chExt cx="328901" cy="440363"/>
          </a:xfrm>
          <a:noFill/>
        </p:grpSpPr>
        <p:sp>
          <p:nvSpPr>
            <p:cNvPr id="610" name="Freeform 609">
              <a:extLst>
                <a:ext uri="{FF2B5EF4-FFF2-40B4-BE49-F238E27FC236}">
                  <a16:creationId xmlns:a16="http://schemas.microsoft.com/office/drawing/2014/main" id="{D9F1AF9E-79E8-1F11-297C-3E8EF56E96F6}"/>
                </a:ext>
              </a:extLst>
            </p:cNvPr>
            <p:cNvSpPr/>
            <p:nvPr/>
          </p:nvSpPr>
          <p:spPr>
            <a:xfrm flipV="1">
              <a:off x="2914234" y="191504"/>
              <a:ext cx="328901" cy="440363"/>
            </a:xfrm>
            <a:custGeom>
              <a:avLst/>
              <a:gdLst>
                <a:gd name="connsiteX0" fmla="*/ 329423 w 328901"/>
                <a:gd name="connsiteY0" fmla="*/ 27539 h 440363"/>
                <a:gd name="connsiteX1" fmla="*/ 302015 w 328901"/>
                <a:gd name="connsiteY1" fmla="*/ 130 h 440363"/>
                <a:gd name="connsiteX2" fmla="*/ 27930 w 328901"/>
                <a:gd name="connsiteY2" fmla="*/ 130 h 440363"/>
                <a:gd name="connsiteX3" fmla="*/ 521 w 328901"/>
                <a:gd name="connsiteY3" fmla="*/ 27539 h 440363"/>
                <a:gd name="connsiteX4" fmla="*/ 521 w 328901"/>
                <a:gd name="connsiteY4" fmla="*/ 413085 h 440363"/>
                <a:gd name="connsiteX5" fmla="*/ 27930 w 328901"/>
                <a:gd name="connsiteY5" fmla="*/ 440493 h 440363"/>
                <a:gd name="connsiteX6" fmla="*/ 302015 w 328901"/>
                <a:gd name="connsiteY6" fmla="*/ 440493 h 440363"/>
                <a:gd name="connsiteX7" fmla="*/ 329423 w 328901"/>
                <a:gd name="connsiteY7" fmla="*/ 413085 h 440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901" h="440363">
                  <a:moveTo>
                    <a:pt x="329423" y="27539"/>
                  </a:moveTo>
                  <a:cubicBezTo>
                    <a:pt x="329423" y="12402"/>
                    <a:pt x="317152" y="130"/>
                    <a:pt x="302015" y="130"/>
                  </a:cubicBezTo>
                  <a:lnTo>
                    <a:pt x="27930" y="130"/>
                  </a:lnTo>
                  <a:cubicBezTo>
                    <a:pt x="12793" y="130"/>
                    <a:pt x="521" y="12402"/>
                    <a:pt x="521" y="27539"/>
                  </a:cubicBezTo>
                  <a:lnTo>
                    <a:pt x="521" y="413085"/>
                  </a:lnTo>
                  <a:cubicBezTo>
                    <a:pt x="521" y="428223"/>
                    <a:pt x="12793" y="440493"/>
                    <a:pt x="27930" y="440493"/>
                  </a:cubicBezTo>
                  <a:lnTo>
                    <a:pt x="302015" y="440493"/>
                  </a:lnTo>
                  <a:cubicBezTo>
                    <a:pt x="317152" y="440493"/>
                    <a:pt x="329423" y="428223"/>
                    <a:pt x="329423" y="413085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1" name="Freeform 610">
              <a:extLst>
                <a:ext uri="{FF2B5EF4-FFF2-40B4-BE49-F238E27FC236}">
                  <a16:creationId xmlns:a16="http://schemas.microsoft.com/office/drawing/2014/main" id="{2C68978B-057E-B4DE-FC0B-151922111502}"/>
                </a:ext>
              </a:extLst>
            </p:cNvPr>
            <p:cNvSpPr/>
            <p:nvPr/>
          </p:nvSpPr>
          <p:spPr>
            <a:xfrm flipV="1">
              <a:off x="3037573" y="577050"/>
              <a:ext cx="82225" cy="685"/>
            </a:xfrm>
            <a:custGeom>
              <a:avLst/>
              <a:gdLst>
                <a:gd name="connsiteX0" fmla="*/ 296 w 82225"/>
                <a:gd name="connsiteY0" fmla="*/ 583 h 685"/>
                <a:gd name="connsiteX1" fmla="*/ 82522 w 82225"/>
                <a:gd name="connsiteY1" fmla="*/ 583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225" h="685">
                  <a:moveTo>
                    <a:pt x="296" y="583"/>
                  </a:moveTo>
                  <a:lnTo>
                    <a:pt x="82522" y="583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615" name="Graphic 157">
            <a:extLst>
              <a:ext uri="{FF2B5EF4-FFF2-40B4-BE49-F238E27FC236}">
                <a16:creationId xmlns:a16="http://schemas.microsoft.com/office/drawing/2014/main" id="{45E09154-A4B3-4D85-85B8-ED167E57C2B9}"/>
              </a:ext>
            </a:extLst>
          </p:cNvPr>
          <p:cNvGrpSpPr/>
          <p:nvPr/>
        </p:nvGrpSpPr>
        <p:grpSpPr>
          <a:xfrm flipH="1">
            <a:off x="7624228" y="2523369"/>
            <a:ext cx="436921" cy="436921"/>
            <a:chOff x="8293017" y="2532364"/>
            <a:chExt cx="436921" cy="436921"/>
          </a:xfrm>
          <a:noFill/>
        </p:grpSpPr>
        <p:sp>
          <p:nvSpPr>
            <p:cNvPr id="616" name="Freeform 615">
              <a:extLst>
                <a:ext uri="{FF2B5EF4-FFF2-40B4-BE49-F238E27FC236}">
                  <a16:creationId xmlns:a16="http://schemas.microsoft.com/office/drawing/2014/main" id="{C40B9D0D-26CD-F614-80C7-80F112CD8C97}"/>
                </a:ext>
              </a:extLst>
            </p:cNvPr>
            <p:cNvSpPr/>
            <p:nvPr/>
          </p:nvSpPr>
          <p:spPr>
            <a:xfrm>
              <a:off x="8364314" y="2532364"/>
              <a:ext cx="365625" cy="365625"/>
            </a:xfrm>
            <a:custGeom>
              <a:avLst/>
              <a:gdLst>
                <a:gd name="connsiteX0" fmla="*/ 365625 w 365625"/>
                <a:gd name="connsiteY0" fmla="*/ 182813 h 365625"/>
                <a:gd name="connsiteX1" fmla="*/ 182813 w 365625"/>
                <a:gd name="connsiteY1" fmla="*/ 365625 h 365625"/>
                <a:gd name="connsiteX2" fmla="*/ 0 w 365625"/>
                <a:gd name="connsiteY2" fmla="*/ 182813 h 365625"/>
                <a:gd name="connsiteX3" fmla="*/ 182813 w 365625"/>
                <a:gd name="connsiteY3" fmla="*/ 0 h 365625"/>
                <a:gd name="connsiteX4" fmla="*/ 365625 w 365625"/>
                <a:gd name="connsiteY4" fmla="*/ 182813 h 365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625" h="365625">
                  <a:moveTo>
                    <a:pt x="365625" y="182813"/>
                  </a:moveTo>
                  <a:cubicBezTo>
                    <a:pt x="365625" y="283777"/>
                    <a:pt x="283777" y="365625"/>
                    <a:pt x="182813" y="365625"/>
                  </a:cubicBezTo>
                  <a:cubicBezTo>
                    <a:pt x="81848" y="365625"/>
                    <a:pt x="0" y="283777"/>
                    <a:pt x="0" y="182813"/>
                  </a:cubicBezTo>
                  <a:cubicBezTo>
                    <a:pt x="0" y="81848"/>
                    <a:pt x="81848" y="0"/>
                    <a:pt x="182813" y="0"/>
                  </a:cubicBezTo>
                  <a:cubicBezTo>
                    <a:pt x="283777" y="0"/>
                    <a:pt x="365625" y="81848"/>
                    <a:pt x="365625" y="182813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7" name="Freeform 616">
              <a:extLst>
                <a:ext uri="{FF2B5EF4-FFF2-40B4-BE49-F238E27FC236}">
                  <a16:creationId xmlns:a16="http://schemas.microsoft.com/office/drawing/2014/main" id="{3A8F68CF-D158-95CF-36D2-8C7031799D66}"/>
                </a:ext>
              </a:extLst>
            </p:cNvPr>
            <p:cNvSpPr/>
            <p:nvPr/>
          </p:nvSpPr>
          <p:spPr>
            <a:xfrm>
              <a:off x="8293017" y="2844444"/>
              <a:ext cx="124841" cy="124841"/>
            </a:xfrm>
            <a:custGeom>
              <a:avLst/>
              <a:gdLst>
                <a:gd name="connsiteX0" fmla="*/ 0 w 124841"/>
                <a:gd name="connsiteY0" fmla="*/ 124842 h 124841"/>
                <a:gd name="connsiteX1" fmla="*/ 124842 w 124841"/>
                <a:gd name="connsiteY1" fmla="*/ 0 h 124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841" h="124841">
                  <a:moveTo>
                    <a:pt x="0" y="124842"/>
                  </a:moveTo>
                  <a:lnTo>
                    <a:pt x="124842" y="0"/>
                  </a:lnTo>
                </a:path>
              </a:pathLst>
            </a:custGeom>
            <a:ln w="19050" cap="rnd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621" name="Graphic 619">
            <a:extLst>
              <a:ext uri="{FF2B5EF4-FFF2-40B4-BE49-F238E27FC236}">
                <a16:creationId xmlns:a16="http://schemas.microsoft.com/office/drawing/2014/main" id="{C55FB78A-753E-ADFA-CD5C-1F233C461249}"/>
              </a:ext>
            </a:extLst>
          </p:cNvPr>
          <p:cNvGrpSpPr/>
          <p:nvPr/>
        </p:nvGrpSpPr>
        <p:grpSpPr>
          <a:xfrm>
            <a:off x="8306991" y="1410907"/>
            <a:ext cx="440364" cy="440363"/>
            <a:chOff x="2858503" y="191504"/>
            <a:chExt cx="440364" cy="440363"/>
          </a:xfrm>
          <a:noFill/>
        </p:grpSpPr>
        <p:sp>
          <p:nvSpPr>
            <p:cNvPr id="622" name="Freeform 621">
              <a:extLst>
                <a:ext uri="{FF2B5EF4-FFF2-40B4-BE49-F238E27FC236}">
                  <a16:creationId xmlns:a16="http://schemas.microsoft.com/office/drawing/2014/main" id="{75128B22-B0CD-257F-A273-077B0350C2D7}"/>
                </a:ext>
              </a:extLst>
            </p:cNvPr>
            <p:cNvSpPr/>
            <p:nvPr/>
          </p:nvSpPr>
          <p:spPr>
            <a:xfrm flipV="1">
              <a:off x="2895962" y="310292"/>
              <a:ext cx="53519" cy="128801"/>
            </a:xfrm>
            <a:custGeom>
              <a:avLst/>
              <a:gdLst>
                <a:gd name="connsiteX0" fmla="*/ 53663 w 53519"/>
                <a:gd name="connsiteY0" fmla="*/ 129159 h 128801"/>
                <a:gd name="connsiteX1" fmla="*/ 143 w 53519"/>
                <a:gd name="connsiteY1" fmla="*/ 358 h 128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519" h="128801">
                  <a:moveTo>
                    <a:pt x="53663" y="129159"/>
                  </a:moveTo>
                  <a:cubicBezTo>
                    <a:pt x="18077" y="93574"/>
                    <a:pt x="244" y="46980"/>
                    <a:pt x="143" y="358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3" name="Freeform 622">
              <a:extLst>
                <a:ext uri="{FF2B5EF4-FFF2-40B4-BE49-F238E27FC236}">
                  <a16:creationId xmlns:a16="http://schemas.microsoft.com/office/drawing/2014/main" id="{550A0F1E-1857-678E-F529-E544497EF350}"/>
                </a:ext>
              </a:extLst>
            </p:cNvPr>
            <p:cNvSpPr/>
            <p:nvPr/>
          </p:nvSpPr>
          <p:spPr>
            <a:xfrm flipV="1">
              <a:off x="3207889" y="310292"/>
              <a:ext cx="53519" cy="128801"/>
            </a:xfrm>
            <a:custGeom>
              <a:avLst/>
              <a:gdLst>
                <a:gd name="connsiteX0" fmla="*/ 540 w 53519"/>
                <a:gd name="connsiteY0" fmla="*/ 129159 h 128801"/>
                <a:gd name="connsiteX1" fmla="*/ 54059 w 53519"/>
                <a:gd name="connsiteY1" fmla="*/ 358 h 128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519" h="128801">
                  <a:moveTo>
                    <a:pt x="540" y="129159"/>
                  </a:moveTo>
                  <a:cubicBezTo>
                    <a:pt x="36125" y="93574"/>
                    <a:pt x="53959" y="46980"/>
                    <a:pt x="54059" y="358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4" name="Freeform 623">
              <a:extLst>
                <a:ext uri="{FF2B5EF4-FFF2-40B4-BE49-F238E27FC236}">
                  <a16:creationId xmlns:a16="http://schemas.microsoft.com/office/drawing/2014/main" id="{013E1003-48A3-5D24-513C-12245AF29B3B}"/>
                </a:ext>
              </a:extLst>
            </p:cNvPr>
            <p:cNvSpPr/>
            <p:nvPr/>
          </p:nvSpPr>
          <p:spPr>
            <a:xfrm flipV="1">
              <a:off x="3042141" y="618546"/>
              <a:ext cx="73089" cy="3672"/>
            </a:xfrm>
            <a:custGeom>
              <a:avLst/>
              <a:gdLst>
                <a:gd name="connsiteX0" fmla="*/ 301 w 73089"/>
                <a:gd name="connsiteY0" fmla="*/ 4321 h 3672"/>
                <a:gd name="connsiteX1" fmla="*/ 73391 w 73089"/>
                <a:gd name="connsiteY1" fmla="*/ 4321 h 3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089" h="3672">
                  <a:moveTo>
                    <a:pt x="301" y="4321"/>
                  </a:moveTo>
                  <a:cubicBezTo>
                    <a:pt x="24403" y="-576"/>
                    <a:pt x="49289" y="-576"/>
                    <a:pt x="73391" y="4321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5" name="Freeform 624">
              <a:extLst>
                <a:ext uri="{FF2B5EF4-FFF2-40B4-BE49-F238E27FC236}">
                  <a16:creationId xmlns:a16="http://schemas.microsoft.com/office/drawing/2014/main" id="{63D0F3B4-5F8A-CC87-B176-C910705CA9E1}"/>
                </a:ext>
              </a:extLst>
            </p:cNvPr>
            <p:cNvSpPr/>
            <p:nvPr/>
          </p:nvSpPr>
          <p:spPr>
            <a:xfrm flipV="1">
              <a:off x="3042141" y="191504"/>
              <a:ext cx="73089" cy="73089"/>
            </a:xfrm>
            <a:custGeom>
              <a:avLst/>
              <a:gdLst>
                <a:gd name="connsiteX0" fmla="*/ 301 w 73089"/>
                <a:gd name="connsiteY0" fmla="*/ 36618 h 73089"/>
                <a:gd name="connsiteX1" fmla="*/ 36846 w 73089"/>
                <a:gd name="connsiteY1" fmla="*/ 73163 h 73089"/>
                <a:gd name="connsiteX2" fmla="*/ 73391 w 73089"/>
                <a:gd name="connsiteY2" fmla="*/ 36618 h 73089"/>
                <a:gd name="connsiteX3" fmla="*/ 36846 w 73089"/>
                <a:gd name="connsiteY3" fmla="*/ 73 h 73089"/>
                <a:gd name="connsiteX4" fmla="*/ 301 w 73089"/>
                <a:gd name="connsiteY4" fmla="*/ 36618 h 73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089" h="73089">
                  <a:moveTo>
                    <a:pt x="301" y="36618"/>
                  </a:moveTo>
                  <a:cubicBezTo>
                    <a:pt x="301" y="56802"/>
                    <a:pt x="16663" y="73163"/>
                    <a:pt x="36846" y="73163"/>
                  </a:cubicBezTo>
                  <a:cubicBezTo>
                    <a:pt x="57029" y="73163"/>
                    <a:pt x="73391" y="56802"/>
                    <a:pt x="73391" y="36618"/>
                  </a:cubicBezTo>
                  <a:cubicBezTo>
                    <a:pt x="73391" y="16434"/>
                    <a:pt x="57029" y="73"/>
                    <a:pt x="36846" y="73"/>
                  </a:cubicBezTo>
                  <a:cubicBezTo>
                    <a:pt x="16663" y="73"/>
                    <a:pt x="301" y="16434"/>
                    <a:pt x="301" y="36618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6" name="Freeform 625">
              <a:extLst>
                <a:ext uri="{FF2B5EF4-FFF2-40B4-BE49-F238E27FC236}">
                  <a16:creationId xmlns:a16="http://schemas.microsoft.com/office/drawing/2014/main" id="{8C6B4333-8F7C-3F70-AE6D-60099BC2C36C}"/>
                </a:ext>
              </a:extLst>
            </p:cNvPr>
            <p:cNvSpPr/>
            <p:nvPr/>
          </p:nvSpPr>
          <p:spPr>
            <a:xfrm flipV="1">
              <a:off x="3012718" y="264593"/>
              <a:ext cx="131936" cy="73089"/>
            </a:xfrm>
            <a:custGeom>
              <a:avLst/>
              <a:gdLst>
                <a:gd name="connsiteX0" fmla="*/ 88079 w 131936"/>
                <a:gd name="connsiteY0" fmla="*/ 73309 h 73089"/>
                <a:gd name="connsiteX1" fmla="*/ 44587 w 131936"/>
                <a:gd name="connsiteY1" fmla="*/ 73309 h 73089"/>
                <a:gd name="connsiteX2" fmla="*/ 9128 w 131936"/>
                <a:gd name="connsiteY2" fmla="*/ 45606 h 73089"/>
                <a:gd name="connsiteX3" fmla="*/ 641 w 131936"/>
                <a:gd name="connsiteY3" fmla="*/ 11566 h 73089"/>
                <a:gd name="connsiteX4" fmla="*/ 9506 w 131936"/>
                <a:gd name="connsiteY4" fmla="*/ 220 h 73089"/>
                <a:gd name="connsiteX5" fmla="*/ 123161 w 131936"/>
                <a:gd name="connsiteY5" fmla="*/ 220 h 73089"/>
                <a:gd name="connsiteX6" fmla="*/ 132025 w 131936"/>
                <a:gd name="connsiteY6" fmla="*/ 11566 h 73089"/>
                <a:gd name="connsiteX7" fmla="*/ 123538 w 131936"/>
                <a:gd name="connsiteY7" fmla="*/ 45606 h 73089"/>
                <a:gd name="connsiteX8" fmla="*/ 88079 w 131936"/>
                <a:gd name="connsiteY8" fmla="*/ 73309 h 73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936" h="73089">
                  <a:moveTo>
                    <a:pt x="88079" y="73309"/>
                  </a:moveTo>
                  <a:lnTo>
                    <a:pt x="44587" y="73309"/>
                  </a:lnTo>
                  <a:cubicBezTo>
                    <a:pt x="27809" y="73309"/>
                    <a:pt x="13187" y="61885"/>
                    <a:pt x="9128" y="45606"/>
                  </a:cubicBezTo>
                  <a:lnTo>
                    <a:pt x="641" y="11566"/>
                  </a:lnTo>
                  <a:cubicBezTo>
                    <a:pt x="-796" y="5801"/>
                    <a:pt x="3565" y="220"/>
                    <a:pt x="9506" y="220"/>
                  </a:cubicBezTo>
                  <a:lnTo>
                    <a:pt x="123161" y="220"/>
                  </a:lnTo>
                  <a:cubicBezTo>
                    <a:pt x="129102" y="220"/>
                    <a:pt x="133462" y="5801"/>
                    <a:pt x="132025" y="11566"/>
                  </a:cubicBezTo>
                  <a:lnTo>
                    <a:pt x="123538" y="45606"/>
                  </a:lnTo>
                  <a:cubicBezTo>
                    <a:pt x="119479" y="61885"/>
                    <a:pt x="104856" y="73309"/>
                    <a:pt x="88079" y="73309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7" name="Freeform 626">
              <a:extLst>
                <a:ext uri="{FF2B5EF4-FFF2-40B4-BE49-F238E27FC236}">
                  <a16:creationId xmlns:a16="http://schemas.microsoft.com/office/drawing/2014/main" id="{2A768CB3-AC3E-A98A-F00C-3D6F29F38705}"/>
                </a:ext>
              </a:extLst>
            </p:cNvPr>
            <p:cNvSpPr/>
            <p:nvPr/>
          </p:nvSpPr>
          <p:spPr>
            <a:xfrm flipV="1">
              <a:off x="2887927" y="485688"/>
              <a:ext cx="73089" cy="73089"/>
            </a:xfrm>
            <a:custGeom>
              <a:avLst/>
              <a:gdLst>
                <a:gd name="connsiteX0" fmla="*/ 76 w 73089"/>
                <a:gd name="connsiteY0" fmla="*/ 37047 h 73089"/>
                <a:gd name="connsiteX1" fmla="*/ 36621 w 73089"/>
                <a:gd name="connsiteY1" fmla="*/ 73592 h 73089"/>
                <a:gd name="connsiteX2" fmla="*/ 73166 w 73089"/>
                <a:gd name="connsiteY2" fmla="*/ 37047 h 73089"/>
                <a:gd name="connsiteX3" fmla="*/ 36621 w 73089"/>
                <a:gd name="connsiteY3" fmla="*/ 503 h 73089"/>
                <a:gd name="connsiteX4" fmla="*/ 76 w 73089"/>
                <a:gd name="connsiteY4" fmla="*/ 37047 h 73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089" h="73089">
                  <a:moveTo>
                    <a:pt x="76" y="37047"/>
                  </a:moveTo>
                  <a:cubicBezTo>
                    <a:pt x="76" y="57231"/>
                    <a:pt x="16437" y="73592"/>
                    <a:pt x="36621" y="73592"/>
                  </a:cubicBezTo>
                  <a:cubicBezTo>
                    <a:pt x="56804" y="73592"/>
                    <a:pt x="73166" y="57231"/>
                    <a:pt x="73166" y="37047"/>
                  </a:cubicBezTo>
                  <a:cubicBezTo>
                    <a:pt x="73166" y="16864"/>
                    <a:pt x="56804" y="503"/>
                    <a:pt x="36621" y="503"/>
                  </a:cubicBezTo>
                  <a:cubicBezTo>
                    <a:pt x="16437" y="503"/>
                    <a:pt x="76" y="16864"/>
                    <a:pt x="76" y="37047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8" name="Freeform 627">
              <a:extLst>
                <a:ext uri="{FF2B5EF4-FFF2-40B4-BE49-F238E27FC236}">
                  <a16:creationId xmlns:a16="http://schemas.microsoft.com/office/drawing/2014/main" id="{D2D4A904-B1F1-6359-CA9D-68E6C75BD8A0}"/>
                </a:ext>
              </a:extLst>
            </p:cNvPr>
            <p:cNvSpPr/>
            <p:nvPr/>
          </p:nvSpPr>
          <p:spPr>
            <a:xfrm flipV="1">
              <a:off x="2858503" y="558778"/>
              <a:ext cx="131936" cy="73089"/>
            </a:xfrm>
            <a:custGeom>
              <a:avLst/>
              <a:gdLst>
                <a:gd name="connsiteX0" fmla="*/ 87854 w 131936"/>
                <a:gd name="connsiteY0" fmla="*/ 73739 h 73089"/>
                <a:gd name="connsiteX1" fmla="*/ 44363 w 131936"/>
                <a:gd name="connsiteY1" fmla="*/ 73739 h 73089"/>
                <a:gd name="connsiteX2" fmla="*/ 8903 w 131936"/>
                <a:gd name="connsiteY2" fmla="*/ 46035 h 73089"/>
                <a:gd name="connsiteX3" fmla="*/ 416 w 131936"/>
                <a:gd name="connsiteY3" fmla="*/ 11996 h 73089"/>
                <a:gd name="connsiteX4" fmla="*/ 9282 w 131936"/>
                <a:gd name="connsiteY4" fmla="*/ 649 h 73089"/>
                <a:gd name="connsiteX5" fmla="*/ 122935 w 131936"/>
                <a:gd name="connsiteY5" fmla="*/ 649 h 73089"/>
                <a:gd name="connsiteX6" fmla="*/ 131801 w 131936"/>
                <a:gd name="connsiteY6" fmla="*/ 11996 h 73089"/>
                <a:gd name="connsiteX7" fmla="*/ 123314 w 131936"/>
                <a:gd name="connsiteY7" fmla="*/ 46035 h 73089"/>
                <a:gd name="connsiteX8" fmla="*/ 87854 w 131936"/>
                <a:gd name="connsiteY8" fmla="*/ 73739 h 73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936" h="73089">
                  <a:moveTo>
                    <a:pt x="87854" y="73739"/>
                  </a:moveTo>
                  <a:lnTo>
                    <a:pt x="44363" y="73739"/>
                  </a:lnTo>
                  <a:cubicBezTo>
                    <a:pt x="27585" y="73739"/>
                    <a:pt x="12963" y="62315"/>
                    <a:pt x="8903" y="46035"/>
                  </a:cubicBezTo>
                  <a:lnTo>
                    <a:pt x="416" y="11996"/>
                  </a:lnTo>
                  <a:cubicBezTo>
                    <a:pt x="-1021" y="6231"/>
                    <a:pt x="3340" y="649"/>
                    <a:pt x="9282" y="649"/>
                  </a:cubicBezTo>
                  <a:lnTo>
                    <a:pt x="122935" y="649"/>
                  </a:lnTo>
                  <a:cubicBezTo>
                    <a:pt x="128878" y="649"/>
                    <a:pt x="133238" y="6231"/>
                    <a:pt x="131801" y="11996"/>
                  </a:cubicBezTo>
                  <a:lnTo>
                    <a:pt x="123314" y="46035"/>
                  </a:lnTo>
                  <a:cubicBezTo>
                    <a:pt x="119254" y="62315"/>
                    <a:pt x="104632" y="73739"/>
                    <a:pt x="87854" y="73739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9" name="Freeform 628">
              <a:extLst>
                <a:ext uri="{FF2B5EF4-FFF2-40B4-BE49-F238E27FC236}">
                  <a16:creationId xmlns:a16="http://schemas.microsoft.com/office/drawing/2014/main" id="{8D8B4B7B-87D8-6320-7288-B3CF16B1BAC9}"/>
                </a:ext>
              </a:extLst>
            </p:cNvPr>
            <p:cNvSpPr/>
            <p:nvPr/>
          </p:nvSpPr>
          <p:spPr>
            <a:xfrm flipV="1">
              <a:off x="3196354" y="485688"/>
              <a:ext cx="73089" cy="73089"/>
            </a:xfrm>
            <a:custGeom>
              <a:avLst/>
              <a:gdLst>
                <a:gd name="connsiteX0" fmla="*/ 526 w 73089"/>
                <a:gd name="connsiteY0" fmla="*/ 37047 h 73089"/>
                <a:gd name="connsiteX1" fmla="*/ 37071 w 73089"/>
                <a:gd name="connsiteY1" fmla="*/ 73592 h 73089"/>
                <a:gd name="connsiteX2" fmla="*/ 73616 w 73089"/>
                <a:gd name="connsiteY2" fmla="*/ 37047 h 73089"/>
                <a:gd name="connsiteX3" fmla="*/ 37071 w 73089"/>
                <a:gd name="connsiteY3" fmla="*/ 503 h 73089"/>
                <a:gd name="connsiteX4" fmla="*/ 526 w 73089"/>
                <a:gd name="connsiteY4" fmla="*/ 37047 h 73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089" h="73089">
                  <a:moveTo>
                    <a:pt x="526" y="37047"/>
                  </a:moveTo>
                  <a:cubicBezTo>
                    <a:pt x="526" y="57231"/>
                    <a:pt x="16888" y="73592"/>
                    <a:pt x="37071" y="73592"/>
                  </a:cubicBezTo>
                  <a:cubicBezTo>
                    <a:pt x="57255" y="73592"/>
                    <a:pt x="73616" y="57231"/>
                    <a:pt x="73616" y="37047"/>
                  </a:cubicBezTo>
                  <a:cubicBezTo>
                    <a:pt x="73616" y="16864"/>
                    <a:pt x="57255" y="503"/>
                    <a:pt x="37071" y="503"/>
                  </a:cubicBezTo>
                  <a:cubicBezTo>
                    <a:pt x="16888" y="503"/>
                    <a:pt x="526" y="16864"/>
                    <a:pt x="526" y="37047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0" name="Freeform 629">
              <a:extLst>
                <a:ext uri="{FF2B5EF4-FFF2-40B4-BE49-F238E27FC236}">
                  <a16:creationId xmlns:a16="http://schemas.microsoft.com/office/drawing/2014/main" id="{F7C1554B-A231-FC0B-A1C0-928DCD030C0C}"/>
                </a:ext>
              </a:extLst>
            </p:cNvPr>
            <p:cNvSpPr/>
            <p:nvPr/>
          </p:nvSpPr>
          <p:spPr>
            <a:xfrm flipV="1">
              <a:off x="3166930" y="558778"/>
              <a:ext cx="131936" cy="73089"/>
            </a:xfrm>
            <a:custGeom>
              <a:avLst/>
              <a:gdLst>
                <a:gd name="connsiteX0" fmla="*/ 88305 w 131936"/>
                <a:gd name="connsiteY0" fmla="*/ 73739 h 73089"/>
                <a:gd name="connsiteX1" fmla="*/ 44813 w 131936"/>
                <a:gd name="connsiteY1" fmla="*/ 73739 h 73089"/>
                <a:gd name="connsiteX2" fmla="*/ 9353 w 131936"/>
                <a:gd name="connsiteY2" fmla="*/ 46035 h 73089"/>
                <a:gd name="connsiteX3" fmla="*/ 866 w 131936"/>
                <a:gd name="connsiteY3" fmla="*/ 11996 h 73089"/>
                <a:gd name="connsiteX4" fmla="*/ 9732 w 131936"/>
                <a:gd name="connsiteY4" fmla="*/ 649 h 73089"/>
                <a:gd name="connsiteX5" fmla="*/ 123386 w 131936"/>
                <a:gd name="connsiteY5" fmla="*/ 649 h 73089"/>
                <a:gd name="connsiteX6" fmla="*/ 132251 w 131936"/>
                <a:gd name="connsiteY6" fmla="*/ 11996 h 73089"/>
                <a:gd name="connsiteX7" fmla="*/ 123764 w 131936"/>
                <a:gd name="connsiteY7" fmla="*/ 46035 h 73089"/>
                <a:gd name="connsiteX8" fmla="*/ 88305 w 131936"/>
                <a:gd name="connsiteY8" fmla="*/ 73739 h 73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936" h="73089">
                  <a:moveTo>
                    <a:pt x="88305" y="73739"/>
                  </a:moveTo>
                  <a:lnTo>
                    <a:pt x="44813" y="73739"/>
                  </a:lnTo>
                  <a:cubicBezTo>
                    <a:pt x="28035" y="73739"/>
                    <a:pt x="13413" y="62315"/>
                    <a:pt x="9353" y="46035"/>
                  </a:cubicBezTo>
                  <a:lnTo>
                    <a:pt x="866" y="11996"/>
                  </a:lnTo>
                  <a:cubicBezTo>
                    <a:pt x="-571" y="6231"/>
                    <a:pt x="3790" y="649"/>
                    <a:pt x="9732" y="649"/>
                  </a:cubicBezTo>
                  <a:lnTo>
                    <a:pt x="123386" y="649"/>
                  </a:lnTo>
                  <a:cubicBezTo>
                    <a:pt x="129327" y="649"/>
                    <a:pt x="133688" y="6231"/>
                    <a:pt x="132251" y="11996"/>
                  </a:cubicBezTo>
                  <a:lnTo>
                    <a:pt x="123764" y="46035"/>
                  </a:lnTo>
                  <a:cubicBezTo>
                    <a:pt x="119705" y="62315"/>
                    <a:pt x="105082" y="73739"/>
                    <a:pt x="88305" y="73739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1" name="Freeform 630">
              <a:extLst>
                <a:ext uri="{FF2B5EF4-FFF2-40B4-BE49-F238E27FC236}">
                  <a16:creationId xmlns:a16="http://schemas.microsoft.com/office/drawing/2014/main" id="{566657E0-FEE9-88CB-0DBA-EB1430F5EA48}"/>
                </a:ext>
              </a:extLst>
            </p:cNvPr>
            <p:cNvSpPr/>
            <p:nvPr/>
          </p:nvSpPr>
          <p:spPr>
            <a:xfrm flipV="1">
              <a:off x="3033004" y="423035"/>
              <a:ext cx="91361" cy="66835"/>
            </a:xfrm>
            <a:custGeom>
              <a:avLst/>
              <a:gdLst>
                <a:gd name="connsiteX0" fmla="*/ 291 w 91361"/>
                <a:gd name="connsiteY0" fmla="*/ 24924 h 66835"/>
                <a:gd name="connsiteX1" fmla="*/ 24818 w 91361"/>
                <a:gd name="connsiteY1" fmla="*/ 397 h 66835"/>
                <a:gd name="connsiteX2" fmla="*/ 91653 w 91361"/>
                <a:gd name="connsiteY2" fmla="*/ 67233 h 66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1361" h="66835">
                  <a:moveTo>
                    <a:pt x="291" y="24924"/>
                  </a:moveTo>
                  <a:lnTo>
                    <a:pt x="24818" y="397"/>
                  </a:lnTo>
                  <a:lnTo>
                    <a:pt x="91653" y="67233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634" name="Graphic 632">
            <a:extLst>
              <a:ext uri="{FF2B5EF4-FFF2-40B4-BE49-F238E27FC236}">
                <a16:creationId xmlns:a16="http://schemas.microsoft.com/office/drawing/2014/main" id="{6BEE1C15-A43E-CDCD-D3DC-414937906849}"/>
              </a:ext>
            </a:extLst>
          </p:cNvPr>
          <p:cNvGrpSpPr/>
          <p:nvPr/>
        </p:nvGrpSpPr>
        <p:grpSpPr>
          <a:xfrm>
            <a:off x="2767427" y="1478234"/>
            <a:ext cx="440363" cy="305708"/>
            <a:chOff x="2858504" y="258831"/>
            <a:chExt cx="440363" cy="305708"/>
          </a:xfrm>
          <a:noFill/>
        </p:grpSpPr>
        <p:sp>
          <p:nvSpPr>
            <p:cNvPr id="635" name="Freeform 634">
              <a:extLst>
                <a:ext uri="{FF2B5EF4-FFF2-40B4-BE49-F238E27FC236}">
                  <a16:creationId xmlns:a16="http://schemas.microsoft.com/office/drawing/2014/main" id="{97265309-21AF-35AC-BDD2-EE457679AE95}"/>
                </a:ext>
              </a:extLst>
            </p:cNvPr>
            <p:cNvSpPr/>
            <p:nvPr/>
          </p:nvSpPr>
          <p:spPr>
            <a:xfrm flipV="1">
              <a:off x="2858504" y="258831"/>
              <a:ext cx="440363" cy="253068"/>
            </a:xfrm>
            <a:custGeom>
              <a:avLst/>
              <a:gdLst>
                <a:gd name="connsiteX0" fmla="*/ 440448 w 440363"/>
                <a:gd name="connsiteY0" fmla="*/ 18 h 253068"/>
                <a:gd name="connsiteX1" fmla="*/ 85 w 440363"/>
                <a:gd name="connsiteY1" fmla="*/ 18 h 253068"/>
                <a:gd name="connsiteX2" fmla="*/ 85 w 440363"/>
                <a:gd name="connsiteY2" fmla="*/ 253086 h 253068"/>
                <a:gd name="connsiteX3" fmla="*/ 440448 w 440363"/>
                <a:gd name="connsiteY3" fmla="*/ 253086 h 253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0363" h="253068">
                  <a:moveTo>
                    <a:pt x="440448" y="18"/>
                  </a:moveTo>
                  <a:lnTo>
                    <a:pt x="85" y="18"/>
                  </a:lnTo>
                  <a:lnTo>
                    <a:pt x="85" y="253086"/>
                  </a:lnTo>
                  <a:lnTo>
                    <a:pt x="440448" y="253086"/>
                  </a:ln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6" name="Freeform 635">
              <a:extLst>
                <a:ext uri="{FF2B5EF4-FFF2-40B4-BE49-F238E27FC236}">
                  <a16:creationId xmlns:a16="http://schemas.microsoft.com/office/drawing/2014/main" id="{D2CC97DC-AEFA-5EE5-FEEB-E4468260D91E}"/>
                </a:ext>
              </a:extLst>
            </p:cNvPr>
            <p:cNvSpPr/>
            <p:nvPr/>
          </p:nvSpPr>
          <p:spPr>
            <a:xfrm flipV="1">
              <a:off x="3043978" y="511900"/>
              <a:ext cx="685" cy="52639"/>
            </a:xfrm>
            <a:custGeom>
              <a:avLst/>
              <a:gdLst>
                <a:gd name="connsiteX0" fmla="*/ 291 w 685"/>
                <a:gd name="connsiteY0" fmla="*/ 497 h 52639"/>
                <a:gd name="connsiteX1" fmla="*/ 291 w 685"/>
                <a:gd name="connsiteY1" fmla="*/ 53137 h 52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5" h="52639">
                  <a:moveTo>
                    <a:pt x="291" y="497"/>
                  </a:moveTo>
                  <a:lnTo>
                    <a:pt x="291" y="53137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7" name="Freeform 636">
              <a:extLst>
                <a:ext uri="{FF2B5EF4-FFF2-40B4-BE49-F238E27FC236}">
                  <a16:creationId xmlns:a16="http://schemas.microsoft.com/office/drawing/2014/main" id="{9B168E0B-C9AE-E314-DA5D-93D460E8508A}"/>
                </a:ext>
              </a:extLst>
            </p:cNvPr>
            <p:cNvSpPr/>
            <p:nvPr/>
          </p:nvSpPr>
          <p:spPr>
            <a:xfrm flipV="1">
              <a:off x="3113393" y="511899"/>
              <a:ext cx="685" cy="52639"/>
            </a:xfrm>
            <a:custGeom>
              <a:avLst/>
              <a:gdLst>
                <a:gd name="connsiteX0" fmla="*/ 392 w 685"/>
                <a:gd name="connsiteY0" fmla="*/ 53195 h 52639"/>
                <a:gd name="connsiteX1" fmla="*/ 392 w 685"/>
                <a:gd name="connsiteY1" fmla="*/ 555 h 52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5" h="52639">
                  <a:moveTo>
                    <a:pt x="392" y="53195"/>
                  </a:moveTo>
                  <a:lnTo>
                    <a:pt x="392" y="555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8" name="Freeform 637">
              <a:extLst>
                <a:ext uri="{FF2B5EF4-FFF2-40B4-BE49-F238E27FC236}">
                  <a16:creationId xmlns:a16="http://schemas.microsoft.com/office/drawing/2014/main" id="{3C472910-E270-CE36-4E8F-22A95FD080EC}"/>
                </a:ext>
              </a:extLst>
            </p:cNvPr>
            <p:cNvSpPr/>
            <p:nvPr/>
          </p:nvSpPr>
          <p:spPr>
            <a:xfrm flipV="1">
              <a:off x="2993173" y="564539"/>
              <a:ext cx="171024" cy="685"/>
            </a:xfrm>
            <a:custGeom>
              <a:avLst/>
              <a:gdLst>
                <a:gd name="connsiteX0" fmla="*/ 248 w 171024"/>
                <a:gd name="connsiteY0" fmla="*/ 564 h 685"/>
                <a:gd name="connsiteX1" fmla="*/ 171272 w 171024"/>
                <a:gd name="connsiteY1" fmla="*/ 564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024" h="685">
                  <a:moveTo>
                    <a:pt x="248" y="564"/>
                  </a:moveTo>
                  <a:lnTo>
                    <a:pt x="171272" y="564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641" name="Graphic 639">
            <a:extLst>
              <a:ext uri="{FF2B5EF4-FFF2-40B4-BE49-F238E27FC236}">
                <a16:creationId xmlns:a16="http://schemas.microsoft.com/office/drawing/2014/main" id="{0E6A5CCB-A88E-AF49-4367-6AC41E3D5D53}"/>
              </a:ext>
            </a:extLst>
          </p:cNvPr>
          <p:cNvGrpSpPr/>
          <p:nvPr/>
        </p:nvGrpSpPr>
        <p:grpSpPr>
          <a:xfrm>
            <a:off x="7622507" y="1410907"/>
            <a:ext cx="440363" cy="440363"/>
            <a:chOff x="2858504" y="191504"/>
            <a:chExt cx="440363" cy="440363"/>
          </a:xfrm>
          <a:noFill/>
        </p:grpSpPr>
        <p:sp>
          <p:nvSpPr>
            <p:cNvPr id="642" name="Freeform 641">
              <a:extLst>
                <a:ext uri="{FF2B5EF4-FFF2-40B4-BE49-F238E27FC236}">
                  <a16:creationId xmlns:a16="http://schemas.microsoft.com/office/drawing/2014/main" id="{2EBA3679-DC12-3AF1-16DD-D64828801B2B}"/>
                </a:ext>
              </a:extLst>
            </p:cNvPr>
            <p:cNvSpPr/>
            <p:nvPr/>
          </p:nvSpPr>
          <p:spPr>
            <a:xfrm flipV="1">
              <a:off x="2858504" y="191504"/>
              <a:ext cx="440363" cy="440363"/>
            </a:xfrm>
            <a:custGeom>
              <a:avLst/>
              <a:gdLst>
                <a:gd name="connsiteX0" fmla="*/ 440945 w 440363"/>
                <a:gd name="connsiteY0" fmla="*/ 220523 h 440363"/>
                <a:gd name="connsiteX1" fmla="*/ 220764 w 440363"/>
                <a:gd name="connsiteY1" fmla="*/ 341 h 440363"/>
                <a:gd name="connsiteX2" fmla="*/ 582 w 440363"/>
                <a:gd name="connsiteY2" fmla="*/ 220523 h 440363"/>
                <a:gd name="connsiteX3" fmla="*/ 220764 w 440363"/>
                <a:gd name="connsiteY3" fmla="*/ 440704 h 440363"/>
                <a:gd name="connsiteX4" fmla="*/ 440945 w 440363"/>
                <a:gd name="connsiteY4" fmla="*/ 220523 h 440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63" h="440363">
                  <a:moveTo>
                    <a:pt x="440945" y="220523"/>
                  </a:moveTo>
                  <a:cubicBezTo>
                    <a:pt x="440945" y="98920"/>
                    <a:pt x="342366" y="341"/>
                    <a:pt x="220764" y="341"/>
                  </a:cubicBezTo>
                  <a:cubicBezTo>
                    <a:pt x="99159" y="341"/>
                    <a:pt x="582" y="98920"/>
                    <a:pt x="582" y="220523"/>
                  </a:cubicBezTo>
                  <a:cubicBezTo>
                    <a:pt x="582" y="342128"/>
                    <a:pt x="99159" y="440704"/>
                    <a:pt x="220764" y="440704"/>
                  </a:cubicBezTo>
                  <a:cubicBezTo>
                    <a:pt x="342366" y="440704"/>
                    <a:pt x="440945" y="342128"/>
                    <a:pt x="440945" y="220523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3" name="Freeform 642">
              <a:extLst>
                <a:ext uri="{FF2B5EF4-FFF2-40B4-BE49-F238E27FC236}">
                  <a16:creationId xmlns:a16="http://schemas.microsoft.com/office/drawing/2014/main" id="{8C6EBF35-5ACE-D575-9FC7-CBBE68564D54}"/>
                </a:ext>
              </a:extLst>
            </p:cNvPr>
            <p:cNvSpPr/>
            <p:nvPr/>
          </p:nvSpPr>
          <p:spPr>
            <a:xfrm flipV="1">
              <a:off x="2990612" y="294256"/>
              <a:ext cx="176146" cy="176144"/>
            </a:xfrm>
            <a:custGeom>
              <a:avLst/>
              <a:gdLst>
                <a:gd name="connsiteX0" fmla="*/ 176584 w 176146"/>
                <a:gd name="connsiteY0" fmla="*/ 88371 h 176144"/>
                <a:gd name="connsiteX1" fmla="*/ 88511 w 176146"/>
                <a:gd name="connsiteY1" fmla="*/ 298 h 176144"/>
                <a:gd name="connsiteX2" fmla="*/ 438 w 176146"/>
                <a:gd name="connsiteY2" fmla="*/ 88371 h 176144"/>
                <a:gd name="connsiteX3" fmla="*/ 88511 w 176146"/>
                <a:gd name="connsiteY3" fmla="*/ 176443 h 176144"/>
                <a:gd name="connsiteX4" fmla="*/ 176584 w 176146"/>
                <a:gd name="connsiteY4" fmla="*/ 88371 h 176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146" h="176144">
                  <a:moveTo>
                    <a:pt x="176584" y="88371"/>
                  </a:moveTo>
                  <a:cubicBezTo>
                    <a:pt x="176584" y="39730"/>
                    <a:pt x="137154" y="298"/>
                    <a:pt x="88511" y="298"/>
                  </a:cubicBezTo>
                  <a:cubicBezTo>
                    <a:pt x="39867" y="298"/>
                    <a:pt x="438" y="39730"/>
                    <a:pt x="438" y="88371"/>
                  </a:cubicBezTo>
                  <a:cubicBezTo>
                    <a:pt x="438" y="137011"/>
                    <a:pt x="39867" y="176443"/>
                    <a:pt x="88511" y="176443"/>
                  </a:cubicBezTo>
                  <a:cubicBezTo>
                    <a:pt x="137154" y="176443"/>
                    <a:pt x="176584" y="137011"/>
                    <a:pt x="176584" y="88371"/>
                  </a:cubicBez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4" name="Freeform 643">
              <a:extLst>
                <a:ext uri="{FF2B5EF4-FFF2-40B4-BE49-F238E27FC236}">
                  <a16:creationId xmlns:a16="http://schemas.microsoft.com/office/drawing/2014/main" id="{A295B77E-3CA9-406C-1D48-5A3AF4404876}"/>
                </a:ext>
              </a:extLst>
            </p:cNvPr>
            <p:cNvSpPr/>
            <p:nvPr/>
          </p:nvSpPr>
          <p:spPr>
            <a:xfrm flipV="1">
              <a:off x="2947319" y="470401"/>
              <a:ext cx="262730" cy="118002"/>
            </a:xfrm>
            <a:custGeom>
              <a:avLst/>
              <a:gdLst>
                <a:gd name="connsiteX0" fmla="*/ 198 w 262730"/>
                <a:gd name="connsiteY0" fmla="*/ 450 h 118002"/>
                <a:gd name="connsiteX1" fmla="*/ 131564 w 262730"/>
                <a:gd name="connsiteY1" fmla="*/ 118451 h 118002"/>
                <a:gd name="connsiteX2" fmla="*/ 262928 w 262730"/>
                <a:gd name="connsiteY2" fmla="*/ 449 h 118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2730" h="118002">
                  <a:moveTo>
                    <a:pt x="198" y="450"/>
                  </a:moveTo>
                  <a:cubicBezTo>
                    <a:pt x="7242" y="66781"/>
                    <a:pt x="63367" y="118451"/>
                    <a:pt x="131564" y="118451"/>
                  </a:cubicBezTo>
                  <a:cubicBezTo>
                    <a:pt x="199762" y="118451"/>
                    <a:pt x="255887" y="66777"/>
                    <a:pt x="262928" y="449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647" name="Graphic 645">
            <a:extLst>
              <a:ext uri="{FF2B5EF4-FFF2-40B4-BE49-F238E27FC236}">
                <a16:creationId xmlns:a16="http://schemas.microsoft.com/office/drawing/2014/main" id="{0B30B8D4-E1E3-1FC0-6E35-D5B075982AFB}"/>
              </a:ext>
            </a:extLst>
          </p:cNvPr>
          <p:cNvGrpSpPr/>
          <p:nvPr/>
        </p:nvGrpSpPr>
        <p:grpSpPr>
          <a:xfrm>
            <a:off x="11060826" y="1410907"/>
            <a:ext cx="440363" cy="440363"/>
            <a:chOff x="2858504" y="191504"/>
            <a:chExt cx="440363" cy="440363"/>
          </a:xfrm>
          <a:noFill/>
        </p:grpSpPr>
        <p:sp>
          <p:nvSpPr>
            <p:cNvPr id="648" name="Freeform 647">
              <a:extLst>
                <a:ext uri="{FF2B5EF4-FFF2-40B4-BE49-F238E27FC236}">
                  <a16:creationId xmlns:a16="http://schemas.microsoft.com/office/drawing/2014/main" id="{983FE18C-29EF-C0D7-BA77-F86BF9E59C03}"/>
                </a:ext>
              </a:extLst>
            </p:cNvPr>
            <p:cNvSpPr/>
            <p:nvPr/>
          </p:nvSpPr>
          <p:spPr>
            <a:xfrm flipV="1">
              <a:off x="2858504" y="191504"/>
              <a:ext cx="440363" cy="440363"/>
            </a:xfrm>
            <a:custGeom>
              <a:avLst/>
              <a:gdLst>
                <a:gd name="connsiteX0" fmla="*/ 440945 w 440363"/>
                <a:gd name="connsiteY0" fmla="*/ 220523 h 440363"/>
                <a:gd name="connsiteX1" fmla="*/ 220764 w 440363"/>
                <a:gd name="connsiteY1" fmla="*/ 341 h 440363"/>
                <a:gd name="connsiteX2" fmla="*/ 582 w 440363"/>
                <a:gd name="connsiteY2" fmla="*/ 220523 h 440363"/>
                <a:gd name="connsiteX3" fmla="*/ 220764 w 440363"/>
                <a:gd name="connsiteY3" fmla="*/ 440704 h 440363"/>
                <a:gd name="connsiteX4" fmla="*/ 440945 w 440363"/>
                <a:gd name="connsiteY4" fmla="*/ 220523 h 440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363" h="440363">
                  <a:moveTo>
                    <a:pt x="440945" y="220523"/>
                  </a:moveTo>
                  <a:cubicBezTo>
                    <a:pt x="440945" y="99425"/>
                    <a:pt x="341863" y="341"/>
                    <a:pt x="220764" y="341"/>
                  </a:cubicBezTo>
                  <a:cubicBezTo>
                    <a:pt x="99665" y="341"/>
                    <a:pt x="582" y="99425"/>
                    <a:pt x="582" y="220523"/>
                  </a:cubicBezTo>
                  <a:cubicBezTo>
                    <a:pt x="582" y="341621"/>
                    <a:pt x="99665" y="440704"/>
                    <a:pt x="220764" y="440704"/>
                  </a:cubicBezTo>
                  <a:cubicBezTo>
                    <a:pt x="341863" y="440704"/>
                    <a:pt x="440945" y="341621"/>
                    <a:pt x="440945" y="220523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9" name="Freeform 648">
              <a:extLst>
                <a:ext uri="{FF2B5EF4-FFF2-40B4-BE49-F238E27FC236}">
                  <a16:creationId xmlns:a16="http://schemas.microsoft.com/office/drawing/2014/main" id="{A2776421-ECC6-4F69-04BA-CF63B50F2971}"/>
                </a:ext>
              </a:extLst>
            </p:cNvPr>
            <p:cNvSpPr/>
            <p:nvPr/>
          </p:nvSpPr>
          <p:spPr>
            <a:xfrm flipV="1">
              <a:off x="3078685" y="191504"/>
              <a:ext cx="685" cy="440363"/>
            </a:xfrm>
            <a:custGeom>
              <a:avLst/>
              <a:gdLst>
                <a:gd name="connsiteX0" fmla="*/ 341 w 685"/>
                <a:gd name="connsiteY0" fmla="*/ 100 h 440363"/>
                <a:gd name="connsiteX1" fmla="*/ 341 w 685"/>
                <a:gd name="connsiteY1" fmla="*/ 440463 h 440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5" h="440363">
                  <a:moveTo>
                    <a:pt x="341" y="100"/>
                  </a:moveTo>
                  <a:lnTo>
                    <a:pt x="341" y="440463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0" name="Freeform 649">
              <a:extLst>
                <a:ext uri="{FF2B5EF4-FFF2-40B4-BE49-F238E27FC236}">
                  <a16:creationId xmlns:a16="http://schemas.microsoft.com/office/drawing/2014/main" id="{523FFF14-464A-A5D4-BE6D-F540274B80A8}"/>
                </a:ext>
              </a:extLst>
            </p:cNvPr>
            <p:cNvSpPr/>
            <p:nvPr/>
          </p:nvSpPr>
          <p:spPr>
            <a:xfrm flipV="1">
              <a:off x="2969051" y="191504"/>
              <a:ext cx="219267" cy="440363"/>
            </a:xfrm>
            <a:custGeom>
              <a:avLst/>
              <a:gdLst>
                <a:gd name="connsiteX0" fmla="*/ 219729 w 219267"/>
                <a:gd name="connsiteY0" fmla="*/ 220523 h 440363"/>
                <a:gd name="connsiteX1" fmla="*/ 110095 w 219267"/>
                <a:gd name="connsiteY1" fmla="*/ 341 h 440363"/>
                <a:gd name="connsiteX2" fmla="*/ 461 w 219267"/>
                <a:gd name="connsiteY2" fmla="*/ 220523 h 440363"/>
                <a:gd name="connsiteX3" fmla="*/ 110095 w 219267"/>
                <a:gd name="connsiteY3" fmla="*/ 440704 h 440363"/>
                <a:gd name="connsiteX4" fmla="*/ 219729 w 219267"/>
                <a:gd name="connsiteY4" fmla="*/ 220523 h 440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267" h="440363">
                  <a:moveTo>
                    <a:pt x="219729" y="220523"/>
                  </a:moveTo>
                  <a:cubicBezTo>
                    <a:pt x="219729" y="99425"/>
                    <a:pt x="170644" y="341"/>
                    <a:pt x="110095" y="341"/>
                  </a:cubicBezTo>
                  <a:cubicBezTo>
                    <a:pt x="49546" y="341"/>
                    <a:pt x="461" y="99425"/>
                    <a:pt x="461" y="220523"/>
                  </a:cubicBezTo>
                  <a:cubicBezTo>
                    <a:pt x="461" y="341621"/>
                    <a:pt x="49546" y="440704"/>
                    <a:pt x="110095" y="440704"/>
                  </a:cubicBezTo>
                  <a:cubicBezTo>
                    <a:pt x="170644" y="440704"/>
                    <a:pt x="219729" y="341621"/>
                    <a:pt x="219729" y="220523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1" name="Freeform 650">
              <a:extLst>
                <a:ext uri="{FF2B5EF4-FFF2-40B4-BE49-F238E27FC236}">
                  <a16:creationId xmlns:a16="http://schemas.microsoft.com/office/drawing/2014/main" id="{22F44577-5625-ADB4-C68A-31F4888F19FC}"/>
                </a:ext>
              </a:extLst>
            </p:cNvPr>
            <p:cNvSpPr/>
            <p:nvPr/>
          </p:nvSpPr>
          <p:spPr>
            <a:xfrm flipV="1">
              <a:off x="2858504" y="411685"/>
              <a:ext cx="440363" cy="685"/>
            </a:xfrm>
            <a:custGeom>
              <a:avLst/>
              <a:gdLst>
                <a:gd name="connsiteX0" fmla="*/ 440945 w 440363"/>
                <a:gd name="connsiteY0" fmla="*/ 341 h 685"/>
                <a:gd name="connsiteX1" fmla="*/ 582 w 440363"/>
                <a:gd name="connsiteY1" fmla="*/ 341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0363" h="685">
                  <a:moveTo>
                    <a:pt x="440945" y="341"/>
                  </a:moveTo>
                  <a:lnTo>
                    <a:pt x="582" y="341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2" name="Freeform 651">
              <a:extLst>
                <a:ext uri="{FF2B5EF4-FFF2-40B4-BE49-F238E27FC236}">
                  <a16:creationId xmlns:a16="http://schemas.microsoft.com/office/drawing/2014/main" id="{A91C4963-9FC9-1DD3-7E3A-C03DE3A34A55}"/>
                </a:ext>
              </a:extLst>
            </p:cNvPr>
            <p:cNvSpPr/>
            <p:nvPr/>
          </p:nvSpPr>
          <p:spPr>
            <a:xfrm flipV="1">
              <a:off x="2897369" y="288347"/>
              <a:ext cx="362632" cy="685"/>
            </a:xfrm>
            <a:custGeom>
              <a:avLst/>
              <a:gdLst>
                <a:gd name="connsiteX0" fmla="*/ 363172 w 362632"/>
                <a:gd name="connsiteY0" fmla="*/ 161 h 685"/>
                <a:gd name="connsiteX1" fmla="*/ 540 w 362632"/>
                <a:gd name="connsiteY1" fmla="*/ 161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2632" h="685">
                  <a:moveTo>
                    <a:pt x="363172" y="161"/>
                  </a:moveTo>
                  <a:lnTo>
                    <a:pt x="540" y="161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3" name="Freeform 652">
              <a:extLst>
                <a:ext uri="{FF2B5EF4-FFF2-40B4-BE49-F238E27FC236}">
                  <a16:creationId xmlns:a16="http://schemas.microsoft.com/office/drawing/2014/main" id="{0592FE49-31AB-75EE-38AE-10653457F98F}"/>
                </a:ext>
              </a:extLst>
            </p:cNvPr>
            <p:cNvSpPr/>
            <p:nvPr/>
          </p:nvSpPr>
          <p:spPr>
            <a:xfrm flipV="1">
              <a:off x="2897369" y="535024"/>
              <a:ext cx="362632" cy="685"/>
            </a:xfrm>
            <a:custGeom>
              <a:avLst/>
              <a:gdLst>
                <a:gd name="connsiteX0" fmla="*/ 363172 w 362632"/>
                <a:gd name="connsiteY0" fmla="*/ 521 h 685"/>
                <a:gd name="connsiteX1" fmla="*/ 540 w 362632"/>
                <a:gd name="connsiteY1" fmla="*/ 521 h 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2632" h="685">
                  <a:moveTo>
                    <a:pt x="363172" y="521"/>
                  </a:moveTo>
                  <a:lnTo>
                    <a:pt x="540" y="521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1D736F9-EA68-D934-A3FC-9AAB297F74BD}"/>
              </a:ext>
            </a:extLst>
          </p:cNvPr>
          <p:cNvSpPr txBox="1"/>
          <p:nvPr/>
        </p:nvSpPr>
        <p:spPr>
          <a:xfrm>
            <a:off x="933902" y="5821859"/>
            <a:ext cx="103241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000" i="1"/>
              <a:t>Icons = thin line style, 1.5 </a:t>
            </a:r>
            <a:r>
              <a:rPr lang="en-GB" sz="1000" i="1" err="1"/>
              <a:t>pt</a:t>
            </a:r>
            <a:r>
              <a:rPr lang="en-GB" sz="1000" i="1"/>
              <a:t> stroke weight. These are all colour / size editable. If you need any additional please send a request to the design studio.</a:t>
            </a:r>
          </a:p>
        </p:txBody>
      </p:sp>
    </p:spTree>
    <p:extLst>
      <p:ext uri="{BB962C8B-B14F-4D97-AF65-F5344CB8AC3E}">
        <p14:creationId xmlns:p14="http://schemas.microsoft.com/office/powerpoint/2010/main" val="41119085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8B73FC87-FA16-6CC6-9F4D-391D84C77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2400" b="1" err="1">
                <a:latin typeface="+mn-lt"/>
              </a:rPr>
              <a:t>Category</a:t>
            </a:r>
            <a:r>
              <a:rPr lang="es-MX" sz="2400" b="1">
                <a:latin typeface="+mn-lt"/>
              </a:rPr>
              <a:t> Offline </a:t>
            </a:r>
            <a:r>
              <a:rPr lang="es-MX" sz="2400" b="1" err="1">
                <a:latin typeface="+mn-lt"/>
              </a:rPr>
              <a:t>Highlights</a:t>
            </a:r>
            <a:endParaRPr lang="es-MX" sz="2400" b="1">
              <a:latin typeface="+mn-lt"/>
            </a:endParaRP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B7330A0-1805-4BF4-D88A-BF671AC40E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>
                <a:solidFill>
                  <a:srgbClr val="404E5C"/>
                </a:solidFill>
                <a:latin typeface="Poppins-Regular"/>
              </a:rPr>
              <a:t>Fuente:</a:t>
            </a: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404E5C"/>
              </a:solidFill>
              <a:effectLst/>
              <a:uLnTx/>
              <a:uFillTx/>
              <a:latin typeface="Poppins-Regular"/>
              <a:ea typeface="+mn-ea"/>
              <a:cs typeface="Poppins Light" pitchFamily="2" charset="77"/>
            </a:endParaRP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BA75A3-C8E6-C22E-8773-AF598804B1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322826-FB53-4EA8-B4DD-786783600E55}" type="slidenum">
              <a:rPr kumimoji="0" lang="es-MX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Poppins Extra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MX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Poppins ExtraLight" pitchFamily="2" charset="77"/>
            </a:endParaRPr>
          </a:p>
        </p:txBody>
      </p:sp>
      <p:sp>
        <p:nvSpPr>
          <p:cNvPr id="12" name="Rectangle 117">
            <a:extLst>
              <a:ext uri="{FF2B5EF4-FFF2-40B4-BE49-F238E27FC236}">
                <a16:creationId xmlns:a16="http://schemas.microsoft.com/office/drawing/2014/main" id="{031A34B9-8F89-D2EA-82F5-8E7F85CCF90D}"/>
              </a:ext>
            </a:extLst>
          </p:cNvPr>
          <p:cNvSpPr/>
          <p:nvPr/>
        </p:nvSpPr>
        <p:spPr>
          <a:xfrm>
            <a:off x="641356" y="1152410"/>
            <a:ext cx="3507914" cy="3599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ATEGORY SOI/SOV TREND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3" name="Rectangle 117">
            <a:extLst>
              <a:ext uri="{FF2B5EF4-FFF2-40B4-BE49-F238E27FC236}">
                <a16:creationId xmlns:a16="http://schemas.microsoft.com/office/drawing/2014/main" id="{30664181-7C95-1D5A-3FDA-5F370793C3EA}"/>
              </a:ext>
            </a:extLst>
          </p:cNvPr>
          <p:cNvSpPr/>
          <p:nvPr/>
        </p:nvSpPr>
        <p:spPr>
          <a:xfrm>
            <a:off x="4374432" y="1152409"/>
            <a:ext cx="3507914" cy="3599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2023 YTD MEDIA MIX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Rectangle 117">
            <a:extLst>
              <a:ext uri="{FF2B5EF4-FFF2-40B4-BE49-F238E27FC236}">
                <a16:creationId xmlns:a16="http://schemas.microsoft.com/office/drawing/2014/main" id="{9757476B-2773-5020-F7DB-1257E24920EB}"/>
              </a:ext>
            </a:extLst>
          </p:cNvPr>
          <p:cNvSpPr/>
          <p:nvPr/>
        </p:nvSpPr>
        <p:spPr>
          <a:xfrm>
            <a:off x="8107507" y="1152408"/>
            <a:ext cx="3507914" cy="3599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ATEGORY REACH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aphicFrame>
        <p:nvGraphicFramePr>
          <p:cNvPr id="17" name="Gráfico 16">
            <a:extLst>
              <a:ext uri="{FF2B5EF4-FFF2-40B4-BE49-F238E27FC236}">
                <a16:creationId xmlns:a16="http://schemas.microsoft.com/office/drawing/2014/main" id="{79341281-E587-8E02-3C57-AD80F352C044}"/>
              </a:ext>
            </a:extLst>
          </p:cNvPr>
          <p:cNvGraphicFramePr/>
          <p:nvPr/>
        </p:nvGraphicFramePr>
        <p:xfrm>
          <a:off x="4374431" y="1636651"/>
          <a:ext cx="3507915" cy="34584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Gráfico 18">
            <a:extLst>
              <a:ext uri="{FF2B5EF4-FFF2-40B4-BE49-F238E27FC236}">
                <a16:creationId xmlns:a16="http://schemas.microsoft.com/office/drawing/2014/main" id="{518D27C5-3475-A59E-55AF-A99E76767769}"/>
              </a:ext>
            </a:extLst>
          </p:cNvPr>
          <p:cNvGraphicFramePr/>
          <p:nvPr/>
        </p:nvGraphicFramePr>
        <p:xfrm>
          <a:off x="641354" y="1531463"/>
          <a:ext cx="3507915" cy="27737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:a16="http://schemas.microsoft.com/office/drawing/2014/main" id="{8761942A-65B4-3EF1-C0F3-784E3A77F4BC}"/>
              </a:ext>
            </a:extLst>
          </p:cNvPr>
          <p:cNvSpPr/>
          <p:nvPr/>
        </p:nvSpPr>
        <p:spPr>
          <a:xfrm>
            <a:off x="641355" y="5100319"/>
            <a:ext cx="3507913" cy="1068706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Key Highlights &amp; Recommendations</a:t>
            </a:r>
          </a:p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Focus on opportunities or changes, new players, etc.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BF156FEB-C6E7-53A5-309E-6E8FB2F960FA}"/>
              </a:ext>
            </a:extLst>
          </p:cNvPr>
          <p:cNvSpPr/>
          <p:nvPr/>
        </p:nvSpPr>
        <p:spPr>
          <a:xfrm>
            <a:off x="4374431" y="5100319"/>
            <a:ext cx="3507913" cy="1068706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Key Highlights &amp; Recommendations</a:t>
            </a:r>
          </a:p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Focus on opportunities or changes, new channels or formats detected, etc.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BD89EB29-6513-DE75-078A-A3CEF32C3B21}"/>
              </a:ext>
            </a:extLst>
          </p:cNvPr>
          <p:cNvSpPr/>
          <p:nvPr/>
        </p:nvSpPr>
        <p:spPr>
          <a:xfrm>
            <a:off x="8107505" y="5100319"/>
            <a:ext cx="3507913" cy="1068706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Key Highlights &amp; Recommendations</a:t>
            </a:r>
          </a:p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Focus on opportunities or changes, new players, weeks on air that are relevant to note, etc.</a:t>
            </a:r>
          </a:p>
        </p:txBody>
      </p:sp>
      <p:graphicFrame>
        <p:nvGraphicFramePr>
          <p:cNvPr id="15" name="Gráfico 14">
            <a:extLst>
              <a:ext uri="{FF2B5EF4-FFF2-40B4-BE49-F238E27FC236}">
                <a16:creationId xmlns:a16="http://schemas.microsoft.com/office/drawing/2014/main" id="{D805F17F-0684-597A-55B8-C8F2DF1D6A0F}"/>
              </a:ext>
            </a:extLst>
          </p:cNvPr>
          <p:cNvGraphicFramePr/>
          <p:nvPr/>
        </p:nvGraphicFramePr>
        <p:xfrm>
          <a:off x="8107505" y="1531464"/>
          <a:ext cx="3507915" cy="35321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6" name="Tabla 17">
            <a:extLst>
              <a:ext uri="{FF2B5EF4-FFF2-40B4-BE49-F238E27FC236}">
                <a16:creationId xmlns:a16="http://schemas.microsoft.com/office/drawing/2014/main" id="{7D04BF72-ED85-9C73-B087-C5CD02E5F102}"/>
              </a:ext>
            </a:extLst>
          </p:cNvPr>
          <p:cNvGraphicFramePr>
            <a:graphicFrameLocks noGrp="1"/>
          </p:cNvGraphicFramePr>
          <p:nvPr/>
        </p:nvGraphicFramePr>
        <p:xfrm>
          <a:off x="1777430" y="4229038"/>
          <a:ext cx="2279368" cy="7436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9842">
                  <a:extLst>
                    <a:ext uri="{9D8B030D-6E8A-4147-A177-3AD203B41FA5}">
                      <a16:colId xmlns:a16="http://schemas.microsoft.com/office/drawing/2014/main" val="1472914795"/>
                    </a:ext>
                  </a:extLst>
                </a:gridCol>
                <a:gridCol w="569842">
                  <a:extLst>
                    <a:ext uri="{9D8B030D-6E8A-4147-A177-3AD203B41FA5}">
                      <a16:colId xmlns:a16="http://schemas.microsoft.com/office/drawing/2014/main" val="2236396870"/>
                    </a:ext>
                  </a:extLst>
                </a:gridCol>
                <a:gridCol w="569842">
                  <a:extLst>
                    <a:ext uri="{9D8B030D-6E8A-4147-A177-3AD203B41FA5}">
                      <a16:colId xmlns:a16="http://schemas.microsoft.com/office/drawing/2014/main" val="1211633584"/>
                    </a:ext>
                  </a:extLst>
                </a:gridCol>
                <a:gridCol w="569842">
                  <a:extLst>
                    <a:ext uri="{9D8B030D-6E8A-4147-A177-3AD203B41FA5}">
                      <a16:colId xmlns:a16="http://schemas.microsoft.com/office/drawing/2014/main" val="2010881446"/>
                    </a:ext>
                  </a:extLst>
                </a:gridCol>
              </a:tblGrid>
              <a:tr h="173288">
                <a:tc gridSpan="2">
                  <a:txBody>
                    <a:bodyPr/>
                    <a:lstStyle/>
                    <a:p>
                      <a:pPr algn="ctr"/>
                      <a:r>
                        <a:rPr lang="es-MX" sz="1000" b="1">
                          <a:solidFill>
                            <a:schemeClr val="tx1"/>
                          </a:solidFill>
                        </a:rPr>
                        <a:t>FY 2022</a:t>
                      </a: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MX" sz="800" b="1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s-MX" sz="1000" b="1">
                          <a:solidFill>
                            <a:schemeClr val="tx1"/>
                          </a:solidFill>
                        </a:rPr>
                        <a:t>2023 YTD</a:t>
                      </a: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MX" sz="800" b="1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9453056"/>
                  </a:ext>
                </a:extLst>
              </a:tr>
              <a:tr h="173288">
                <a:tc>
                  <a:txBody>
                    <a:bodyPr/>
                    <a:lstStyle/>
                    <a:p>
                      <a:pPr algn="ctr"/>
                      <a:r>
                        <a:rPr lang="es-MX" sz="800" b="0">
                          <a:solidFill>
                            <a:schemeClr val="tx1"/>
                          </a:solidFill>
                        </a:rPr>
                        <a:t>SPEND</a:t>
                      </a: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800" b="0">
                          <a:solidFill>
                            <a:schemeClr val="tx1"/>
                          </a:solidFill>
                        </a:rPr>
                        <a:t>TRPS</a:t>
                      </a: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800" b="0">
                          <a:solidFill>
                            <a:schemeClr val="tx1"/>
                          </a:solidFill>
                        </a:rPr>
                        <a:t>SPEND</a:t>
                      </a: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800" b="0">
                          <a:solidFill>
                            <a:schemeClr val="tx1"/>
                          </a:solidFill>
                        </a:rPr>
                        <a:t>TRPS</a:t>
                      </a:r>
                    </a:p>
                  </a:txBody>
                  <a:tcPr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98797"/>
                  </a:ext>
                </a:extLst>
              </a:tr>
              <a:tr h="286459">
                <a:tc>
                  <a:txBody>
                    <a:bodyPr/>
                    <a:lstStyle/>
                    <a:p>
                      <a:pPr algn="ctr"/>
                      <a:r>
                        <a:rPr lang="es-MX" sz="800" b="0">
                          <a:solidFill>
                            <a:schemeClr val="tx1"/>
                          </a:solidFill>
                        </a:rPr>
                        <a:t>$100M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800" b="0">
                          <a:solidFill>
                            <a:schemeClr val="tx1"/>
                          </a:solidFill>
                        </a:rPr>
                        <a:t>500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800" b="0">
                          <a:solidFill>
                            <a:schemeClr val="tx1"/>
                          </a:solidFill>
                        </a:rPr>
                        <a:t>$100M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800" b="0">
                          <a:solidFill>
                            <a:schemeClr val="tx1"/>
                          </a:solidFill>
                        </a:rPr>
                        <a:t>500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2231139"/>
                  </a:ext>
                </a:extLst>
              </a:tr>
            </a:tbl>
          </a:graphicData>
        </a:graphic>
      </p:graphicFrame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3876B100-E64D-362E-82EC-C3A5A9A067F2}"/>
              </a:ext>
            </a:extLst>
          </p:cNvPr>
          <p:cNvCxnSpPr/>
          <p:nvPr/>
        </p:nvCxnSpPr>
        <p:spPr>
          <a:xfrm flipV="1">
            <a:off x="2933140" y="1626622"/>
            <a:ext cx="0" cy="334800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ound Same-side Corner of Rectangle 7">
            <a:extLst>
              <a:ext uri="{FF2B5EF4-FFF2-40B4-BE49-F238E27FC236}">
                <a16:creationId xmlns:a16="http://schemas.microsoft.com/office/drawing/2014/main" id="{CEA26B16-7647-F130-49F4-63BD43077850}"/>
              </a:ext>
            </a:extLst>
          </p:cNvPr>
          <p:cNvSpPr/>
          <p:nvPr/>
        </p:nvSpPr>
        <p:spPr>
          <a:xfrm rot="10800000">
            <a:off x="10154862" y="-67235"/>
            <a:ext cx="1681453" cy="574871"/>
          </a:xfrm>
          <a:prstGeom prst="round2SameRect">
            <a:avLst>
              <a:gd name="adj1" fmla="val 24269"/>
              <a:gd name="adj2" fmla="val 0"/>
            </a:avLst>
          </a:prstGeom>
          <a:solidFill>
            <a:schemeClr val="bg2"/>
          </a:solidFill>
          <a:ln w="1270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49680F8-9476-752B-8079-F423FBEA85FD}"/>
              </a:ext>
            </a:extLst>
          </p:cNvPr>
          <p:cNvGrpSpPr/>
          <p:nvPr/>
        </p:nvGrpSpPr>
        <p:grpSpPr>
          <a:xfrm>
            <a:off x="10299629" y="124456"/>
            <a:ext cx="1446176" cy="307777"/>
            <a:chOff x="1940295" y="2086507"/>
            <a:chExt cx="3049919" cy="649088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9FC7847B-9437-139C-455B-8FD43A0BBE20}"/>
                </a:ext>
              </a:extLst>
            </p:cNvPr>
            <p:cNvGrpSpPr/>
            <p:nvPr/>
          </p:nvGrpSpPr>
          <p:grpSpPr>
            <a:xfrm>
              <a:off x="1940295" y="2112018"/>
              <a:ext cx="598067" cy="598067"/>
              <a:chOff x="8582452" y="2686901"/>
              <a:chExt cx="621171" cy="621171"/>
            </a:xfrm>
          </p:grpSpPr>
          <p:sp>
            <p:nvSpPr>
              <p:cNvPr id="25" name="Oval 33">
                <a:extLst>
                  <a:ext uri="{FF2B5EF4-FFF2-40B4-BE49-F238E27FC236}">
                    <a16:creationId xmlns:a16="http://schemas.microsoft.com/office/drawing/2014/main" id="{D2584CFC-9C4C-0F7B-CF48-63E2FDC12DC2}"/>
                  </a:ext>
                </a:extLst>
              </p:cNvPr>
              <p:cNvSpPr/>
              <p:nvPr/>
            </p:nvSpPr>
            <p:spPr>
              <a:xfrm>
                <a:off x="8582452" y="2686901"/>
                <a:ext cx="621171" cy="621171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pic>
            <p:nvPicPr>
              <p:cNvPr id="26" name="Graphic 37" descr="Triangle Ruler outline">
                <a:extLst>
                  <a:ext uri="{FF2B5EF4-FFF2-40B4-BE49-F238E27FC236}">
                    <a16:creationId xmlns:a16="http://schemas.microsoft.com/office/drawing/2014/main" id="{FFA383F7-EB4D-883D-0527-5903E50830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732494" y="2780237"/>
                <a:ext cx="390382" cy="390382"/>
              </a:xfrm>
              <a:prstGeom prst="rect">
                <a:avLst/>
              </a:prstGeom>
            </p:spPr>
          </p:pic>
        </p:grpSp>
        <p:sp>
          <p:nvSpPr>
            <p:cNvPr id="24" name="TextBox 22">
              <a:extLst>
                <a:ext uri="{FF2B5EF4-FFF2-40B4-BE49-F238E27FC236}">
                  <a16:creationId xmlns:a16="http://schemas.microsoft.com/office/drawing/2014/main" id="{17F25E18-F0C9-DC86-41FC-360FC2A65576}"/>
                </a:ext>
              </a:extLst>
            </p:cNvPr>
            <p:cNvSpPr txBox="1"/>
            <p:nvPr/>
          </p:nvSpPr>
          <p:spPr>
            <a:xfrm>
              <a:off x="2518275" y="2086507"/>
              <a:ext cx="2471939" cy="64908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FC3D8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Alineación</a:t>
              </a:r>
              <a:endPara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FC3D8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endParaRPr>
            </a:p>
          </p:txBody>
        </p:sp>
      </p:grpSp>
      <p:sp>
        <p:nvSpPr>
          <p:cNvPr id="9" name="CuadroTexto 8">
            <a:extLst>
              <a:ext uri="{FF2B5EF4-FFF2-40B4-BE49-F238E27FC236}">
                <a16:creationId xmlns:a16="http://schemas.microsoft.com/office/drawing/2014/main" id="{B7C5FB8C-E26C-8608-7476-06026D9120CC}"/>
              </a:ext>
            </a:extLst>
          </p:cNvPr>
          <p:cNvSpPr txBox="1"/>
          <p:nvPr/>
        </p:nvSpPr>
        <p:spPr>
          <a:xfrm>
            <a:off x="3085731" y="3318613"/>
            <a:ext cx="54057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POR DEFINIR</a:t>
            </a:r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26688935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COMTELCA » mapa colores..">
            <a:extLst>
              <a:ext uri="{FF2B5EF4-FFF2-40B4-BE49-F238E27FC236}">
                <a16:creationId xmlns:a16="http://schemas.microsoft.com/office/drawing/2014/main" id="{2F0BB9A5-B3BC-8B69-87A0-FDDC812597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4014" y="495075"/>
            <a:ext cx="7110118" cy="5096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8B7330A0-1805-4BF4-D88A-BF671AC40E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Poppins-Regular"/>
                <a:ea typeface="+mn-ea"/>
                <a:cs typeface="Poppins Light" pitchFamily="2" charset="77"/>
              </a:rPr>
              <a:t>Fuente: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BA75A3-C8E6-C22E-8773-AF598804B1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322826-FB53-4EA8-B4DD-786783600E55}" type="slidenum">
              <a:rPr kumimoji="0" lang="es-MX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Poppins Extra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MX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Poppins ExtraLight" pitchFamily="2" charset="77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761942A-65B4-3EF1-C0F3-784E3A77F4BC}"/>
              </a:ext>
            </a:extLst>
          </p:cNvPr>
          <p:cNvSpPr/>
          <p:nvPr/>
        </p:nvSpPr>
        <p:spPr>
          <a:xfrm>
            <a:off x="8749377" y="2867678"/>
            <a:ext cx="3507913" cy="1068706"/>
          </a:xfrm>
          <a:prstGeom prst="rect">
            <a:avLst/>
          </a:prstGeom>
          <a:solidFill>
            <a:srgbClr val="EDE9E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Aspectos</a:t>
            </a: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100" b="1" i="0" u="none" strike="noStrike" kern="1200" cap="none" spc="0" normalizeH="0" baseline="0" noProof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destacados</a:t>
            </a:r>
            <a:r>
              <a:rPr lang="en-GB" sz="1100" b="1">
                <a:solidFill>
                  <a:srgbClr val="011627"/>
                </a:solidFill>
                <a:latin typeface="Poppins-Regular"/>
              </a:rPr>
              <a:t>:</a:t>
            </a:r>
            <a:endParaRPr kumimoji="0" lang="en-GB" sz="1100" b="1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xxxxxxxxx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1" name="Título 1">
            <a:extLst>
              <a:ext uri="{FF2B5EF4-FFF2-40B4-BE49-F238E27FC236}">
                <a16:creationId xmlns:a16="http://schemas.microsoft.com/office/drawing/2014/main" id="{D061B32F-E055-7EA5-C4AA-CBC92A8DFB10}"/>
              </a:ext>
            </a:extLst>
          </p:cNvPr>
          <p:cNvSpPr txBox="1">
            <a:spLocks/>
          </p:cNvSpPr>
          <p:nvPr/>
        </p:nvSpPr>
        <p:spPr>
          <a:xfrm>
            <a:off x="188655" y="2618899"/>
            <a:ext cx="4020056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1200" b="1"/>
              <a:t>GT</a:t>
            </a:r>
            <a:r>
              <a:rPr lang="es-MX" sz="100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$3.9 Millones, </a:t>
            </a:r>
            <a:r>
              <a:rPr lang="es-MX" sz="1000" err="1"/>
              <a:t>xx</a:t>
            </a:r>
            <a:r>
              <a:rPr lang="es-MX" sz="1000"/>
              <a:t>%+ vs 202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6 marcas activ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61% de inversión en TV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30% Rad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Principal competidor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 err="1"/>
              <a:t>Peptobismol</a:t>
            </a:r>
            <a:r>
              <a:rPr lang="es-MX" sz="1000"/>
              <a:t> – 38% shar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/>
              <a:t>56% TV paga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/>
              <a:t>38% TV abierta</a:t>
            </a:r>
            <a:endParaRPr lang="es-MX" sz="1400"/>
          </a:p>
        </p:txBody>
      </p:sp>
      <p:sp>
        <p:nvSpPr>
          <p:cNvPr id="22" name="Título 1">
            <a:extLst>
              <a:ext uri="{FF2B5EF4-FFF2-40B4-BE49-F238E27FC236}">
                <a16:creationId xmlns:a16="http://schemas.microsoft.com/office/drawing/2014/main" id="{D2031C72-5997-F6CD-53A8-3C111E62E0EE}"/>
              </a:ext>
            </a:extLst>
          </p:cNvPr>
          <p:cNvSpPr txBox="1">
            <a:spLocks/>
          </p:cNvSpPr>
          <p:nvPr/>
        </p:nvSpPr>
        <p:spPr>
          <a:xfrm>
            <a:off x="501347" y="296279"/>
            <a:ext cx="6708921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2400" b="1"/>
              <a:t>Panorama competitivo offline centro</a:t>
            </a:r>
            <a:br>
              <a:rPr lang="es-MX" b="1"/>
            </a:br>
            <a:r>
              <a:rPr lang="es-MX" sz="1600"/>
              <a:t>Ene-Ags 2024, cifras en dólares</a:t>
            </a:r>
            <a:endParaRPr lang="es-MX" b="1"/>
          </a:p>
        </p:txBody>
      </p:sp>
      <p:sp>
        <p:nvSpPr>
          <p:cNvPr id="26" name="Título 1">
            <a:extLst>
              <a:ext uri="{FF2B5EF4-FFF2-40B4-BE49-F238E27FC236}">
                <a16:creationId xmlns:a16="http://schemas.microsoft.com/office/drawing/2014/main" id="{FBDAE3B9-B23D-D17D-9F68-FDE935A73A0F}"/>
              </a:ext>
            </a:extLst>
          </p:cNvPr>
          <p:cNvSpPr txBox="1">
            <a:spLocks/>
          </p:cNvSpPr>
          <p:nvPr/>
        </p:nvSpPr>
        <p:spPr>
          <a:xfrm>
            <a:off x="5200240" y="1101525"/>
            <a:ext cx="4020056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1200" b="1"/>
              <a:t>HN</a:t>
            </a:r>
            <a:endParaRPr lang="es-MX" sz="10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$3.9 Millones, </a:t>
            </a:r>
            <a:r>
              <a:rPr lang="es-MX" sz="1000" err="1"/>
              <a:t>xx</a:t>
            </a:r>
            <a:r>
              <a:rPr lang="es-MX" sz="1000"/>
              <a:t>%+ vs 202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6 marcas activ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61% de inversión en TV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30% Rad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Principal competidor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 err="1"/>
              <a:t>Peptobismol</a:t>
            </a:r>
            <a:r>
              <a:rPr lang="es-MX" sz="1000"/>
              <a:t> – 38% shar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/>
              <a:t>56% TV paga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/>
              <a:t>38% TV abierta</a:t>
            </a:r>
            <a:endParaRPr lang="es-MX" sz="1400"/>
          </a:p>
        </p:txBody>
      </p:sp>
      <p:sp>
        <p:nvSpPr>
          <p:cNvPr id="27" name="Título 1">
            <a:extLst>
              <a:ext uri="{FF2B5EF4-FFF2-40B4-BE49-F238E27FC236}">
                <a16:creationId xmlns:a16="http://schemas.microsoft.com/office/drawing/2014/main" id="{0898E8D7-CD18-AC6D-BE24-9F5D90918220}"/>
              </a:ext>
            </a:extLst>
          </p:cNvPr>
          <p:cNvSpPr txBox="1">
            <a:spLocks/>
          </p:cNvSpPr>
          <p:nvPr/>
        </p:nvSpPr>
        <p:spPr>
          <a:xfrm>
            <a:off x="9220296" y="840629"/>
            <a:ext cx="2971704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1200" b="1"/>
              <a:t>RD</a:t>
            </a:r>
            <a:endParaRPr lang="es-MX" sz="10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$3.9 Millones, </a:t>
            </a:r>
            <a:r>
              <a:rPr lang="es-MX" sz="1000" err="1"/>
              <a:t>xx</a:t>
            </a:r>
            <a:r>
              <a:rPr lang="es-MX" sz="1000"/>
              <a:t>%+ vs 202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6 marcas activ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61% de inversión en TV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30% Rad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Principal competidor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 err="1"/>
              <a:t>Peptobismol</a:t>
            </a:r>
            <a:r>
              <a:rPr lang="es-MX" sz="1000"/>
              <a:t> – 38% shar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/>
              <a:t>56% TV paga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/>
              <a:t>38% TV abierta</a:t>
            </a:r>
            <a:endParaRPr lang="es-MX" sz="1400"/>
          </a:p>
        </p:txBody>
      </p:sp>
      <p:sp>
        <p:nvSpPr>
          <p:cNvPr id="28" name="Título 1">
            <a:extLst>
              <a:ext uri="{FF2B5EF4-FFF2-40B4-BE49-F238E27FC236}">
                <a16:creationId xmlns:a16="http://schemas.microsoft.com/office/drawing/2014/main" id="{8FE033D6-CE76-AD5E-7BC8-551AD66AEE41}"/>
              </a:ext>
            </a:extLst>
          </p:cNvPr>
          <p:cNvSpPr txBox="1">
            <a:spLocks/>
          </p:cNvSpPr>
          <p:nvPr/>
        </p:nvSpPr>
        <p:spPr>
          <a:xfrm>
            <a:off x="5703443" y="2857680"/>
            <a:ext cx="4020056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1200" b="1"/>
              <a:t>NI</a:t>
            </a:r>
            <a:endParaRPr lang="es-MX" sz="10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$3.9 Millones, </a:t>
            </a:r>
            <a:r>
              <a:rPr lang="es-MX" sz="1000" err="1"/>
              <a:t>xx</a:t>
            </a:r>
            <a:r>
              <a:rPr lang="es-MX" sz="1000"/>
              <a:t>%+ vs 202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6 marcas activ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61% de inversión en TV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30% Rad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Principal competidor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 err="1"/>
              <a:t>Peptobismol</a:t>
            </a:r>
            <a:r>
              <a:rPr lang="es-MX" sz="1000"/>
              <a:t> – 38% shar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/>
              <a:t>56% TV paga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/>
              <a:t>38% TV abierta</a:t>
            </a:r>
            <a:endParaRPr lang="es-MX" sz="1400"/>
          </a:p>
        </p:txBody>
      </p:sp>
      <p:sp>
        <p:nvSpPr>
          <p:cNvPr id="29" name="Título 1">
            <a:extLst>
              <a:ext uri="{FF2B5EF4-FFF2-40B4-BE49-F238E27FC236}">
                <a16:creationId xmlns:a16="http://schemas.microsoft.com/office/drawing/2014/main" id="{9127546F-15D0-A3EF-67FF-1E4646ACC6B4}"/>
              </a:ext>
            </a:extLst>
          </p:cNvPr>
          <p:cNvSpPr txBox="1">
            <a:spLocks/>
          </p:cNvSpPr>
          <p:nvPr/>
        </p:nvSpPr>
        <p:spPr>
          <a:xfrm>
            <a:off x="2125084" y="3946227"/>
            <a:ext cx="4020056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1200" b="1"/>
              <a:t>SV</a:t>
            </a:r>
            <a:endParaRPr lang="es-MX" sz="10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$3.9 Millones, </a:t>
            </a:r>
            <a:r>
              <a:rPr lang="es-MX" sz="1000" err="1"/>
              <a:t>xx</a:t>
            </a:r>
            <a:r>
              <a:rPr lang="es-MX" sz="1000"/>
              <a:t>%+ vs 202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6 marcas activ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61% de inversión en TV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30% Rad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Principal competidor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 err="1"/>
              <a:t>Peptobismol</a:t>
            </a:r>
            <a:r>
              <a:rPr lang="es-MX" sz="1000"/>
              <a:t> – 38% shar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/>
              <a:t>56% TV paga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/>
              <a:t>38% TV abierta</a:t>
            </a:r>
            <a:endParaRPr lang="es-MX" sz="1400"/>
          </a:p>
        </p:txBody>
      </p:sp>
      <p:sp>
        <p:nvSpPr>
          <p:cNvPr id="30" name="Título 1">
            <a:extLst>
              <a:ext uri="{FF2B5EF4-FFF2-40B4-BE49-F238E27FC236}">
                <a16:creationId xmlns:a16="http://schemas.microsoft.com/office/drawing/2014/main" id="{C68A9997-68C2-6773-5C99-FA00EB3141A6}"/>
              </a:ext>
            </a:extLst>
          </p:cNvPr>
          <p:cNvSpPr txBox="1">
            <a:spLocks/>
          </p:cNvSpPr>
          <p:nvPr/>
        </p:nvSpPr>
        <p:spPr>
          <a:xfrm>
            <a:off x="8285965" y="4673277"/>
            <a:ext cx="4020056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1200" b="1"/>
              <a:t>PA</a:t>
            </a:r>
            <a:endParaRPr lang="es-MX" sz="10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$3.9 Millones, </a:t>
            </a:r>
            <a:r>
              <a:rPr lang="es-MX" sz="1000" err="1"/>
              <a:t>xx</a:t>
            </a:r>
            <a:r>
              <a:rPr lang="es-MX" sz="1000"/>
              <a:t>%+ vs 202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6 marcas activ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61% de inversión en TV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30% Rad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Principal competidor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 err="1"/>
              <a:t>Peptobismol</a:t>
            </a:r>
            <a:r>
              <a:rPr lang="es-MX" sz="1000"/>
              <a:t> – 38% shar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/>
              <a:t>56% TV paga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/>
              <a:t>38% TV abierta</a:t>
            </a:r>
            <a:endParaRPr lang="es-MX" sz="1400"/>
          </a:p>
        </p:txBody>
      </p:sp>
      <p:sp>
        <p:nvSpPr>
          <p:cNvPr id="31" name="Título 1">
            <a:extLst>
              <a:ext uri="{FF2B5EF4-FFF2-40B4-BE49-F238E27FC236}">
                <a16:creationId xmlns:a16="http://schemas.microsoft.com/office/drawing/2014/main" id="{AF0C9831-E0E9-598E-B333-CE43D3C86E96}"/>
              </a:ext>
            </a:extLst>
          </p:cNvPr>
          <p:cNvSpPr txBox="1">
            <a:spLocks/>
          </p:cNvSpPr>
          <p:nvPr/>
        </p:nvSpPr>
        <p:spPr>
          <a:xfrm>
            <a:off x="4367879" y="5188780"/>
            <a:ext cx="4020056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1200" b="1"/>
              <a:t>CR</a:t>
            </a:r>
            <a:r>
              <a:rPr lang="es-MX" sz="100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$3.9 Millones, </a:t>
            </a:r>
            <a:r>
              <a:rPr lang="es-MX" sz="1000" err="1"/>
              <a:t>xx</a:t>
            </a:r>
            <a:r>
              <a:rPr lang="es-MX" sz="1000"/>
              <a:t>%+ vs 202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6 marcas activ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61% de inversión en TV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30% Rad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/>
              <a:t>Principal competidor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 err="1"/>
              <a:t>Peptobismol</a:t>
            </a:r>
            <a:r>
              <a:rPr lang="es-MX" sz="1000"/>
              <a:t> – 38% shar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/>
              <a:t>56% TV paga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/>
              <a:t>38% TV abierta</a:t>
            </a:r>
            <a:endParaRPr lang="es-MX" sz="1400"/>
          </a:p>
        </p:txBody>
      </p:sp>
      <p:sp>
        <p:nvSpPr>
          <p:cNvPr id="38" name="Round Same-side Corner of Rectangle 7">
            <a:extLst>
              <a:ext uri="{FF2B5EF4-FFF2-40B4-BE49-F238E27FC236}">
                <a16:creationId xmlns:a16="http://schemas.microsoft.com/office/drawing/2014/main" id="{5A4E380B-F079-357E-BB91-445C2F7373D5}"/>
              </a:ext>
            </a:extLst>
          </p:cNvPr>
          <p:cNvSpPr/>
          <p:nvPr/>
        </p:nvSpPr>
        <p:spPr>
          <a:xfrm rot="10800000">
            <a:off x="10154862" y="-67235"/>
            <a:ext cx="1681453" cy="574871"/>
          </a:xfrm>
          <a:prstGeom prst="round2SameRect">
            <a:avLst>
              <a:gd name="adj1" fmla="val 24269"/>
              <a:gd name="adj2" fmla="val 0"/>
            </a:avLst>
          </a:prstGeom>
          <a:solidFill>
            <a:schemeClr val="bg2"/>
          </a:solidFill>
          <a:ln w="1270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39" name="Group 20">
            <a:extLst>
              <a:ext uri="{FF2B5EF4-FFF2-40B4-BE49-F238E27FC236}">
                <a16:creationId xmlns:a16="http://schemas.microsoft.com/office/drawing/2014/main" id="{3D3AD03D-B216-615F-846B-F8D692363692}"/>
              </a:ext>
            </a:extLst>
          </p:cNvPr>
          <p:cNvGrpSpPr/>
          <p:nvPr/>
        </p:nvGrpSpPr>
        <p:grpSpPr>
          <a:xfrm>
            <a:off x="10299629" y="124456"/>
            <a:ext cx="1446176" cy="307777"/>
            <a:chOff x="1940295" y="2086507"/>
            <a:chExt cx="3049919" cy="649088"/>
          </a:xfrm>
        </p:grpSpPr>
        <p:grpSp>
          <p:nvGrpSpPr>
            <p:cNvPr id="40" name="Group 21">
              <a:extLst>
                <a:ext uri="{FF2B5EF4-FFF2-40B4-BE49-F238E27FC236}">
                  <a16:creationId xmlns:a16="http://schemas.microsoft.com/office/drawing/2014/main" id="{8E565FF6-925B-214A-D413-8656BE89BC09}"/>
                </a:ext>
              </a:extLst>
            </p:cNvPr>
            <p:cNvGrpSpPr/>
            <p:nvPr/>
          </p:nvGrpSpPr>
          <p:grpSpPr>
            <a:xfrm>
              <a:off x="1940295" y="2112018"/>
              <a:ext cx="598067" cy="598067"/>
              <a:chOff x="8582452" y="2686901"/>
              <a:chExt cx="621171" cy="621171"/>
            </a:xfrm>
          </p:grpSpPr>
          <p:sp>
            <p:nvSpPr>
              <p:cNvPr id="42" name="Oval 33">
                <a:extLst>
                  <a:ext uri="{FF2B5EF4-FFF2-40B4-BE49-F238E27FC236}">
                    <a16:creationId xmlns:a16="http://schemas.microsoft.com/office/drawing/2014/main" id="{80C1517B-7584-14DB-D1C8-F54038200A04}"/>
                  </a:ext>
                </a:extLst>
              </p:cNvPr>
              <p:cNvSpPr/>
              <p:nvPr/>
            </p:nvSpPr>
            <p:spPr>
              <a:xfrm>
                <a:off x="8582452" y="2686901"/>
                <a:ext cx="621171" cy="621171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pic>
            <p:nvPicPr>
              <p:cNvPr id="43" name="Graphic 37" descr="Triangle Ruler outline">
                <a:extLst>
                  <a:ext uri="{FF2B5EF4-FFF2-40B4-BE49-F238E27FC236}">
                    <a16:creationId xmlns:a16="http://schemas.microsoft.com/office/drawing/2014/main" id="{B86D7AC3-6A48-80DF-1751-2AC5700620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8732494" y="2780237"/>
                <a:ext cx="390382" cy="390382"/>
              </a:xfrm>
              <a:prstGeom prst="rect">
                <a:avLst/>
              </a:prstGeom>
            </p:spPr>
          </p:pic>
        </p:grpSp>
        <p:sp>
          <p:nvSpPr>
            <p:cNvPr id="41" name="TextBox 22">
              <a:extLst>
                <a:ext uri="{FF2B5EF4-FFF2-40B4-BE49-F238E27FC236}">
                  <a16:creationId xmlns:a16="http://schemas.microsoft.com/office/drawing/2014/main" id="{9DDCEBF0-92F6-024A-5BFD-EE2F2B588098}"/>
                </a:ext>
              </a:extLst>
            </p:cNvPr>
            <p:cNvSpPr txBox="1"/>
            <p:nvPr/>
          </p:nvSpPr>
          <p:spPr>
            <a:xfrm>
              <a:off x="2518275" y="2086507"/>
              <a:ext cx="2471939" cy="64908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FC3D8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Alineación</a:t>
              </a:r>
              <a:endPara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FC3D8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endParaRPr>
            </a:p>
          </p:txBody>
        </p:sp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FF139A0A-854C-66FF-EC86-155806687137}"/>
              </a:ext>
            </a:extLst>
          </p:cNvPr>
          <p:cNvSpPr txBox="1"/>
          <p:nvPr/>
        </p:nvSpPr>
        <p:spPr>
          <a:xfrm>
            <a:off x="3085731" y="3318613"/>
            <a:ext cx="54057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AGENCIA LOCAL / BORRAR RESTO DE PAÍSES</a:t>
            </a:r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2026021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1" grpId="0"/>
      <p:bldP spid="26" grpId="0"/>
      <p:bldP spid="27" grpId="0"/>
      <p:bldP spid="28" grpId="0"/>
      <p:bldP spid="29" grpId="0"/>
      <p:bldP spid="30" grpId="0"/>
      <p:bldP spid="3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The Burgernator">
            <a:extLst>
              <a:ext uri="{FF2B5EF4-FFF2-40B4-BE49-F238E27FC236}">
                <a16:creationId xmlns:a16="http://schemas.microsoft.com/office/drawing/2014/main" id="{DE276AC9-DF5D-5959-F98C-37778B7EF0FE}"/>
              </a:ext>
            </a:extLst>
          </p:cNvPr>
          <p:cNvPicPr>
            <a:picLocks noGrp="1" noChangeAspect="1" noChangeArrowheads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92" b="31992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Marcador de pie de página 17">
            <a:extLst>
              <a:ext uri="{FF2B5EF4-FFF2-40B4-BE49-F238E27FC236}">
                <a16:creationId xmlns:a16="http://schemas.microsoft.com/office/drawing/2014/main" id="{F36B3196-8929-5CFE-0060-A1B535848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Fuente:</a:t>
            </a:r>
          </a:p>
        </p:txBody>
      </p:sp>
      <p:sp>
        <p:nvSpPr>
          <p:cNvPr id="19" name="Marcador de número de diapositiva 18">
            <a:extLst>
              <a:ext uri="{FF2B5EF4-FFF2-40B4-BE49-F238E27FC236}">
                <a16:creationId xmlns:a16="http://schemas.microsoft.com/office/drawing/2014/main" id="{A48F4465-7539-736B-D3A4-6C93422A4B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8</a:t>
            </a:fld>
            <a:endParaRPr lang="es-MX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D54F158F-E368-C107-0546-5B1472B029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MX"/>
              <a:t> 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AF60F01E-EB20-CF74-1F90-1F5D53AFEE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2400" b="1"/>
              <a:t>2024 Aprendizajes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406EA582-3350-F0F4-6062-54DB1F1DCB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MX"/>
              <a:t> 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C90A9072-A037-025E-FB7D-5F1EB6F886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MX"/>
              <a:t> </a:t>
            </a:r>
          </a:p>
        </p:txBody>
      </p:sp>
      <p:sp>
        <p:nvSpPr>
          <p:cNvPr id="8" name="Rectangle 117">
            <a:extLst>
              <a:ext uri="{FF2B5EF4-FFF2-40B4-BE49-F238E27FC236}">
                <a16:creationId xmlns:a16="http://schemas.microsoft.com/office/drawing/2014/main" id="{B734C401-F546-6D55-27B9-84D1088DEC01}"/>
              </a:ext>
            </a:extLst>
          </p:cNvPr>
          <p:cNvSpPr/>
          <p:nvPr/>
        </p:nvSpPr>
        <p:spPr>
          <a:xfrm>
            <a:off x="713307" y="1472605"/>
            <a:ext cx="3240001" cy="5739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OMPETENCIA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Rectangle 117">
            <a:extLst>
              <a:ext uri="{FF2B5EF4-FFF2-40B4-BE49-F238E27FC236}">
                <a16:creationId xmlns:a16="http://schemas.microsoft.com/office/drawing/2014/main" id="{61EF86D4-708F-76B1-15FD-F97F5C7AA5FE}"/>
              </a:ext>
            </a:extLst>
          </p:cNvPr>
          <p:cNvSpPr/>
          <p:nvPr/>
        </p:nvSpPr>
        <p:spPr>
          <a:xfrm>
            <a:off x="4476000" y="1472605"/>
            <a:ext cx="3240000" cy="5739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ASIGNACIÓN EN MEDIO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Rectangle 117">
            <a:extLst>
              <a:ext uri="{FF2B5EF4-FFF2-40B4-BE49-F238E27FC236}">
                <a16:creationId xmlns:a16="http://schemas.microsoft.com/office/drawing/2014/main" id="{40F515F1-7A1C-C794-85DB-B931FE42BA57}"/>
              </a:ext>
            </a:extLst>
          </p:cNvPr>
          <p:cNvSpPr/>
          <p:nvPr/>
        </p:nvSpPr>
        <p:spPr>
          <a:xfrm>
            <a:off x="8238691" y="1472605"/>
            <a:ext cx="3240000" cy="57391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ACTIVACIÓN CREATIVA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11" name="Tabla 5">
            <a:extLst>
              <a:ext uri="{FF2B5EF4-FFF2-40B4-BE49-F238E27FC236}">
                <a16:creationId xmlns:a16="http://schemas.microsoft.com/office/drawing/2014/main" id="{5A588740-20C2-8DEB-3A71-A0A9078896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1603955"/>
              </p:ext>
            </p:extLst>
          </p:nvPr>
        </p:nvGraphicFramePr>
        <p:xfrm>
          <a:off x="875116" y="2407462"/>
          <a:ext cx="2734859" cy="30543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4859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commendation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rom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KPI #</a:t>
                      </a:r>
                      <a:endParaRPr kumimoji="0" lang="es-MX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anation</a:t>
                      </a: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+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icator</a:t>
                      </a:r>
                      <a:endParaRPr kumimoji="0" lang="es-MX" sz="1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commendation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rom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KPI #</a:t>
                      </a:r>
                      <a:endParaRPr kumimoji="0" lang="es-MX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anation</a:t>
                      </a: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+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icator</a:t>
                      </a:r>
                      <a:endParaRPr kumimoji="0" lang="es-MX" sz="1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3189836"/>
                  </a:ext>
                </a:extLst>
              </a:tr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commendation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rom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KPI #</a:t>
                      </a:r>
                      <a:endParaRPr kumimoji="0" lang="es-MX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anation</a:t>
                      </a: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+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icator</a:t>
                      </a:r>
                      <a:endParaRPr kumimoji="0" lang="es-MX" sz="1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354449"/>
                  </a:ext>
                </a:extLst>
              </a:tr>
            </a:tbl>
          </a:graphicData>
        </a:graphic>
      </p:graphicFrame>
      <p:graphicFrame>
        <p:nvGraphicFramePr>
          <p:cNvPr id="12" name="Tabla 5">
            <a:extLst>
              <a:ext uri="{FF2B5EF4-FFF2-40B4-BE49-F238E27FC236}">
                <a16:creationId xmlns:a16="http://schemas.microsoft.com/office/drawing/2014/main" id="{260DE19D-E5CF-782C-CEA1-34693BB2FA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665193"/>
              </p:ext>
            </p:extLst>
          </p:nvPr>
        </p:nvGraphicFramePr>
        <p:xfrm>
          <a:off x="4608191" y="2407462"/>
          <a:ext cx="2734859" cy="30543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4859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commendation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rom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KPI #</a:t>
                      </a:r>
                      <a:endParaRPr kumimoji="0" lang="es-MX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anation</a:t>
                      </a: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+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icator</a:t>
                      </a:r>
                      <a:endParaRPr kumimoji="0" lang="es-MX" sz="1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commendation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rom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KPI #</a:t>
                      </a:r>
                      <a:endParaRPr kumimoji="0" lang="es-MX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anation</a:t>
                      </a: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+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icator</a:t>
                      </a:r>
                      <a:endParaRPr kumimoji="0" lang="es-MX" sz="1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3189836"/>
                  </a:ext>
                </a:extLst>
              </a:tr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commendation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rom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KPI #</a:t>
                      </a:r>
                      <a:endParaRPr kumimoji="0" lang="es-MX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anation</a:t>
                      </a: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+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icator</a:t>
                      </a:r>
                      <a:endParaRPr kumimoji="0" lang="es-MX" sz="1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354449"/>
                  </a:ext>
                </a:extLst>
              </a:tr>
            </a:tbl>
          </a:graphicData>
        </a:graphic>
      </p:graphicFrame>
      <p:graphicFrame>
        <p:nvGraphicFramePr>
          <p:cNvPr id="13" name="Tabla 5">
            <a:extLst>
              <a:ext uri="{FF2B5EF4-FFF2-40B4-BE49-F238E27FC236}">
                <a16:creationId xmlns:a16="http://schemas.microsoft.com/office/drawing/2014/main" id="{2443F4EF-4C89-8D66-3010-E9FA5F41E3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1705378"/>
              </p:ext>
            </p:extLst>
          </p:nvPr>
        </p:nvGraphicFramePr>
        <p:xfrm>
          <a:off x="8340004" y="2407462"/>
          <a:ext cx="2734859" cy="30543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4859">
                  <a:extLst>
                    <a:ext uri="{9D8B030D-6E8A-4147-A177-3AD203B41FA5}">
                      <a16:colId xmlns:a16="http://schemas.microsoft.com/office/drawing/2014/main" val="1154906528"/>
                    </a:ext>
                  </a:extLst>
                </a:gridCol>
              </a:tblGrid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commendation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rom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KPI #</a:t>
                      </a:r>
                      <a:endParaRPr kumimoji="0" lang="es-MX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anation</a:t>
                      </a: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+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icator</a:t>
                      </a:r>
                      <a:endParaRPr kumimoji="0" lang="es-MX" sz="1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19349"/>
                  </a:ext>
                </a:extLst>
              </a:tr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commendation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rom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KPI #</a:t>
                      </a:r>
                      <a:endParaRPr kumimoji="0" lang="es-MX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anation</a:t>
                      </a: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+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icator</a:t>
                      </a:r>
                      <a:endParaRPr kumimoji="0" lang="es-MX" sz="1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3189836"/>
                  </a:ext>
                </a:extLst>
              </a:tr>
              <a:tr h="10181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commendation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rom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MX" sz="14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</a:t>
                      </a:r>
                      <a:r>
                        <a:rPr kumimoji="0" lang="es-MX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KPI #</a:t>
                      </a:r>
                      <a:endParaRPr kumimoji="0" lang="es-MX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1162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ort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lanation</a:t>
                      </a:r>
                      <a:r>
                        <a:rPr kumimoji="0" lang="es-MX" sz="11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+ </a:t>
                      </a:r>
                      <a:r>
                        <a:rPr kumimoji="0" lang="es-MX" sz="1100" b="0" i="1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01162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icator</a:t>
                      </a:r>
                      <a:endParaRPr kumimoji="0" lang="es-MX" sz="12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A0F0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354449"/>
                  </a:ext>
                </a:extLst>
              </a:tr>
            </a:tbl>
          </a:graphicData>
        </a:graphic>
      </p:graphicFrame>
      <p:sp>
        <p:nvSpPr>
          <p:cNvPr id="2" name="Round Same-side Corner of Rectangle 7">
            <a:extLst>
              <a:ext uri="{FF2B5EF4-FFF2-40B4-BE49-F238E27FC236}">
                <a16:creationId xmlns:a16="http://schemas.microsoft.com/office/drawing/2014/main" id="{F3958B92-E01B-536E-BCA7-611F47BD513A}"/>
              </a:ext>
            </a:extLst>
          </p:cNvPr>
          <p:cNvSpPr/>
          <p:nvPr/>
        </p:nvSpPr>
        <p:spPr>
          <a:xfrm rot="10800000">
            <a:off x="10154862" y="-67235"/>
            <a:ext cx="1681453" cy="574871"/>
          </a:xfrm>
          <a:prstGeom prst="round2SameRect">
            <a:avLst>
              <a:gd name="adj1" fmla="val 24269"/>
              <a:gd name="adj2" fmla="val 0"/>
            </a:avLst>
          </a:prstGeom>
          <a:solidFill>
            <a:schemeClr val="bg2"/>
          </a:solidFill>
          <a:ln w="1270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4" name="Group 20">
            <a:extLst>
              <a:ext uri="{FF2B5EF4-FFF2-40B4-BE49-F238E27FC236}">
                <a16:creationId xmlns:a16="http://schemas.microsoft.com/office/drawing/2014/main" id="{D08626C5-FD72-D81F-18F9-BD55A6A90439}"/>
              </a:ext>
            </a:extLst>
          </p:cNvPr>
          <p:cNvGrpSpPr/>
          <p:nvPr/>
        </p:nvGrpSpPr>
        <p:grpSpPr>
          <a:xfrm>
            <a:off x="10299629" y="124456"/>
            <a:ext cx="1446176" cy="307777"/>
            <a:chOff x="1940295" y="2086507"/>
            <a:chExt cx="3049919" cy="649088"/>
          </a:xfrm>
        </p:grpSpPr>
        <p:grpSp>
          <p:nvGrpSpPr>
            <p:cNvPr id="14" name="Group 21">
              <a:extLst>
                <a:ext uri="{FF2B5EF4-FFF2-40B4-BE49-F238E27FC236}">
                  <a16:creationId xmlns:a16="http://schemas.microsoft.com/office/drawing/2014/main" id="{8FEAD4D7-2719-9A1A-3395-D71FF8B20BA2}"/>
                </a:ext>
              </a:extLst>
            </p:cNvPr>
            <p:cNvGrpSpPr/>
            <p:nvPr/>
          </p:nvGrpSpPr>
          <p:grpSpPr>
            <a:xfrm>
              <a:off x="1940295" y="2112018"/>
              <a:ext cx="598067" cy="598067"/>
              <a:chOff x="8582452" y="2686901"/>
              <a:chExt cx="621171" cy="621171"/>
            </a:xfrm>
          </p:grpSpPr>
          <p:sp>
            <p:nvSpPr>
              <p:cNvPr id="16" name="Oval 33">
                <a:extLst>
                  <a:ext uri="{FF2B5EF4-FFF2-40B4-BE49-F238E27FC236}">
                    <a16:creationId xmlns:a16="http://schemas.microsoft.com/office/drawing/2014/main" id="{22749A9A-263B-721B-2167-98A4ACED729F}"/>
                  </a:ext>
                </a:extLst>
              </p:cNvPr>
              <p:cNvSpPr/>
              <p:nvPr/>
            </p:nvSpPr>
            <p:spPr>
              <a:xfrm>
                <a:off x="8582452" y="2686901"/>
                <a:ext cx="621171" cy="621171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pic>
            <p:nvPicPr>
              <p:cNvPr id="27" name="Graphic 37" descr="Triangle Ruler outline">
                <a:extLst>
                  <a:ext uri="{FF2B5EF4-FFF2-40B4-BE49-F238E27FC236}">
                    <a16:creationId xmlns:a16="http://schemas.microsoft.com/office/drawing/2014/main" id="{AEFB6CA8-7BDA-3663-93EB-D79A0A4A81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8732494" y="2780237"/>
                <a:ext cx="390382" cy="390382"/>
              </a:xfrm>
              <a:prstGeom prst="rect">
                <a:avLst/>
              </a:prstGeom>
            </p:spPr>
          </p:pic>
        </p:grpSp>
        <p:sp>
          <p:nvSpPr>
            <p:cNvPr id="15" name="TextBox 22">
              <a:extLst>
                <a:ext uri="{FF2B5EF4-FFF2-40B4-BE49-F238E27FC236}">
                  <a16:creationId xmlns:a16="http://schemas.microsoft.com/office/drawing/2014/main" id="{0265FA87-DA48-9E54-7756-EE20FABA70AD}"/>
                </a:ext>
              </a:extLst>
            </p:cNvPr>
            <p:cNvSpPr txBox="1"/>
            <p:nvPr/>
          </p:nvSpPr>
          <p:spPr>
            <a:xfrm>
              <a:off x="2518275" y="2086507"/>
              <a:ext cx="2471939" cy="64908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FC3D8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Alineación</a:t>
              </a:r>
              <a:endPara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FC3D8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endParaRPr>
            </a:p>
          </p:txBody>
        </p:sp>
      </p:grpSp>
      <p:sp>
        <p:nvSpPr>
          <p:cNvPr id="21" name="CuadroTexto 20">
            <a:extLst>
              <a:ext uri="{FF2B5EF4-FFF2-40B4-BE49-F238E27FC236}">
                <a16:creationId xmlns:a16="http://schemas.microsoft.com/office/drawing/2014/main" id="{5EE15524-D1E3-17B2-4EEB-E622820C8F01}"/>
              </a:ext>
            </a:extLst>
          </p:cNvPr>
          <p:cNvSpPr txBox="1"/>
          <p:nvPr/>
        </p:nvSpPr>
        <p:spPr>
          <a:xfrm>
            <a:off x="905096" y="3318613"/>
            <a:ext cx="10359751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/>
              <a:t>AGENCIA LOCAL</a:t>
            </a:r>
            <a:endParaRPr lang="es-GT"/>
          </a:p>
        </p:txBody>
      </p:sp>
    </p:spTree>
    <p:extLst>
      <p:ext uri="{BB962C8B-B14F-4D97-AF65-F5344CB8AC3E}">
        <p14:creationId xmlns:p14="http://schemas.microsoft.com/office/powerpoint/2010/main" val="27241423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1">
            <a:extLst>
              <a:ext uri="{FF2B5EF4-FFF2-40B4-BE49-F238E27FC236}">
                <a16:creationId xmlns:a16="http://schemas.microsoft.com/office/drawing/2014/main" id="{129A87A1-094C-1FE7-D1D1-3CD416CE780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27" r="27"/>
          <a:stretch>
            <a:fillRect/>
          </a:stretch>
        </p:blipFill>
        <p:spPr/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0C1BD4EB-3868-4293-F6AB-14D40953A1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  <p:grpSp>
        <p:nvGrpSpPr>
          <p:cNvPr id="73" name="Group 72">
            <a:extLst>
              <a:ext uri="{FF2B5EF4-FFF2-40B4-BE49-F238E27FC236}">
                <a16:creationId xmlns:a16="http://schemas.microsoft.com/office/drawing/2014/main" id="{66D97D18-2DB0-6FBE-B247-5B32934FE7C4}"/>
              </a:ext>
            </a:extLst>
          </p:cNvPr>
          <p:cNvGrpSpPr/>
          <p:nvPr/>
        </p:nvGrpSpPr>
        <p:grpSpPr>
          <a:xfrm>
            <a:off x="5135467" y="0"/>
            <a:ext cx="7056533" cy="6858000"/>
            <a:chOff x="5135467" y="0"/>
            <a:chExt cx="7056533" cy="6858000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7B569BC-CDBB-27D6-16B1-09AA7992020C}"/>
                </a:ext>
              </a:extLst>
            </p:cNvPr>
            <p:cNvGrpSpPr/>
            <p:nvPr/>
          </p:nvGrpSpPr>
          <p:grpSpPr>
            <a:xfrm>
              <a:off x="5345289" y="389314"/>
              <a:ext cx="6062787" cy="6079372"/>
              <a:chOff x="5345289" y="389314"/>
              <a:chExt cx="6062787" cy="6079372"/>
            </a:xfrm>
          </p:grpSpPr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79DD9EB9-9A11-2052-2A63-F05E4DC9C5E8}"/>
                  </a:ext>
                </a:extLst>
              </p:cNvPr>
              <p:cNvSpPr/>
              <p:nvPr/>
            </p:nvSpPr>
            <p:spPr>
              <a:xfrm>
                <a:off x="5345289" y="389314"/>
                <a:ext cx="2979005" cy="2977535"/>
              </a:xfrm>
              <a:custGeom>
                <a:avLst/>
                <a:gdLst>
                  <a:gd name="connsiteX0" fmla="*/ 2572233 w 2573506"/>
                  <a:gd name="connsiteY0" fmla="*/ 0 h 2572236"/>
                  <a:gd name="connsiteX1" fmla="*/ 2572233 w 2573506"/>
                  <a:gd name="connsiteY1" fmla="*/ 142684 h 2572236"/>
                  <a:gd name="connsiteX2" fmla="*/ 2573506 w 2573506"/>
                  <a:gd name="connsiteY2" fmla="*/ 142684 h 2572236"/>
                  <a:gd name="connsiteX3" fmla="*/ 2573506 w 2573506"/>
                  <a:gd name="connsiteY3" fmla="*/ 1062736 h 2572236"/>
                  <a:gd name="connsiteX4" fmla="*/ 2572233 w 2573506"/>
                  <a:gd name="connsiteY4" fmla="*/ 1062736 h 2572236"/>
                  <a:gd name="connsiteX5" fmla="*/ 2572233 w 2573506"/>
                  <a:gd name="connsiteY5" fmla="*/ 1211105 h 2572236"/>
                  <a:gd name="connsiteX6" fmla="*/ 2572234 w 2573506"/>
                  <a:gd name="connsiteY6" fmla="*/ 1211105 h 2572236"/>
                  <a:gd name="connsiteX7" fmla="*/ 2572234 w 2573506"/>
                  <a:gd name="connsiteY7" fmla="*/ 1511286 h 2572236"/>
                  <a:gd name="connsiteX8" fmla="*/ 2504193 w 2573506"/>
                  <a:gd name="connsiteY8" fmla="*/ 1514721 h 2572236"/>
                  <a:gd name="connsiteX9" fmla="*/ 1502254 w 2573506"/>
                  <a:gd name="connsiteY9" fmla="*/ 2516661 h 2572236"/>
                  <a:gd name="connsiteX10" fmla="*/ 1499448 w 2573506"/>
                  <a:gd name="connsiteY10" fmla="*/ 2572236 h 2572236"/>
                  <a:gd name="connsiteX11" fmla="*/ 1224473 w 2573506"/>
                  <a:gd name="connsiteY11" fmla="*/ 2572236 h 2572236"/>
                  <a:gd name="connsiteX12" fmla="*/ 1224473 w 2573506"/>
                  <a:gd name="connsiteY12" fmla="*/ 2572235 h 2572236"/>
                  <a:gd name="connsiteX13" fmla="*/ 1116361 w 2573506"/>
                  <a:gd name="connsiteY13" fmla="*/ 2572235 h 2572236"/>
                  <a:gd name="connsiteX14" fmla="*/ 825525 w 2573506"/>
                  <a:gd name="connsiteY14" fmla="*/ 2572235 h 2572236"/>
                  <a:gd name="connsiteX15" fmla="*/ 383107 w 2573506"/>
                  <a:gd name="connsiteY15" fmla="*/ 2572235 h 2572236"/>
                  <a:gd name="connsiteX16" fmla="*/ 154670 w 2573506"/>
                  <a:gd name="connsiteY16" fmla="*/ 2572235 h 2572236"/>
                  <a:gd name="connsiteX17" fmla="*/ 0 w 2573506"/>
                  <a:gd name="connsiteY17" fmla="*/ 2572235 h 2572236"/>
                  <a:gd name="connsiteX18" fmla="*/ 2572233 w 2573506"/>
                  <a:gd name="connsiteY18" fmla="*/ 0 h 2572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73506" h="2572236">
                    <a:moveTo>
                      <a:pt x="2572233" y="0"/>
                    </a:moveTo>
                    <a:lnTo>
                      <a:pt x="2572233" y="142684"/>
                    </a:lnTo>
                    <a:lnTo>
                      <a:pt x="2573506" y="142684"/>
                    </a:lnTo>
                    <a:lnTo>
                      <a:pt x="2573506" y="1062736"/>
                    </a:lnTo>
                    <a:lnTo>
                      <a:pt x="2572233" y="1062736"/>
                    </a:lnTo>
                    <a:lnTo>
                      <a:pt x="2572233" y="1211105"/>
                    </a:lnTo>
                    <a:lnTo>
                      <a:pt x="2572234" y="1211105"/>
                    </a:lnTo>
                    <a:lnTo>
                      <a:pt x="2572234" y="1511286"/>
                    </a:lnTo>
                    <a:lnTo>
                      <a:pt x="2504193" y="1514721"/>
                    </a:lnTo>
                    <a:cubicBezTo>
                      <a:pt x="1975899" y="1568373"/>
                      <a:pt x="1555905" y="1988366"/>
                      <a:pt x="1502254" y="2516661"/>
                    </a:cubicBezTo>
                    <a:lnTo>
                      <a:pt x="1499448" y="2572236"/>
                    </a:lnTo>
                    <a:lnTo>
                      <a:pt x="1224473" y="2572236"/>
                    </a:lnTo>
                    <a:lnTo>
                      <a:pt x="1224473" y="2572235"/>
                    </a:lnTo>
                    <a:lnTo>
                      <a:pt x="1116361" y="2572235"/>
                    </a:lnTo>
                    <a:lnTo>
                      <a:pt x="825525" y="2572235"/>
                    </a:lnTo>
                    <a:lnTo>
                      <a:pt x="383107" y="2572235"/>
                    </a:lnTo>
                    <a:lnTo>
                      <a:pt x="154670" y="2572235"/>
                    </a:lnTo>
                    <a:lnTo>
                      <a:pt x="0" y="2572235"/>
                    </a:lnTo>
                    <a:cubicBezTo>
                      <a:pt x="0" y="1151629"/>
                      <a:pt x="1151628" y="0"/>
                      <a:pt x="257223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277DB8B2-1FF9-AD82-2034-76C722C70DC8}"/>
                  </a:ext>
                </a:extLst>
              </p:cNvPr>
              <p:cNvSpPr/>
              <p:nvPr/>
            </p:nvSpPr>
            <p:spPr>
              <a:xfrm>
                <a:off x="8424327" y="389315"/>
                <a:ext cx="2983749" cy="2977535"/>
              </a:xfrm>
              <a:custGeom>
                <a:avLst/>
                <a:gdLst>
                  <a:gd name="connsiteX0" fmla="*/ 0 w 2577604"/>
                  <a:gd name="connsiteY0" fmla="*/ 0 h 2572236"/>
                  <a:gd name="connsiteX1" fmla="*/ 2577604 w 2577604"/>
                  <a:gd name="connsiteY1" fmla="*/ 2572235 h 2572236"/>
                  <a:gd name="connsiteX2" fmla="*/ 2186404 w 2577604"/>
                  <a:gd name="connsiteY2" fmla="*/ 2572235 h 2572236"/>
                  <a:gd name="connsiteX3" fmla="*/ 2186404 w 2577604"/>
                  <a:gd name="connsiteY3" fmla="*/ 2572234 h 2572236"/>
                  <a:gd name="connsiteX4" fmla="*/ 1743066 w 2577604"/>
                  <a:gd name="connsiteY4" fmla="*/ 2572234 h 2572236"/>
                  <a:gd name="connsiteX5" fmla="*/ 1743066 w 2577604"/>
                  <a:gd name="connsiteY5" fmla="*/ 2572235 h 2572236"/>
                  <a:gd name="connsiteX6" fmla="*/ 1345851 w 2577604"/>
                  <a:gd name="connsiteY6" fmla="*/ 2572235 h 2572236"/>
                  <a:gd name="connsiteX7" fmla="*/ 1345851 w 2577604"/>
                  <a:gd name="connsiteY7" fmla="*/ 2572236 h 2572236"/>
                  <a:gd name="connsiteX8" fmla="*/ 1078555 w 2577604"/>
                  <a:gd name="connsiteY8" fmla="*/ 2572236 h 2572236"/>
                  <a:gd name="connsiteX9" fmla="*/ 1075749 w 2577604"/>
                  <a:gd name="connsiteY9" fmla="*/ 2516659 h 2572236"/>
                  <a:gd name="connsiteX10" fmla="*/ 73810 w 2577604"/>
                  <a:gd name="connsiteY10" fmla="*/ 1514719 h 2572236"/>
                  <a:gd name="connsiteX11" fmla="*/ 0 w 2577604"/>
                  <a:gd name="connsiteY11" fmla="*/ 1510992 h 2572236"/>
                  <a:gd name="connsiteX12" fmla="*/ 0 w 2577604"/>
                  <a:gd name="connsiteY12" fmla="*/ 1235270 h 2572236"/>
                  <a:gd name="connsiteX13" fmla="*/ 0 w 2577604"/>
                  <a:gd name="connsiteY13" fmla="*/ 1211104 h 2572236"/>
                  <a:gd name="connsiteX14" fmla="*/ 0 w 2577604"/>
                  <a:gd name="connsiteY14" fmla="*/ 998130 h 2572236"/>
                  <a:gd name="connsiteX15" fmla="*/ 0 w 2577604"/>
                  <a:gd name="connsiteY15" fmla="*/ 828762 h 2572236"/>
                  <a:gd name="connsiteX16" fmla="*/ 0 w 2577604"/>
                  <a:gd name="connsiteY16" fmla="*/ 376267 h 2572236"/>
                  <a:gd name="connsiteX17" fmla="*/ 0 w 2577604"/>
                  <a:gd name="connsiteY17" fmla="*/ 142682 h 2572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577604" h="2572236">
                    <a:moveTo>
                      <a:pt x="0" y="0"/>
                    </a:moveTo>
                    <a:cubicBezTo>
                      <a:pt x="1423572" y="0"/>
                      <a:pt x="2577604" y="1151629"/>
                      <a:pt x="2577604" y="2572235"/>
                    </a:cubicBezTo>
                    <a:lnTo>
                      <a:pt x="2186404" y="2572235"/>
                    </a:lnTo>
                    <a:lnTo>
                      <a:pt x="2186404" y="2572234"/>
                    </a:lnTo>
                    <a:lnTo>
                      <a:pt x="1743066" y="2572234"/>
                    </a:lnTo>
                    <a:lnTo>
                      <a:pt x="1743066" y="2572235"/>
                    </a:lnTo>
                    <a:lnTo>
                      <a:pt x="1345851" y="2572235"/>
                    </a:lnTo>
                    <a:lnTo>
                      <a:pt x="1345851" y="2572236"/>
                    </a:lnTo>
                    <a:lnTo>
                      <a:pt x="1078555" y="2572236"/>
                    </a:lnTo>
                    <a:lnTo>
                      <a:pt x="1075749" y="2516659"/>
                    </a:lnTo>
                    <a:cubicBezTo>
                      <a:pt x="1022097" y="1988364"/>
                      <a:pt x="602104" y="1568371"/>
                      <a:pt x="73810" y="1514719"/>
                    </a:cubicBezTo>
                    <a:lnTo>
                      <a:pt x="0" y="1510992"/>
                    </a:lnTo>
                    <a:lnTo>
                      <a:pt x="0" y="1235270"/>
                    </a:lnTo>
                    <a:lnTo>
                      <a:pt x="0" y="1211104"/>
                    </a:lnTo>
                    <a:lnTo>
                      <a:pt x="0" y="998130"/>
                    </a:lnTo>
                    <a:lnTo>
                      <a:pt x="0" y="828762"/>
                    </a:lnTo>
                    <a:lnTo>
                      <a:pt x="0" y="376267"/>
                    </a:lnTo>
                    <a:lnTo>
                      <a:pt x="0" y="14268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4A8A410F-6328-4587-5699-EEB3B46E2480}"/>
                  </a:ext>
                </a:extLst>
              </p:cNvPr>
              <p:cNvSpPr/>
              <p:nvPr/>
            </p:nvSpPr>
            <p:spPr>
              <a:xfrm>
                <a:off x="8424327" y="3489415"/>
                <a:ext cx="2981618" cy="2977539"/>
              </a:xfrm>
              <a:custGeom>
                <a:avLst/>
                <a:gdLst>
                  <a:gd name="connsiteX0" fmla="*/ 1574207 w 2575763"/>
                  <a:gd name="connsiteY0" fmla="*/ 0 h 2572239"/>
                  <a:gd name="connsiteX1" fmla="*/ 2336003 w 2575763"/>
                  <a:gd name="connsiteY1" fmla="*/ 0 h 2572239"/>
                  <a:gd name="connsiteX2" fmla="*/ 2336003 w 2575763"/>
                  <a:gd name="connsiteY2" fmla="*/ 4 h 2572239"/>
                  <a:gd name="connsiteX3" fmla="*/ 2575763 w 2575763"/>
                  <a:gd name="connsiteY3" fmla="*/ 4 h 2572239"/>
                  <a:gd name="connsiteX4" fmla="*/ 1 w 2575763"/>
                  <a:gd name="connsiteY4" fmla="*/ 2572239 h 2572239"/>
                  <a:gd name="connsiteX5" fmla="*/ 1 w 2575763"/>
                  <a:gd name="connsiteY5" fmla="*/ 2219561 h 2572239"/>
                  <a:gd name="connsiteX6" fmla="*/ 0 w 2575763"/>
                  <a:gd name="connsiteY6" fmla="*/ 2219561 h 2572239"/>
                  <a:gd name="connsiteX7" fmla="*/ 0 w 2575763"/>
                  <a:gd name="connsiteY7" fmla="*/ 1256889 h 2572239"/>
                  <a:gd name="connsiteX8" fmla="*/ 1 w 2575763"/>
                  <a:gd name="connsiteY8" fmla="*/ 1256889 h 2572239"/>
                  <a:gd name="connsiteX9" fmla="*/ 1 w 2575763"/>
                  <a:gd name="connsiteY9" fmla="*/ 1073748 h 2572239"/>
                  <a:gd name="connsiteX10" fmla="*/ 73811 w 2575763"/>
                  <a:gd name="connsiteY10" fmla="*/ 1070021 h 2572239"/>
                  <a:gd name="connsiteX11" fmla="*/ 1075749 w 2575763"/>
                  <a:gd name="connsiteY11" fmla="*/ 68082 h 2572239"/>
                  <a:gd name="connsiteX12" fmla="*/ 1079187 w 2575763"/>
                  <a:gd name="connsiteY12" fmla="*/ 3 h 2572239"/>
                  <a:gd name="connsiteX13" fmla="*/ 1345853 w 2575763"/>
                  <a:gd name="connsiteY13" fmla="*/ 3 h 2572239"/>
                  <a:gd name="connsiteX14" fmla="*/ 1345853 w 2575763"/>
                  <a:gd name="connsiteY14" fmla="*/ 4 h 2572239"/>
                  <a:gd name="connsiteX15" fmla="*/ 1574207 w 2575763"/>
                  <a:gd name="connsiteY15" fmla="*/ 4 h 2572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75763" h="2572239">
                    <a:moveTo>
                      <a:pt x="1574207" y="0"/>
                    </a:moveTo>
                    <a:lnTo>
                      <a:pt x="2336003" y="0"/>
                    </a:lnTo>
                    <a:lnTo>
                      <a:pt x="2336003" y="4"/>
                    </a:lnTo>
                    <a:lnTo>
                      <a:pt x="2575763" y="4"/>
                    </a:lnTo>
                    <a:cubicBezTo>
                      <a:pt x="2575763" y="1420611"/>
                      <a:pt x="1422555" y="2572239"/>
                      <a:pt x="1" y="2572239"/>
                    </a:cubicBezTo>
                    <a:lnTo>
                      <a:pt x="1" y="2219561"/>
                    </a:lnTo>
                    <a:lnTo>
                      <a:pt x="0" y="2219561"/>
                    </a:lnTo>
                    <a:lnTo>
                      <a:pt x="0" y="1256889"/>
                    </a:lnTo>
                    <a:lnTo>
                      <a:pt x="1" y="1256889"/>
                    </a:lnTo>
                    <a:lnTo>
                      <a:pt x="1" y="1073748"/>
                    </a:lnTo>
                    <a:lnTo>
                      <a:pt x="73811" y="1070021"/>
                    </a:lnTo>
                    <a:cubicBezTo>
                      <a:pt x="602105" y="1016370"/>
                      <a:pt x="1022097" y="596376"/>
                      <a:pt x="1075749" y="68082"/>
                    </a:cubicBezTo>
                    <a:lnTo>
                      <a:pt x="1079187" y="3"/>
                    </a:lnTo>
                    <a:lnTo>
                      <a:pt x="1345853" y="3"/>
                    </a:lnTo>
                    <a:lnTo>
                      <a:pt x="1345853" y="4"/>
                    </a:lnTo>
                    <a:lnTo>
                      <a:pt x="1574207" y="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3442245C-5127-5FED-1A58-C898F22B1057}"/>
                  </a:ext>
                </a:extLst>
              </p:cNvPr>
              <p:cNvSpPr/>
              <p:nvPr/>
            </p:nvSpPr>
            <p:spPr>
              <a:xfrm>
                <a:off x="5345292" y="3489416"/>
                <a:ext cx="2971652" cy="2979270"/>
              </a:xfrm>
              <a:custGeom>
                <a:avLst/>
                <a:gdLst>
                  <a:gd name="connsiteX0" fmla="*/ 239097 w 2567154"/>
                  <a:gd name="connsiteY0" fmla="*/ 0 h 2573735"/>
                  <a:gd name="connsiteX1" fmla="*/ 1046842 w 2567154"/>
                  <a:gd name="connsiteY1" fmla="*/ 0 h 2573735"/>
                  <a:gd name="connsiteX2" fmla="*/ 1046842 w 2567154"/>
                  <a:gd name="connsiteY2" fmla="*/ 1 h 2573735"/>
                  <a:gd name="connsiteX3" fmla="*/ 1234354 w 2567154"/>
                  <a:gd name="connsiteY3" fmla="*/ 1 h 2573735"/>
                  <a:gd name="connsiteX4" fmla="*/ 1234354 w 2567154"/>
                  <a:gd name="connsiteY4" fmla="*/ 4 h 2573735"/>
                  <a:gd name="connsiteX5" fmla="*/ 1498815 w 2567154"/>
                  <a:gd name="connsiteY5" fmla="*/ 4 h 2573735"/>
                  <a:gd name="connsiteX6" fmla="*/ 1502253 w 2567154"/>
                  <a:gd name="connsiteY6" fmla="*/ 68081 h 2573735"/>
                  <a:gd name="connsiteX7" fmla="*/ 2504192 w 2567154"/>
                  <a:gd name="connsiteY7" fmla="*/ 1070020 h 2573735"/>
                  <a:gd name="connsiteX8" fmla="*/ 2565992 w 2567154"/>
                  <a:gd name="connsiteY8" fmla="*/ 1073141 h 2573735"/>
                  <a:gd name="connsiteX9" fmla="*/ 2565992 w 2567154"/>
                  <a:gd name="connsiteY9" fmla="*/ 1089677 h 2573735"/>
                  <a:gd name="connsiteX10" fmla="*/ 2567154 w 2567154"/>
                  <a:gd name="connsiteY10" fmla="*/ 1089677 h 2573735"/>
                  <a:gd name="connsiteX11" fmla="*/ 2567154 w 2567154"/>
                  <a:gd name="connsiteY11" fmla="*/ 2573735 h 2573735"/>
                  <a:gd name="connsiteX12" fmla="*/ 2307528 w 2567154"/>
                  <a:gd name="connsiteY12" fmla="*/ 2560606 h 2573735"/>
                  <a:gd name="connsiteX13" fmla="*/ 0 w 2567154"/>
                  <a:gd name="connsiteY13" fmla="*/ 1 h 2573735"/>
                  <a:gd name="connsiteX14" fmla="*/ 239097 w 2567154"/>
                  <a:gd name="connsiteY14" fmla="*/ 1 h 2573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567154" h="2573735">
                    <a:moveTo>
                      <a:pt x="239097" y="0"/>
                    </a:moveTo>
                    <a:lnTo>
                      <a:pt x="1046842" y="0"/>
                    </a:lnTo>
                    <a:lnTo>
                      <a:pt x="1046842" y="1"/>
                    </a:lnTo>
                    <a:lnTo>
                      <a:pt x="1234354" y="1"/>
                    </a:lnTo>
                    <a:lnTo>
                      <a:pt x="1234354" y="4"/>
                    </a:lnTo>
                    <a:lnTo>
                      <a:pt x="1498815" y="4"/>
                    </a:lnTo>
                    <a:lnTo>
                      <a:pt x="1502253" y="68081"/>
                    </a:lnTo>
                    <a:cubicBezTo>
                      <a:pt x="1555904" y="596375"/>
                      <a:pt x="1975897" y="1016369"/>
                      <a:pt x="2504192" y="1070020"/>
                    </a:cubicBezTo>
                    <a:lnTo>
                      <a:pt x="2565992" y="1073141"/>
                    </a:lnTo>
                    <a:lnTo>
                      <a:pt x="2565992" y="1089677"/>
                    </a:lnTo>
                    <a:lnTo>
                      <a:pt x="2567154" y="1089677"/>
                    </a:lnTo>
                    <a:lnTo>
                      <a:pt x="2567154" y="2573735"/>
                    </a:lnTo>
                    <a:lnTo>
                      <a:pt x="2307528" y="2560606"/>
                    </a:lnTo>
                    <a:cubicBezTo>
                      <a:pt x="1011424" y="2428796"/>
                      <a:pt x="0" y="1332678"/>
                      <a:pt x="0" y="1"/>
                    </a:cubicBezTo>
                    <a:lnTo>
                      <a:pt x="239097" y="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24459DA0-85C7-D5F8-A749-238285BECF6B}"/>
                  </a:ext>
                </a:extLst>
              </p:cNvPr>
              <p:cNvGrpSpPr/>
              <p:nvPr/>
            </p:nvGrpSpPr>
            <p:grpSpPr>
              <a:xfrm>
                <a:off x="10038811" y="3114412"/>
                <a:ext cx="618056" cy="618056"/>
                <a:chOff x="12264617" y="3634638"/>
                <a:chExt cx="533927" cy="533927"/>
              </a:xfrm>
            </p:grpSpPr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C05FB97B-CC93-EA0B-8108-0D8C0AFBF5B8}"/>
                    </a:ext>
                  </a:extLst>
                </p:cNvPr>
                <p:cNvSpPr/>
                <p:nvPr/>
              </p:nvSpPr>
              <p:spPr>
                <a:xfrm>
                  <a:off x="12264617" y="3634638"/>
                  <a:ext cx="533927" cy="533927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-Regular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L-Shape 24">
                  <a:extLst>
                    <a:ext uri="{FF2B5EF4-FFF2-40B4-BE49-F238E27FC236}">
                      <a16:creationId xmlns:a16="http://schemas.microsoft.com/office/drawing/2014/main" id="{B15286AC-F190-1EE3-26AD-3AC2D2BEEA93}"/>
                    </a:ext>
                  </a:extLst>
                </p:cNvPr>
                <p:cNvSpPr/>
                <p:nvPr/>
              </p:nvSpPr>
              <p:spPr>
                <a:xfrm rot="2700000" flipH="1">
                  <a:off x="12439126" y="3774247"/>
                  <a:ext cx="184909" cy="184909"/>
                </a:xfrm>
                <a:prstGeom prst="corner">
                  <a:avLst>
                    <a:gd name="adj1" fmla="val 17364"/>
                    <a:gd name="adj2" fmla="val 17364"/>
                  </a:avLst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endParaRPr>
                </a:p>
              </p:txBody>
            </p:sp>
          </p:grp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5D041CBC-188F-498C-20A3-7F68B749A59D}"/>
                  </a:ext>
                </a:extLst>
              </p:cNvPr>
              <p:cNvSpPr txBox="1"/>
              <p:nvPr/>
            </p:nvSpPr>
            <p:spPr>
              <a:xfrm rot="18864559">
                <a:off x="6165332" y="1930033"/>
                <a:ext cx="2108973" cy="583264"/>
              </a:xfrm>
              <a:prstGeom prst="rect">
                <a:avLst/>
              </a:prstGeom>
              <a:noFill/>
            </p:spPr>
            <p:txBody>
              <a:bodyPr wrap="none" rtlCol="0" anchor="ctr">
                <a:prstTxWarp prst="textArchUp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udience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9545C98-CC64-D7A6-C253-754574318E12}"/>
                  </a:ext>
                </a:extLst>
              </p:cNvPr>
              <p:cNvSpPr/>
              <p:nvPr/>
            </p:nvSpPr>
            <p:spPr>
              <a:xfrm rot="2870013">
                <a:off x="8365533" y="1850059"/>
                <a:ext cx="2182239" cy="583264"/>
              </a:xfrm>
              <a:prstGeom prst="rect">
                <a:avLst/>
              </a:prstGeom>
            </p:spPr>
            <p:txBody>
              <a:bodyPr wrap="none" anchor="ctr">
                <a:prstTxWarp prst="textArchUp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llocation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1A52DE34-6680-7802-F815-A0134B6FD1B2}"/>
                  </a:ext>
                </a:extLst>
              </p:cNvPr>
              <p:cNvSpPr/>
              <p:nvPr/>
            </p:nvSpPr>
            <p:spPr>
              <a:xfrm rot="18914344">
                <a:off x="8391559" y="4040115"/>
                <a:ext cx="2173304" cy="1018669"/>
              </a:xfrm>
              <a:prstGeom prst="rect">
                <a:avLst/>
              </a:prstGeom>
            </p:spPr>
            <p:txBody>
              <a:bodyPr wrap="none" anchor="ctr">
                <a:prstTxWarp prst="textArchDown">
                  <a:avLst>
                    <a:gd name="adj" fmla="val 976732"/>
                  </a:avLst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ctivation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5B2724D8-6C06-9B7A-98D1-F49BAC6678EB}"/>
                  </a:ext>
                </a:extLst>
              </p:cNvPr>
              <p:cNvSpPr/>
              <p:nvPr/>
            </p:nvSpPr>
            <p:spPr>
              <a:xfrm rot="2812719">
                <a:off x="6020890" y="4390819"/>
                <a:ext cx="2182239" cy="583264"/>
              </a:xfrm>
              <a:prstGeom prst="rect">
                <a:avLst/>
              </a:prstGeom>
            </p:spPr>
            <p:txBody>
              <a:bodyPr wrap="none" anchor="ctr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ttribution</a:t>
                </a:r>
              </a:p>
            </p:txBody>
          </p: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75D5D25B-99CE-332E-A810-D64A7EA8F5C6}"/>
                  </a:ext>
                </a:extLst>
              </p:cNvPr>
              <p:cNvGrpSpPr/>
              <p:nvPr/>
            </p:nvGrpSpPr>
            <p:grpSpPr>
              <a:xfrm>
                <a:off x="8076720" y="1081427"/>
                <a:ext cx="618056" cy="618056"/>
                <a:chOff x="12264617" y="1548657"/>
                <a:chExt cx="533927" cy="533927"/>
              </a:xfrm>
            </p:grpSpPr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82F1450E-AB51-630D-5524-E477A90EAFDC}"/>
                    </a:ext>
                  </a:extLst>
                </p:cNvPr>
                <p:cNvSpPr/>
                <p:nvPr/>
              </p:nvSpPr>
              <p:spPr>
                <a:xfrm>
                  <a:off x="12264617" y="1548657"/>
                  <a:ext cx="533927" cy="533927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-Regular"/>
                    <a:ea typeface="+mn-ea"/>
                    <a:cs typeface="+mn-cs"/>
                  </a:endParaRPr>
                </a:p>
              </p:txBody>
            </p:sp>
            <p:grpSp>
              <p:nvGrpSpPr>
                <p:cNvPr id="48" name="Group 47">
                  <a:extLst>
                    <a:ext uri="{FF2B5EF4-FFF2-40B4-BE49-F238E27FC236}">
                      <a16:creationId xmlns:a16="http://schemas.microsoft.com/office/drawing/2014/main" id="{AD0D39D2-6112-690C-8F75-512E57812543}"/>
                    </a:ext>
                  </a:extLst>
                </p:cNvPr>
                <p:cNvGrpSpPr/>
                <p:nvPr/>
              </p:nvGrpSpPr>
              <p:grpSpPr>
                <a:xfrm>
                  <a:off x="12398632" y="1657567"/>
                  <a:ext cx="265896" cy="316107"/>
                  <a:chOff x="5953896" y="907548"/>
                  <a:chExt cx="397410" cy="472458"/>
                </a:xfrm>
                <a:solidFill>
                  <a:schemeClr val="tx1"/>
                </a:solidFill>
              </p:grpSpPr>
              <p:sp>
                <p:nvSpPr>
                  <p:cNvPr id="49" name="L-Shape 3">
                    <a:extLst>
                      <a:ext uri="{FF2B5EF4-FFF2-40B4-BE49-F238E27FC236}">
                        <a16:creationId xmlns:a16="http://schemas.microsoft.com/office/drawing/2014/main" id="{40D77181-04CA-A30B-8768-7DD74912D0CC}"/>
                      </a:ext>
                    </a:extLst>
                  </p:cNvPr>
                  <p:cNvSpPr/>
                  <p:nvPr/>
                </p:nvSpPr>
                <p:spPr>
                  <a:xfrm rot="18763950" flipH="1">
                    <a:off x="5953896" y="907548"/>
                    <a:ext cx="232873" cy="232873"/>
                  </a:xfrm>
                  <a:prstGeom prst="corner">
                    <a:avLst>
                      <a:gd name="adj1" fmla="val 17364"/>
                      <a:gd name="adj2" fmla="val 17364"/>
                    </a:avLst>
                  </a:prstGeom>
                  <a:solidFill>
                    <a:schemeClr val="bg2">
                      <a:lumMod val="75000"/>
                    </a:scheme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itchFamily="2" charset="77"/>
                      <a:ea typeface="+mn-ea"/>
                      <a:cs typeface="Poppins" pitchFamily="2" charset="77"/>
                    </a:endParaRPr>
                  </a:p>
                </p:txBody>
              </p:sp>
              <p:sp>
                <p:nvSpPr>
                  <p:cNvPr id="50" name="L-Shape 39">
                    <a:extLst>
                      <a:ext uri="{FF2B5EF4-FFF2-40B4-BE49-F238E27FC236}">
                        <a16:creationId xmlns:a16="http://schemas.microsoft.com/office/drawing/2014/main" id="{54F615E1-3B4D-EE0F-20CC-1015B19B283B}"/>
                      </a:ext>
                    </a:extLst>
                  </p:cNvPr>
                  <p:cNvSpPr/>
                  <p:nvPr/>
                </p:nvSpPr>
                <p:spPr>
                  <a:xfrm rot="2836050">
                    <a:off x="6118432" y="1147132"/>
                    <a:ext cx="232875" cy="232873"/>
                  </a:xfrm>
                  <a:prstGeom prst="corner">
                    <a:avLst>
                      <a:gd name="adj1" fmla="val 17364"/>
                      <a:gd name="adj2" fmla="val 17364"/>
                    </a:avLst>
                  </a:prstGeom>
                  <a:solidFill>
                    <a:schemeClr val="bg2">
                      <a:lumMod val="75000"/>
                    </a:schemeClr>
                  </a:solidFill>
                  <a:ln w="127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" pitchFamily="2" charset="77"/>
                      <a:ea typeface="+mn-ea"/>
                      <a:cs typeface="Poppins" pitchFamily="2" charset="77"/>
                    </a:endParaRPr>
                  </a:p>
                </p:txBody>
              </p:sp>
            </p:grpSp>
          </p:grp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7B2F954F-5791-477E-9658-876A0A074D28}"/>
                  </a:ext>
                </a:extLst>
              </p:cNvPr>
              <p:cNvSpPr/>
              <p:nvPr/>
            </p:nvSpPr>
            <p:spPr>
              <a:xfrm>
                <a:off x="5345289" y="389315"/>
                <a:ext cx="2979005" cy="2977534"/>
              </a:xfrm>
              <a:custGeom>
                <a:avLst/>
                <a:gdLst>
                  <a:gd name="connsiteX0" fmla="*/ 2572233 w 2573506"/>
                  <a:gd name="connsiteY0" fmla="*/ 0 h 2572235"/>
                  <a:gd name="connsiteX1" fmla="*/ 2572233 w 2573506"/>
                  <a:gd name="connsiteY1" fmla="*/ 142684 h 2572235"/>
                  <a:gd name="connsiteX2" fmla="*/ 2573506 w 2573506"/>
                  <a:gd name="connsiteY2" fmla="*/ 142684 h 2572235"/>
                  <a:gd name="connsiteX3" fmla="*/ 2573506 w 2573506"/>
                  <a:gd name="connsiteY3" fmla="*/ 238705 h 2572235"/>
                  <a:gd name="connsiteX4" fmla="*/ 2367556 w 2573506"/>
                  <a:gd name="connsiteY4" fmla="*/ 249105 h 2572235"/>
                  <a:gd name="connsiteX5" fmla="*/ 237850 w 2573506"/>
                  <a:gd name="connsiteY5" fmla="*/ 2378811 h 2572235"/>
                  <a:gd name="connsiteX6" fmla="*/ 228083 w 2573506"/>
                  <a:gd name="connsiteY6" fmla="*/ 2572235 h 2572235"/>
                  <a:gd name="connsiteX7" fmla="*/ 154670 w 2573506"/>
                  <a:gd name="connsiteY7" fmla="*/ 2572235 h 2572235"/>
                  <a:gd name="connsiteX8" fmla="*/ 0 w 2573506"/>
                  <a:gd name="connsiteY8" fmla="*/ 2572235 h 2572235"/>
                  <a:gd name="connsiteX9" fmla="*/ 2572233 w 2573506"/>
                  <a:gd name="connsiteY9" fmla="*/ 0 h 2572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73506" h="2572235">
                    <a:moveTo>
                      <a:pt x="2572233" y="0"/>
                    </a:moveTo>
                    <a:lnTo>
                      <a:pt x="2572233" y="142684"/>
                    </a:lnTo>
                    <a:lnTo>
                      <a:pt x="2573506" y="142684"/>
                    </a:lnTo>
                    <a:lnTo>
                      <a:pt x="2573506" y="238705"/>
                    </a:lnTo>
                    <a:lnTo>
                      <a:pt x="2367556" y="249105"/>
                    </a:lnTo>
                    <a:cubicBezTo>
                      <a:pt x="1244622" y="363145"/>
                      <a:pt x="351890" y="1255877"/>
                      <a:pt x="237850" y="2378811"/>
                    </a:cubicBezTo>
                    <a:lnTo>
                      <a:pt x="228083" y="2572235"/>
                    </a:lnTo>
                    <a:lnTo>
                      <a:pt x="154670" y="2572235"/>
                    </a:lnTo>
                    <a:lnTo>
                      <a:pt x="0" y="2572235"/>
                    </a:lnTo>
                    <a:cubicBezTo>
                      <a:pt x="0" y="1151629"/>
                      <a:pt x="1151628" y="0"/>
                      <a:pt x="2572233" y="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6A6534C9-7AEF-FB00-ED33-BE8E9A15A6BA}"/>
                  </a:ext>
                </a:extLst>
              </p:cNvPr>
              <p:cNvSpPr/>
              <p:nvPr/>
            </p:nvSpPr>
            <p:spPr>
              <a:xfrm>
                <a:off x="8424327" y="389316"/>
                <a:ext cx="2983749" cy="2977534"/>
              </a:xfrm>
              <a:custGeom>
                <a:avLst/>
                <a:gdLst>
                  <a:gd name="connsiteX0" fmla="*/ 0 w 2577604"/>
                  <a:gd name="connsiteY0" fmla="*/ 0 h 2572235"/>
                  <a:gd name="connsiteX1" fmla="*/ 2577604 w 2577604"/>
                  <a:gd name="connsiteY1" fmla="*/ 2572235 h 2572235"/>
                  <a:gd name="connsiteX2" fmla="*/ 2335011 w 2577604"/>
                  <a:gd name="connsiteY2" fmla="*/ 2572235 h 2572235"/>
                  <a:gd name="connsiteX3" fmla="*/ 2325244 w 2577604"/>
                  <a:gd name="connsiteY3" fmla="*/ 2378810 h 2572235"/>
                  <a:gd name="connsiteX4" fmla="*/ 195538 w 2577604"/>
                  <a:gd name="connsiteY4" fmla="*/ 249104 h 2572235"/>
                  <a:gd name="connsiteX5" fmla="*/ 0 w 2577604"/>
                  <a:gd name="connsiteY5" fmla="*/ 239230 h 2572235"/>
                  <a:gd name="connsiteX6" fmla="*/ 0 w 2577604"/>
                  <a:gd name="connsiteY6" fmla="*/ 142682 h 2572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77604" h="2572235">
                    <a:moveTo>
                      <a:pt x="0" y="0"/>
                    </a:moveTo>
                    <a:cubicBezTo>
                      <a:pt x="1423572" y="0"/>
                      <a:pt x="2577604" y="1151629"/>
                      <a:pt x="2577604" y="2572235"/>
                    </a:cubicBezTo>
                    <a:lnTo>
                      <a:pt x="2335011" y="2572235"/>
                    </a:lnTo>
                    <a:lnTo>
                      <a:pt x="2325244" y="2378810"/>
                    </a:lnTo>
                    <a:cubicBezTo>
                      <a:pt x="2211204" y="1255876"/>
                      <a:pt x="1318471" y="363144"/>
                      <a:pt x="195538" y="249104"/>
                    </a:cubicBezTo>
                    <a:lnTo>
                      <a:pt x="0" y="239230"/>
                    </a:lnTo>
                    <a:lnTo>
                      <a:pt x="0" y="142682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96EF2B60-7873-2198-35E7-08B3CFAE4208}"/>
                  </a:ext>
                </a:extLst>
              </p:cNvPr>
              <p:cNvSpPr/>
              <p:nvPr/>
            </p:nvSpPr>
            <p:spPr>
              <a:xfrm>
                <a:off x="8424329" y="3489415"/>
                <a:ext cx="2981616" cy="2977539"/>
              </a:xfrm>
              <a:custGeom>
                <a:avLst/>
                <a:gdLst>
                  <a:gd name="connsiteX0" fmla="*/ 2334766 w 2575762"/>
                  <a:gd name="connsiteY0" fmla="*/ 0 h 2572239"/>
                  <a:gd name="connsiteX1" fmla="*/ 2336002 w 2575762"/>
                  <a:gd name="connsiteY1" fmla="*/ 0 h 2572239"/>
                  <a:gd name="connsiteX2" fmla="*/ 2336002 w 2575762"/>
                  <a:gd name="connsiteY2" fmla="*/ 4 h 2572239"/>
                  <a:gd name="connsiteX3" fmla="*/ 2575762 w 2575762"/>
                  <a:gd name="connsiteY3" fmla="*/ 4 h 2572239"/>
                  <a:gd name="connsiteX4" fmla="*/ 0 w 2575762"/>
                  <a:gd name="connsiteY4" fmla="*/ 2572239 h 2572239"/>
                  <a:gd name="connsiteX5" fmla="*/ 0 w 2575762"/>
                  <a:gd name="connsiteY5" fmla="*/ 2328177 h 2572239"/>
                  <a:gd name="connsiteX6" fmla="*/ 195537 w 2575762"/>
                  <a:gd name="connsiteY6" fmla="*/ 2318304 h 2572239"/>
                  <a:gd name="connsiteX7" fmla="*/ 2325243 w 2575762"/>
                  <a:gd name="connsiteY7" fmla="*/ 188598 h 2572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75762" h="2572239">
                    <a:moveTo>
                      <a:pt x="2334766" y="0"/>
                    </a:moveTo>
                    <a:lnTo>
                      <a:pt x="2336002" y="0"/>
                    </a:lnTo>
                    <a:lnTo>
                      <a:pt x="2336002" y="4"/>
                    </a:lnTo>
                    <a:lnTo>
                      <a:pt x="2575762" y="4"/>
                    </a:lnTo>
                    <a:cubicBezTo>
                      <a:pt x="2575762" y="1420611"/>
                      <a:pt x="1422554" y="2572239"/>
                      <a:pt x="0" y="2572239"/>
                    </a:cubicBezTo>
                    <a:lnTo>
                      <a:pt x="0" y="2328177"/>
                    </a:lnTo>
                    <a:lnTo>
                      <a:pt x="195537" y="2318304"/>
                    </a:lnTo>
                    <a:cubicBezTo>
                      <a:pt x="1318470" y="2204264"/>
                      <a:pt x="2211203" y="1311532"/>
                      <a:pt x="2325243" y="188598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7E3844FF-0F92-D8F7-374A-3E4F50CC8BFA}"/>
                  </a:ext>
                </a:extLst>
              </p:cNvPr>
              <p:cNvSpPr/>
              <p:nvPr/>
            </p:nvSpPr>
            <p:spPr>
              <a:xfrm>
                <a:off x="5345292" y="3489417"/>
                <a:ext cx="2971652" cy="2979269"/>
              </a:xfrm>
              <a:custGeom>
                <a:avLst/>
                <a:gdLst>
                  <a:gd name="connsiteX0" fmla="*/ 0 w 2567154"/>
                  <a:gd name="connsiteY0" fmla="*/ 0 h 2573734"/>
                  <a:gd name="connsiteX1" fmla="*/ 228323 w 2567154"/>
                  <a:gd name="connsiteY1" fmla="*/ 0 h 2573734"/>
                  <a:gd name="connsiteX2" fmla="*/ 237847 w 2567154"/>
                  <a:gd name="connsiteY2" fmla="*/ 188596 h 2573734"/>
                  <a:gd name="connsiteX3" fmla="*/ 2367553 w 2567154"/>
                  <a:gd name="connsiteY3" fmla="*/ 2318302 h 2573734"/>
                  <a:gd name="connsiteX4" fmla="*/ 2567154 w 2567154"/>
                  <a:gd name="connsiteY4" fmla="*/ 2328381 h 2573734"/>
                  <a:gd name="connsiteX5" fmla="*/ 2567154 w 2567154"/>
                  <a:gd name="connsiteY5" fmla="*/ 2573734 h 2573734"/>
                  <a:gd name="connsiteX6" fmla="*/ 2307528 w 2567154"/>
                  <a:gd name="connsiteY6" fmla="*/ 2560605 h 2573734"/>
                  <a:gd name="connsiteX7" fmla="*/ 0 w 2567154"/>
                  <a:gd name="connsiteY7" fmla="*/ 0 h 2573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67154" h="2573734">
                    <a:moveTo>
                      <a:pt x="0" y="0"/>
                    </a:moveTo>
                    <a:lnTo>
                      <a:pt x="228323" y="0"/>
                    </a:lnTo>
                    <a:lnTo>
                      <a:pt x="237847" y="188596"/>
                    </a:lnTo>
                    <a:cubicBezTo>
                      <a:pt x="351887" y="1311530"/>
                      <a:pt x="1244619" y="2204262"/>
                      <a:pt x="2367553" y="2318302"/>
                    </a:cubicBezTo>
                    <a:lnTo>
                      <a:pt x="2567154" y="2328381"/>
                    </a:lnTo>
                    <a:lnTo>
                      <a:pt x="2567154" y="2573734"/>
                    </a:lnTo>
                    <a:lnTo>
                      <a:pt x="2307528" y="2560605"/>
                    </a:lnTo>
                    <a:cubicBezTo>
                      <a:pt x="1011424" y="2428795"/>
                      <a:pt x="0" y="1332677"/>
                      <a:pt x="0" y="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rIns="7200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B22F6817-7D79-C9AB-2FD8-B4C2333BCCA4}"/>
                  </a:ext>
                </a:extLst>
              </p:cNvPr>
              <p:cNvSpPr/>
              <p:nvPr/>
            </p:nvSpPr>
            <p:spPr>
              <a:xfrm>
                <a:off x="5987644" y="985824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7" name="Google Shape;1138;p39">
                <a:extLst>
                  <a:ext uri="{FF2B5EF4-FFF2-40B4-BE49-F238E27FC236}">
                    <a16:creationId xmlns:a16="http://schemas.microsoft.com/office/drawing/2014/main" id="{AF988C19-359F-7A5A-0023-DDFEEC1272F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094820" y="1174417"/>
                <a:ext cx="504693" cy="34186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55" h="21600" extrusionOk="0">
                    <a:moveTo>
                      <a:pt x="10775" y="0"/>
                    </a:moveTo>
                    <a:cubicBezTo>
                      <a:pt x="8891" y="0"/>
                      <a:pt x="7365" y="2267"/>
                      <a:pt x="7365" y="5054"/>
                    </a:cubicBezTo>
                    <a:cubicBezTo>
                      <a:pt x="7365" y="7841"/>
                      <a:pt x="8891" y="10098"/>
                      <a:pt x="10775" y="10098"/>
                    </a:cubicBezTo>
                    <a:cubicBezTo>
                      <a:pt x="12659" y="10098"/>
                      <a:pt x="14185" y="7841"/>
                      <a:pt x="14185" y="5054"/>
                    </a:cubicBezTo>
                    <a:cubicBezTo>
                      <a:pt x="14185" y="2267"/>
                      <a:pt x="12659" y="0"/>
                      <a:pt x="10775" y="0"/>
                    </a:cubicBezTo>
                    <a:close/>
                    <a:moveTo>
                      <a:pt x="10775" y="920"/>
                    </a:moveTo>
                    <a:cubicBezTo>
                      <a:pt x="12316" y="920"/>
                      <a:pt x="13569" y="2774"/>
                      <a:pt x="13569" y="5054"/>
                    </a:cubicBezTo>
                    <a:cubicBezTo>
                      <a:pt x="13569" y="7334"/>
                      <a:pt x="12316" y="9179"/>
                      <a:pt x="10775" y="9179"/>
                    </a:cubicBezTo>
                    <a:cubicBezTo>
                      <a:pt x="9233" y="9179"/>
                      <a:pt x="7987" y="7334"/>
                      <a:pt x="7987" y="5054"/>
                    </a:cubicBezTo>
                    <a:cubicBezTo>
                      <a:pt x="7987" y="2774"/>
                      <a:pt x="9233" y="920"/>
                      <a:pt x="10775" y="920"/>
                    </a:cubicBezTo>
                    <a:close/>
                    <a:moveTo>
                      <a:pt x="4083" y="3907"/>
                    </a:moveTo>
                    <a:cubicBezTo>
                      <a:pt x="2817" y="3905"/>
                      <a:pt x="1790" y="5418"/>
                      <a:pt x="1789" y="7292"/>
                    </a:cubicBezTo>
                    <a:cubicBezTo>
                      <a:pt x="1788" y="9165"/>
                      <a:pt x="2810" y="10685"/>
                      <a:pt x="4077" y="10686"/>
                    </a:cubicBezTo>
                    <a:cubicBezTo>
                      <a:pt x="5344" y="10687"/>
                      <a:pt x="6371" y="9175"/>
                      <a:pt x="6372" y="7301"/>
                    </a:cubicBezTo>
                    <a:cubicBezTo>
                      <a:pt x="6372" y="7300"/>
                      <a:pt x="6372" y="7293"/>
                      <a:pt x="6372" y="7292"/>
                    </a:cubicBezTo>
                    <a:cubicBezTo>
                      <a:pt x="6370" y="5420"/>
                      <a:pt x="5348" y="3909"/>
                      <a:pt x="4083" y="3907"/>
                    </a:cubicBezTo>
                    <a:close/>
                    <a:moveTo>
                      <a:pt x="17479" y="3907"/>
                    </a:moveTo>
                    <a:cubicBezTo>
                      <a:pt x="16212" y="3907"/>
                      <a:pt x="15184" y="5418"/>
                      <a:pt x="15184" y="7292"/>
                    </a:cubicBezTo>
                    <a:cubicBezTo>
                      <a:pt x="15184" y="9165"/>
                      <a:pt x="16212" y="10686"/>
                      <a:pt x="17479" y="10686"/>
                    </a:cubicBezTo>
                    <a:cubicBezTo>
                      <a:pt x="18746" y="10686"/>
                      <a:pt x="19774" y="9165"/>
                      <a:pt x="19774" y="7292"/>
                    </a:cubicBezTo>
                    <a:cubicBezTo>
                      <a:pt x="19772" y="5417"/>
                      <a:pt x="18745" y="3908"/>
                      <a:pt x="17479" y="3907"/>
                    </a:cubicBezTo>
                    <a:close/>
                    <a:moveTo>
                      <a:pt x="4077" y="4817"/>
                    </a:moveTo>
                    <a:cubicBezTo>
                      <a:pt x="5001" y="4816"/>
                      <a:pt x="5749" y="5925"/>
                      <a:pt x="5750" y="7292"/>
                    </a:cubicBezTo>
                    <a:cubicBezTo>
                      <a:pt x="5749" y="8659"/>
                      <a:pt x="5006" y="9764"/>
                      <a:pt x="4083" y="9766"/>
                    </a:cubicBezTo>
                    <a:cubicBezTo>
                      <a:pt x="3159" y="9768"/>
                      <a:pt x="2405" y="8659"/>
                      <a:pt x="2404" y="7292"/>
                    </a:cubicBezTo>
                    <a:cubicBezTo>
                      <a:pt x="2403" y="5925"/>
                      <a:pt x="3153" y="4818"/>
                      <a:pt x="4077" y="4817"/>
                    </a:cubicBezTo>
                    <a:close/>
                    <a:moveTo>
                      <a:pt x="17479" y="4817"/>
                    </a:moveTo>
                    <a:cubicBezTo>
                      <a:pt x="18403" y="4817"/>
                      <a:pt x="19152" y="5925"/>
                      <a:pt x="19152" y="7292"/>
                    </a:cubicBezTo>
                    <a:cubicBezTo>
                      <a:pt x="19151" y="8658"/>
                      <a:pt x="18403" y="9765"/>
                      <a:pt x="17479" y="9766"/>
                    </a:cubicBezTo>
                    <a:cubicBezTo>
                      <a:pt x="16555" y="9766"/>
                      <a:pt x="15806" y="8659"/>
                      <a:pt x="15806" y="7292"/>
                    </a:cubicBezTo>
                    <a:cubicBezTo>
                      <a:pt x="15806" y="5925"/>
                      <a:pt x="16555" y="4817"/>
                      <a:pt x="17479" y="4817"/>
                    </a:cubicBezTo>
                    <a:close/>
                    <a:moveTo>
                      <a:pt x="10775" y="11246"/>
                    </a:moveTo>
                    <a:cubicBezTo>
                      <a:pt x="9400" y="11246"/>
                      <a:pt x="8026" y="11950"/>
                      <a:pt x="6916" y="13360"/>
                    </a:cubicBezTo>
                    <a:cubicBezTo>
                      <a:pt x="6174" y="12202"/>
                      <a:pt x="5143" y="11536"/>
                      <a:pt x="4064" y="11521"/>
                    </a:cubicBezTo>
                    <a:cubicBezTo>
                      <a:pt x="2059" y="11521"/>
                      <a:pt x="280" y="13959"/>
                      <a:pt x="7" y="17068"/>
                    </a:cubicBezTo>
                    <a:cubicBezTo>
                      <a:pt x="-22" y="17394"/>
                      <a:pt x="47" y="17720"/>
                      <a:pt x="193" y="17968"/>
                    </a:cubicBezTo>
                    <a:cubicBezTo>
                      <a:pt x="336" y="18207"/>
                      <a:pt x="541" y="18346"/>
                      <a:pt x="757" y="18348"/>
                    </a:cubicBezTo>
                    <a:lnTo>
                      <a:pt x="4692" y="18348"/>
                    </a:lnTo>
                    <a:cubicBezTo>
                      <a:pt x="4593" y="18844"/>
                      <a:pt x="4519" y="19352"/>
                      <a:pt x="4474" y="19865"/>
                    </a:cubicBezTo>
                    <a:cubicBezTo>
                      <a:pt x="4435" y="20307"/>
                      <a:pt x="4527" y="20751"/>
                      <a:pt x="4724" y="21088"/>
                    </a:cubicBezTo>
                    <a:cubicBezTo>
                      <a:pt x="4917" y="21413"/>
                      <a:pt x="5195" y="21600"/>
                      <a:pt x="5487" y="21600"/>
                    </a:cubicBezTo>
                    <a:lnTo>
                      <a:pt x="16063" y="21600"/>
                    </a:lnTo>
                    <a:cubicBezTo>
                      <a:pt x="16355" y="21600"/>
                      <a:pt x="16633" y="21413"/>
                      <a:pt x="16825" y="21088"/>
                    </a:cubicBezTo>
                    <a:cubicBezTo>
                      <a:pt x="17023" y="20751"/>
                      <a:pt x="17114" y="20307"/>
                      <a:pt x="17075" y="19865"/>
                    </a:cubicBezTo>
                    <a:cubicBezTo>
                      <a:pt x="17030" y="19352"/>
                      <a:pt x="16957" y="18844"/>
                      <a:pt x="16857" y="18348"/>
                    </a:cubicBezTo>
                    <a:lnTo>
                      <a:pt x="20799" y="18348"/>
                    </a:lnTo>
                    <a:cubicBezTo>
                      <a:pt x="21015" y="18346"/>
                      <a:pt x="21220" y="18208"/>
                      <a:pt x="21363" y="17968"/>
                    </a:cubicBezTo>
                    <a:cubicBezTo>
                      <a:pt x="21509" y="17720"/>
                      <a:pt x="21578" y="17394"/>
                      <a:pt x="21549" y="17068"/>
                    </a:cubicBezTo>
                    <a:cubicBezTo>
                      <a:pt x="21276" y="13959"/>
                      <a:pt x="19490" y="11521"/>
                      <a:pt x="17485" y="11521"/>
                    </a:cubicBezTo>
                    <a:cubicBezTo>
                      <a:pt x="16407" y="11536"/>
                      <a:pt x="15376" y="12202"/>
                      <a:pt x="14633" y="13360"/>
                    </a:cubicBezTo>
                    <a:cubicBezTo>
                      <a:pt x="13523" y="11950"/>
                      <a:pt x="12149" y="11246"/>
                      <a:pt x="10775" y="11246"/>
                    </a:cubicBezTo>
                    <a:close/>
                    <a:moveTo>
                      <a:pt x="10775" y="12165"/>
                    </a:moveTo>
                    <a:cubicBezTo>
                      <a:pt x="13578" y="12165"/>
                      <a:pt x="16075" y="15602"/>
                      <a:pt x="16460" y="19979"/>
                    </a:cubicBezTo>
                    <a:cubicBezTo>
                      <a:pt x="16475" y="20160"/>
                      <a:pt x="16439" y="20343"/>
                      <a:pt x="16357" y="20481"/>
                    </a:cubicBezTo>
                    <a:cubicBezTo>
                      <a:pt x="16283" y="20608"/>
                      <a:pt x="16176" y="20690"/>
                      <a:pt x="16063" y="20690"/>
                    </a:cubicBezTo>
                    <a:lnTo>
                      <a:pt x="5487" y="20690"/>
                    </a:lnTo>
                    <a:cubicBezTo>
                      <a:pt x="5373" y="20690"/>
                      <a:pt x="5267" y="20608"/>
                      <a:pt x="5192" y="20481"/>
                    </a:cubicBezTo>
                    <a:cubicBezTo>
                      <a:pt x="5111" y="20343"/>
                      <a:pt x="5074" y="20160"/>
                      <a:pt x="5090" y="19979"/>
                    </a:cubicBezTo>
                    <a:cubicBezTo>
                      <a:pt x="5474" y="15595"/>
                      <a:pt x="7971" y="12165"/>
                      <a:pt x="10775" y="12165"/>
                    </a:cubicBezTo>
                    <a:close/>
                    <a:moveTo>
                      <a:pt x="4064" y="12440"/>
                    </a:moveTo>
                    <a:cubicBezTo>
                      <a:pt x="4968" y="12456"/>
                      <a:pt x="5831" y="13009"/>
                      <a:pt x="6455" y="13976"/>
                    </a:cubicBezTo>
                    <a:cubicBezTo>
                      <a:pt x="5784" y="14959"/>
                      <a:pt x="5255" y="16131"/>
                      <a:pt x="4904" y="17428"/>
                    </a:cubicBezTo>
                    <a:cubicBezTo>
                      <a:pt x="4904" y="17428"/>
                      <a:pt x="757" y="17428"/>
                      <a:pt x="757" y="17428"/>
                    </a:cubicBezTo>
                    <a:cubicBezTo>
                      <a:pt x="719" y="17428"/>
                      <a:pt x="678" y="17405"/>
                      <a:pt x="654" y="17362"/>
                    </a:cubicBezTo>
                    <a:cubicBezTo>
                      <a:pt x="625" y="17314"/>
                      <a:pt x="616" y="17255"/>
                      <a:pt x="622" y="17191"/>
                    </a:cubicBezTo>
                    <a:cubicBezTo>
                      <a:pt x="855" y="14528"/>
                      <a:pt x="2365" y="12440"/>
                      <a:pt x="4064" y="12440"/>
                    </a:cubicBezTo>
                    <a:close/>
                    <a:moveTo>
                      <a:pt x="17485" y="12440"/>
                    </a:moveTo>
                    <a:cubicBezTo>
                      <a:pt x="19191" y="12440"/>
                      <a:pt x="20695" y="14518"/>
                      <a:pt x="20927" y="17181"/>
                    </a:cubicBezTo>
                    <a:cubicBezTo>
                      <a:pt x="20935" y="17244"/>
                      <a:pt x="20923" y="17313"/>
                      <a:pt x="20895" y="17362"/>
                    </a:cubicBezTo>
                    <a:cubicBezTo>
                      <a:pt x="20871" y="17405"/>
                      <a:pt x="20837" y="17428"/>
                      <a:pt x="20799" y="17428"/>
                    </a:cubicBezTo>
                    <a:lnTo>
                      <a:pt x="16646" y="17428"/>
                    </a:lnTo>
                    <a:cubicBezTo>
                      <a:pt x="16294" y="16131"/>
                      <a:pt x="15766" y="14959"/>
                      <a:pt x="15095" y="13976"/>
                    </a:cubicBezTo>
                    <a:cubicBezTo>
                      <a:pt x="15718" y="13009"/>
                      <a:pt x="16582" y="12456"/>
                      <a:pt x="17485" y="1244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36EB5D9D-5DF4-36C5-618F-411123FE9846}"/>
                  </a:ext>
                </a:extLst>
              </p:cNvPr>
              <p:cNvSpPr/>
              <p:nvPr/>
            </p:nvSpPr>
            <p:spPr>
              <a:xfrm>
                <a:off x="10010932" y="985824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39" name="Google Shape;1124;p39">
                <a:extLst>
                  <a:ext uri="{FF2B5EF4-FFF2-40B4-BE49-F238E27FC236}">
                    <a16:creationId xmlns:a16="http://schemas.microsoft.com/office/drawing/2014/main" id="{18D728D0-8914-4608-F2FC-2AF53C6BBDC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156603" y="1105849"/>
                <a:ext cx="425735" cy="4789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035" h="21600" extrusionOk="0">
                    <a:moveTo>
                      <a:pt x="10517" y="0"/>
                    </a:moveTo>
                    <a:cubicBezTo>
                      <a:pt x="9403" y="6"/>
                      <a:pt x="8505" y="835"/>
                      <a:pt x="8508" y="1851"/>
                    </a:cubicBezTo>
                    <a:cubicBezTo>
                      <a:pt x="8512" y="2757"/>
                      <a:pt x="9235" y="3523"/>
                      <a:pt x="10215" y="3661"/>
                    </a:cubicBezTo>
                    <a:cubicBezTo>
                      <a:pt x="10215" y="3661"/>
                      <a:pt x="10195" y="3661"/>
                      <a:pt x="10195" y="3661"/>
                    </a:cubicBezTo>
                    <a:lnTo>
                      <a:pt x="10195" y="4122"/>
                    </a:lnTo>
                    <a:cubicBezTo>
                      <a:pt x="10195" y="4282"/>
                      <a:pt x="10342" y="4410"/>
                      <a:pt x="10517" y="4410"/>
                    </a:cubicBezTo>
                    <a:cubicBezTo>
                      <a:pt x="10692" y="4410"/>
                      <a:pt x="10832" y="4282"/>
                      <a:pt x="10832" y="4122"/>
                    </a:cubicBezTo>
                    <a:lnTo>
                      <a:pt x="10832" y="3661"/>
                    </a:lnTo>
                    <a:cubicBezTo>
                      <a:pt x="11932" y="3500"/>
                      <a:pt x="12683" y="2556"/>
                      <a:pt x="12506" y="1552"/>
                    </a:cubicBezTo>
                    <a:cubicBezTo>
                      <a:pt x="12350" y="660"/>
                      <a:pt x="11507" y="1"/>
                      <a:pt x="10517" y="0"/>
                    </a:cubicBezTo>
                    <a:close/>
                    <a:moveTo>
                      <a:pt x="10510" y="581"/>
                    </a:moveTo>
                    <a:cubicBezTo>
                      <a:pt x="11274" y="582"/>
                      <a:pt x="11890" y="1148"/>
                      <a:pt x="11889" y="1845"/>
                    </a:cubicBezTo>
                    <a:cubicBezTo>
                      <a:pt x="11888" y="2541"/>
                      <a:pt x="11273" y="3109"/>
                      <a:pt x="10510" y="3110"/>
                    </a:cubicBezTo>
                    <a:cubicBezTo>
                      <a:pt x="9746" y="3109"/>
                      <a:pt x="9124" y="2543"/>
                      <a:pt x="9125" y="1845"/>
                    </a:cubicBezTo>
                    <a:cubicBezTo>
                      <a:pt x="9126" y="1150"/>
                      <a:pt x="9748" y="582"/>
                      <a:pt x="10510" y="581"/>
                    </a:cubicBezTo>
                    <a:close/>
                    <a:moveTo>
                      <a:pt x="2028" y="4482"/>
                    </a:moveTo>
                    <a:cubicBezTo>
                      <a:pt x="1321" y="4478"/>
                      <a:pt x="641" y="4818"/>
                      <a:pt x="269" y="5404"/>
                    </a:cubicBezTo>
                    <a:cubicBezTo>
                      <a:pt x="-283" y="6288"/>
                      <a:pt x="51" y="7415"/>
                      <a:pt x="1017" y="7921"/>
                    </a:cubicBezTo>
                    <a:cubicBezTo>
                      <a:pt x="1878" y="8371"/>
                      <a:pt x="2969" y="8177"/>
                      <a:pt x="3591" y="7472"/>
                    </a:cubicBezTo>
                    <a:cubicBezTo>
                      <a:pt x="3591" y="7472"/>
                      <a:pt x="3584" y="7484"/>
                      <a:pt x="3584" y="7484"/>
                    </a:cubicBezTo>
                    <a:lnTo>
                      <a:pt x="4017" y="7717"/>
                    </a:lnTo>
                    <a:cubicBezTo>
                      <a:pt x="4169" y="7797"/>
                      <a:pt x="4363" y="7748"/>
                      <a:pt x="4451" y="7609"/>
                    </a:cubicBezTo>
                    <a:cubicBezTo>
                      <a:pt x="4538" y="7471"/>
                      <a:pt x="4491" y="7294"/>
                      <a:pt x="4339" y="7214"/>
                    </a:cubicBezTo>
                    <a:lnTo>
                      <a:pt x="3899" y="6980"/>
                    </a:lnTo>
                    <a:cubicBezTo>
                      <a:pt x="4297" y="6030"/>
                      <a:pt x="3778" y="4970"/>
                      <a:pt x="2737" y="4608"/>
                    </a:cubicBezTo>
                    <a:cubicBezTo>
                      <a:pt x="2506" y="4527"/>
                      <a:pt x="2264" y="4483"/>
                      <a:pt x="2028" y="4482"/>
                    </a:cubicBezTo>
                    <a:close/>
                    <a:moveTo>
                      <a:pt x="18763" y="4500"/>
                    </a:moveTo>
                    <a:cubicBezTo>
                      <a:pt x="18503" y="4530"/>
                      <a:pt x="18249" y="4606"/>
                      <a:pt x="18008" y="4733"/>
                    </a:cubicBezTo>
                    <a:cubicBezTo>
                      <a:pt x="17151" y="5189"/>
                      <a:pt x="16782" y="6148"/>
                      <a:pt x="17141" y="6992"/>
                    </a:cubicBezTo>
                    <a:cubicBezTo>
                      <a:pt x="17141" y="6992"/>
                      <a:pt x="17135" y="6980"/>
                      <a:pt x="17135" y="6980"/>
                    </a:cubicBezTo>
                    <a:lnTo>
                      <a:pt x="16695" y="7208"/>
                    </a:lnTo>
                    <a:cubicBezTo>
                      <a:pt x="16543" y="7288"/>
                      <a:pt x="16496" y="7465"/>
                      <a:pt x="16583" y="7603"/>
                    </a:cubicBezTo>
                    <a:cubicBezTo>
                      <a:pt x="16671" y="7742"/>
                      <a:pt x="16865" y="7791"/>
                      <a:pt x="17017" y="7711"/>
                    </a:cubicBezTo>
                    <a:lnTo>
                      <a:pt x="17450" y="7478"/>
                    </a:lnTo>
                    <a:cubicBezTo>
                      <a:pt x="18152" y="8267"/>
                      <a:pt x="19428" y="8388"/>
                      <a:pt x="20293" y="7747"/>
                    </a:cubicBezTo>
                    <a:cubicBezTo>
                      <a:pt x="21061" y="7177"/>
                      <a:pt x="21260" y="6181"/>
                      <a:pt x="20765" y="5399"/>
                    </a:cubicBezTo>
                    <a:cubicBezTo>
                      <a:pt x="20343" y="4740"/>
                      <a:pt x="19543" y="4409"/>
                      <a:pt x="18763" y="4500"/>
                    </a:cubicBezTo>
                    <a:close/>
                    <a:moveTo>
                      <a:pt x="18842" y="5063"/>
                    </a:moveTo>
                    <a:cubicBezTo>
                      <a:pt x="19376" y="5003"/>
                      <a:pt x="19927" y="5234"/>
                      <a:pt x="20214" y="5686"/>
                    </a:cubicBezTo>
                    <a:cubicBezTo>
                      <a:pt x="20595" y="6290"/>
                      <a:pt x="20364" y="7058"/>
                      <a:pt x="19702" y="7406"/>
                    </a:cubicBezTo>
                    <a:cubicBezTo>
                      <a:pt x="19041" y="7753"/>
                      <a:pt x="18200" y="7547"/>
                      <a:pt x="17817" y="6944"/>
                    </a:cubicBezTo>
                    <a:cubicBezTo>
                      <a:pt x="17436" y="6340"/>
                      <a:pt x="17661" y="5573"/>
                      <a:pt x="18323" y="5225"/>
                    </a:cubicBezTo>
                    <a:cubicBezTo>
                      <a:pt x="18488" y="5138"/>
                      <a:pt x="18664" y="5083"/>
                      <a:pt x="18842" y="5063"/>
                    </a:cubicBezTo>
                    <a:close/>
                    <a:moveTo>
                      <a:pt x="2186" y="5081"/>
                    </a:moveTo>
                    <a:cubicBezTo>
                      <a:pt x="2364" y="5101"/>
                      <a:pt x="2539" y="5155"/>
                      <a:pt x="2704" y="5243"/>
                    </a:cubicBezTo>
                    <a:cubicBezTo>
                      <a:pt x="3364" y="5592"/>
                      <a:pt x="3590" y="6359"/>
                      <a:pt x="3210" y="6962"/>
                    </a:cubicBezTo>
                    <a:cubicBezTo>
                      <a:pt x="2827" y="7566"/>
                      <a:pt x="1980" y="7773"/>
                      <a:pt x="1319" y="7424"/>
                    </a:cubicBezTo>
                    <a:cubicBezTo>
                      <a:pt x="659" y="7075"/>
                      <a:pt x="433" y="6301"/>
                      <a:pt x="814" y="5698"/>
                    </a:cubicBezTo>
                    <a:cubicBezTo>
                      <a:pt x="1101" y="5246"/>
                      <a:pt x="1651" y="5020"/>
                      <a:pt x="2186" y="5081"/>
                    </a:cubicBezTo>
                    <a:close/>
                    <a:moveTo>
                      <a:pt x="10517" y="5081"/>
                    </a:moveTo>
                    <a:cubicBezTo>
                      <a:pt x="10342" y="5081"/>
                      <a:pt x="10202" y="5215"/>
                      <a:pt x="10202" y="5375"/>
                    </a:cubicBezTo>
                    <a:lnTo>
                      <a:pt x="10202" y="6417"/>
                    </a:lnTo>
                    <a:cubicBezTo>
                      <a:pt x="10202" y="6577"/>
                      <a:pt x="10342" y="6705"/>
                      <a:pt x="10517" y="6705"/>
                    </a:cubicBezTo>
                    <a:cubicBezTo>
                      <a:pt x="10692" y="6705"/>
                      <a:pt x="10839" y="6577"/>
                      <a:pt x="10839" y="6417"/>
                    </a:cubicBezTo>
                    <a:lnTo>
                      <a:pt x="10839" y="5375"/>
                    </a:lnTo>
                    <a:cubicBezTo>
                      <a:pt x="10839" y="5215"/>
                      <a:pt x="10692" y="5081"/>
                      <a:pt x="10517" y="5081"/>
                    </a:cubicBezTo>
                    <a:close/>
                    <a:moveTo>
                      <a:pt x="10530" y="7388"/>
                    </a:moveTo>
                    <a:cubicBezTo>
                      <a:pt x="10355" y="7388"/>
                      <a:pt x="10215" y="7515"/>
                      <a:pt x="10215" y="7675"/>
                    </a:cubicBezTo>
                    <a:lnTo>
                      <a:pt x="10215" y="8113"/>
                    </a:lnTo>
                    <a:lnTo>
                      <a:pt x="9322" y="8113"/>
                    </a:lnTo>
                    <a:cubicBezTo>
                      <a:pt x="8639" y="8113"/>
                      <a:pt x="8046" y="8470"/>
                      <a:pt x="7760" y="8994"/>
                    </a:cubicBezTo>
                    <a:lnTo>
                      <a:pt x="7399" y="8802"/>
                    </a:lnTo>
                    <a:cubicBezTo>
                      <a:pt x="7247" y="8721"/>
                      <a:pt x="7054" y="8772"/>
                      <a:pt x="6965" y="8910"/>
                    </a:cubicBezTo>
                    <a:cubicBezTo>
                      <a:pt x="6877" y="9048"/>
                      <a:pt x="6925" y="9224"/>
                      <a:pt x="7077" y="9305"/>
                    </a:cubicBezTo>
                    <a:lnTo>
                      <a:pt x="7576" y="9575"/>
                    </a:lnTo>
                    <a:cubicBezTo>
                      <a:pt x="7572" y="9618"/>
                      <a:pt x="7576" y="9662"/>
                      <a:pt x="7576" y="9707"/>
                    </a:cubicBezTo>
                    <a:lnTo>
                      <a:pt x="7576" y="11893"/>
                    </a:lnTo>
                    <a:cubicBezTo>
                      <a:pt x="7576" y="11938"/>
                      <a:pt x="7572" y="11982"/>
                      <a:pt x="7576" y="12025"/>
                    </a:cubicBezTo>
                    <a:lnTo>
                      <a:pt x="7077" y="12295"/>
                    </a:lnTo>
                    <a:cubicBezTo>
                      <a:pt x="6925" y="12376"/>
                      <a:pt x="6877" y="12552"/>
                      <a:pt x="6965" y="12690"/>
                    </a:cubicBezTo>
                    <a:cubicBezTo>
                      <a:pt x="7024" y="12783"/>
                      <a:pt x="7132" y="12834"/>
                      <a:pt x="7241" y="12834"/>
                    </a:cubicBezTo>
                    <a:cubicBezTo>
                      <a:pt x="7295" y="12834"/>
                      <a:pt x="7348" y="12819"/>
                      <a:pt x="7399" y="12792"/>
                    </a:cubicBezTo>
                    <a:lnTo>
                      <a:pt x="7760" y="12606"/>
                    </a:lnTo>
                    <a:cubicBezTo>
                      <a:pt x="8046" y="13130"/>
                      <a:pt x="8639" y="13487"/>
                      <a:pt x="9322" y="13487"/>
                    </a:cubicBezTo>
                    <a:lnTo>
                      <a:pt x="10215" y="13487"/>
                    </a:lnTo>
                    <a:lnTo>
                      <a:pt x="10215" y="13925"/>
                    </a:lnTo>
                    <a:cubicBezTo>
                      <a:pt x="10215" y="14085"/>
                      <a:pt x="10355" y="14212"/>
                      <a:pt x="10530" y="14212"/>
                    </a:cubicBezTo>
                    <a:cubicBezTo>
                      <a:pt x="10705" y="14212"/>
                      <a:pt x="10845" y="14085"/>
                      <a:pt x="10845" y="13925"/>
                    </a:cubicBezTo>
                    <a:lnTo>
                      <a:pt x="10845" y="13487"/>
                    </a:lnTo>
                    <a:lnTo>
                      <a:pt x="11718" y="13487"/>
                    </a:lnTo>
                    <a:cubicBezTo>
                      <a:pt x="12402" y="13487"/>
                      <a:pt x="12995" y="13130"/>
                      <a:pt x="13281" y="12606"/>
                    </a:cubicBezTo>
                    <a:lnTo>
                      <a:pt x="13635" y="12792"/>
                    </a:lnTo>
                    <a:cubicBezTo>
                      <a:pt x="13686" y="12819"/>
                      <a:pt x="13745" y="12834"/>
                      <a:pt x="13800" y="12834"/>
                    </a:cubicBezTo>
                    <a:cubicBezTo>
                      <a:pt x="13909" y="12834"/>
                      <a:pt x="14016" y="12783"/>
                      <a:pt x="14075" y="12690"/>
                    </a:cubicBezTo>
                    <a:cubicBezTo>
                      <a:pt x="14164" y="12552"/>
                      <a:pt x="14115" y="12376"/>
                      <a:pt x="13964" y="12295"/>
                    </a:cubicBezTo>
                    <a:lnTo>
                      <a:pt x="13458" y="12025"/>
                    </a:lnTo>
                    <a:cubicBezTo>
                      <a:pt x="13462" y="11982"/>
                      <a:pt x="13465" y="11938"/>
                      <a:pt x="13465" y="11893"/>
                    </a:cubicBezTo>
                    <a:lnTo>
                      <a:pt x="13465" y="9707"/>
                    </a:lnTo>
                    <a:cubicBezTo>
                      <a:pt x="13465" y="9662"/>
                      <a:pt x="13462" y="9618"/>
                      <a:pt x="13458" y="9575"/>
                    </a:cubicBezTo>
                    <a:lnTo>
                      <a:pt x="13964" y="9305"/>
                    </a:lnTo>
                    <a:cubicBezTo>
                      <a:pt x="14115" y="9224"/>
                      <a:pt x="14164" y="9048"/>
                      <a:pt x="14075" y="8910"/>
                    </a:cubicBezTo>
                    <a:cubicBezTo>
                      <a:pt x="13987" y="8772"/>
                      <a:pt x="13787" y="8721"/>
                      <a:pt x="13635" y="8802"/>
                    </a:cubicBezTo>
                    <a:lnTo>
                      <a:pt x="13281" y="8994"/>
                    </a:lnTo>
                    <a:cubicBezTo>
                      <a:pt x="12995" y="8470"/>
                      <a:pt x="12402" y="8113"/>
                      <a:pt x="11718" y="8113"/>
                    </a:cubicBezTo>
                    <a:lnTo>
                      <a:pt x="10845" y="8113"/>
                    </a:lnTo>
                    <a:lnTo>
                      <a:pt x="10845" y="7675"/>
                    </a:lnTo>
                    <a:cubicBezTo>
                      <a:pt x="10845" y="7515"/>
                      <a:pt x="10705" y="7388"/>
                      <a:pt x="10530" y="7388"/>
                    </a:cubicBezTo>
                    <a:close/>
                    <a:moveTo>
                      <a:pt x="5160" y="7687"/>
                    </a:moveTo>
                    <a:cubicBezTo>
                      <a:pt x="5081" y="7706"/>
                      <a:pt x="5007" y="7756"/>
                      <a:pt x="4963" y="7825"/>
                    </a:cubicBezTo>
                    <a:cubicBezTo>
                      <a:pt x="4874" y="7963"/>
                      <a:pt x="4923" y="8145"/>
                      <a:pt x="5074" y="8227"/>
                    </a:cubicBezTo>
                    <a:lnTo>
                      <a:pt x="6059" y="8754"/>
                    </a:lnTo>
                    <a:cubicBezTo>
                      <a:pt x="6210" y="8835"/>
                      <a:pt x="6410" y="8790"/>
                      <a:pt x="6499" y="8652"/>
                    </a:cubicBezTo>
                    <a:cubicBezTo>
                      <a:pt x="6588" y="8514"/>
                      <a:pt x="6532" y="8332"/>
                      <a:pt x="6381" y="8251"/>
                    </a:cubicBezTo>
                    <a:lnTo>
                      <a:pt x="5396" y="7723"/>
                    </a:lnTo>
                    <a:cubicBezTo>
                      <a:pt x="5321" y="7683"/>
                      <a:pt x="5238" y="7669"/>
                      <a:pt x="5160" y="7687"/>
                    </a:cubicBezTo>
                    <a:close/>
                    <a:moveTo>
                      <a:pt x="15881" y="7687"/>
                    </a:moveTo>
                    <a:cubicBezTo>
                      <a:pt x="15802" y="7669"/>
                      <a:pt x="15720" y="7683"/>
                      <a:pt x="15644" y="7723"/>
                    </a:cubicBezTo>
                    <a:lnTo>
                      <a:pt x="14653" y="8251"/>
                    </a:lnTo>
                    <a:cubicBezTo>
                      <a:pt x="14502" y="8332"/>
                      <a:pt x="14453" y="8514"/>
                      <a:pt x="14541" y="8652"/>
                    </a:cubicBezTo>
                    <a:cubicBezTo>
                      <a:pt x="14630" y="8790"/>
                      <a:pt x="14824" y="8835"/>
                      <a:pt x="14975" y="8754"/>
                    </a:cubicBezTo>
                    <a:lnTo>
                      <a:pt x="15966" y="8227"/>
                    </a:lnTo>
                    <a:cubicBezTo>
                      <a:pt x="16117" y="8145"/>
                      <a:pt x="16160" y="7963"/>
                      <a:pt x="16071" y="7825"/>
                    </a:cubicBezTo>
                    <a:cubicBezTo>
                      <a:pt x="16027" y="7756"/>
                      <a:pt x="15959" y="7706"/>
                      <a:pt x="15881" y="7687"/>
                    </a:cubicBezTo>
                    <a:close/>
                    <a:moveTo>
                      <a:pt x="9322" y="8688"/>
                    </a:moveTo>
                    <a:lnTo>
                      <a:pt x="11718" y="8688"/>
                    </a:lnTo>
                    <a:cubicBezTo>
                      <a:pt x="12331" y="8688"/>
                      <a:pt x="12828" y="9147"/>
                      <a:pt x="12828" y="9707"/>
                    </a:cubicBezTo>
                    <a:lnTo>
                      <a:pt x="12828" y="11893"/>
                    </a:lnTo>
                    <a:cubicBezTo>
                      <a:pt x="12828" y="12452"/>
                      <a:pt x="12331" y="12906"/>
                      <a:pt x="11718" y="12906"/>
                    </a:cubicBezTo>
                    <a:lnTo>
                      <a:pt x="9322" y="12906"/>
                    </a:lnTo>
                    <a:cubicBezTo>
                      <a:pt x="8710" y="12906"/>
                      <a:pt x="8206" y="12452"/>
                      <a:pt x="8206" y="11893"/>
                    </a:cubicBezTo>
                    <a:lnTo>
                      <a:pt x="8206" y="9707"/>
                    </a:lnTo>
                    <a:cubicBezTo>
                      <a:pt x="8206" y="9147"/>
                      <a:pt x="8710" y="8688"/>
                      <a:pt x="9322" y="8688"/>
                    </a:cubicBezTo>
                    <a:close/>
                    <a:moveTo>
                      <a:pt x="6302" y="12816"/>
                    </a:moveTo>
                    <a:cubicBezTo>
                      <a:pt x="6224" y="12798"/>
                      <a:pt x="6135" y="12806"/>
                      <a:pt x="6059" y="12846"/>
                    </a:cubicBezTo>
                    <a:lnTo>
                      <a:pt x="5074" y="13373"/>
                    </a:lnTo>
                    <a:cubicBezTo>
                      <a:pt x="4923" y="13455"/>
                      <a:pt x="4874" y="13637"/>
                      <a:pt x="4963" y="13775"/>
                    </a:cubicBezTo>
                    <a:cubicBezTo>
                      <a:pt x="5052" y="13913"/>
                      <a:pt x="5245" y="13958"/>
                      <a:pt x="5396" y="13877"/>
                    </a:cubicBezTo>
                    <a:lnTo>
                      <a:pt x="6381" y="13349"/>
                    </a:lnTo>
                    <a:cubicBezTo>
                      <a:pt x="6532" y="13268"/>
                      <a:pt x="6588" y="13086"/>
                      <a:pt x="6499" y="12948"/>
                    </a:cubicBezTo>
                    <a:cubicBezTo>
                      <a:pt x="6455" y="12879"/>
                      <a:pt x="6381" y="12835"/>
                      <a:pt x="6302" y="12816"/>
                    </a:cubicBezTo>
                    <a:close/>
                    <a:moveTo>
                      <a:pt x="14732" y="12816"/>
                    </a:moveTo>
                    <a:cubicBezTo>
                      <a:pt x="14653" y="12835"/>
                      <a:pt x="14586" y="12879"/>
                      <a:pt x="14541" y="12948"/>
                    </a:cubicBezTo>
                    <a:cubicBezTo>
                      <a:pt x="14452" y="13086"/>
                      <a:pt x="14502" y="13268"/>
                      <a:pt x="14653" y="13349"/>
                    </a:cubicBezTo>
                    <a:lnTo>
                      <a:pt x="15644" y="13877"/>
                    </a:lnTo>
                    <a:cubicBezTo>
                      <a:pt x="15795" y="13958"/>
                      <a:pt x="15982" y="13913"/>
                      <a:pt x="16071" y="13775"/>
                    </a:cubicBezTo>
                    <a:cubicBezTo>
                      <a:pt x="16160" y="13637"/>
                      <a:pt x="16117" y="13455"/>
                      <a:pt x="15966" y="13373"/>
                    </a:cubicBezTo>
                    <a:lnTo>
                      <a:pt x="14975" y="12846"/>
                    </a:lnTo>
                    <a:cubicBezTo>
                      <a:pt x="14899" y="12806"/>
                      <a:pt x="14810" y="12798"/>
                      <a:pt x="14732" y="12816"/>
                    </a:cubicBezTo>
                    <a:close/>
                    <a:moveTo>
                      <a:pt x="2225" y="13451"/>
                    </a:moveTo>
                    <a:cubicBezTo>
                      <a:pt x="1712" y="13403"/>
                      <a:pt x="1180" y="13538"/>
                      <a:pt x="748" y="13859"/>
                    </a:cubicBezTo>
                    <a:cubicBezTo>
                      <a:pt x="-20" y="14429"/>
                      <a:pt x="-226" y="15419"/>
                      <a:pt x="269" y="16201"/>
                    </a:cubicBezTo>
                    <a:cubicBezTo>
                      <a:pt x="831" y="17079"/>
                      <a:pt x="2069" y="17377"/>
                      <a:pt x="3033" y="16867"/>
                    </a:cubicBezTo>
                    <a:cubicBezTo>
                      <a:pt x="3890" y="16411"/>
                      <a:pt x="4258" y="15458"/>
                      <a:pt x="3899" y="14614"/>
                    </a:cubicBezTo>
                    <a:cubicBezTo>
                      <a:pt x="3899" y="14614"/>
                      <a:pt x="3906" y="14626"/>
                      <a:pt x="3906" y="14626"/>
                    </a:cubicBezTo>
                    <a:lnTo>
                      <a:pt x="4339" y="14398"/>
                    </a:lnTo>
                    <a:cubicBezTo>
                      <a:pt x="4491" y="14318"/>
                      <a:pt x="4545" y="14135"/>
                      <a:pt x="4457" y="13997"/>
                    </a:cubicBezTo>
                    <a:cubicBezTo>
                      <a:pt x="4370" y="13858"/>
                      <a:pt x="4176" y="13815"/>
                      <a:pt x="4024" y="13895"/>
                    </a:cubicBezTo>
                    <a:lnTo>
                      <a:pt x="3584" y="14122"/>
                    </a:lnTo>
                    <a:cubicBezTo>
                      <a:pt x="3233" y="13728"/>
                      <a:pt x="2739" y="13500"/>
                      <a:pt x="2225" y="13451"/>
                    </a:cubicBezTo>
                    <a:close/>
                    <a:moveTo>
                      <a:pt x="19341" y="13469"/>
                    </a:moveTo>
                    <a:cubicBezTo>
                      <a:pt x="18641" y="13366"/>
                      <a:pt x="17909" y="13599"/>
                      <a:pt x="17443" y="14128"/>
                    </a:cubicBezTo>
                    <a:cubicBezTo>
                      <a:pt x="17443" y="14128"/>
                      <a:pt x="17450" y="14116"/>
                      <a:pt x="17450" y="14116"/>
                    </a:cubicBezTo>
                    <a:lnTo>
                      <a:pt x="17017" y="13889"/>
                    </a:lnTo>
                    <a:cubicBezTo>
                      <a:pt x="16865" y="13809"/>
                      <a:pt x="16671" y="13858"/>
                      <a:pt x="16583" y="13997"/>
                    </a:cubicBezTo>
                    <a:cubicBezTo>
                      <a:pt x="16496" y="14135"/>
                      <a:pt x="16549" y="14312"/>
                      <a:pt x="16701" y="14392"/>
                    </a:cubicBezTo>
                    <a:lnTo>
                      <a:pt x="17135" y="14620"/>
                    </a:lnTo>
                    <a:cubicBezTo>
                      <a:pt x="16737" y="15570"/>
                      <a:pt x="17263" y="16636"/>
                      <a:pt x="18303" y="16998"/>
                    </a:cubicBezTo>
                    <a:cubicBezTo>
                      <a:pt x="19228" y="17321"/>
                      <a:pt x="20269" y="16984"/>
                      <a:pt x="20765" y="16201"/>
                    </a:cubicBezTo>
                    <a:cubicBezTo>
                      <a:pt x="21317" y="15318"/>
                      <a:pt x="20983" y="14191"/>
                      <a:pt x="20017" y="13685"/>
                    </a:cubicBezTo>
                    <a:cubicBezTo>
                      <a:pt x="19802" y="13573"/>
                      <a:pt x="19574" y="13504"/>
                      <a:pt x="19341" y="13469"/>
                    </a:cubicBezTo>
                    <a:close/>
                    <a:moveTo>
                      <a:pt x="19196" y="14021"/>
                    </a:moveTo>
                    <a:cubicBezTo>
                      <a:pt x="19374" y="14041"/>
                      <a:pt x="19550" y="14095"/>
                      <a:pt x="19715" y="14182"/>
                    </a:cubicBezTo>
                    <a:cubicBezTo>
                      <a:pt x="20375" y="14531"/>
                      <a:pt x="20601" y="15299"/>
                      <a:pt x="20220" y="15902"/>
                    </a:cubicBezTo>
                    <a:cubicBezTo>
                      <a:pt x="19837" y="16505"/>
                      <a:pt x="18991" y="16713"/>
                      <a:pt x="18330" y="16363"/>
                    </a:cubicBezTo>
                    <a:cubicBezTo>
                      <a:pt x="17670" y="16014"/>
                      <a:pt x="17444" y="15247"/>
                      <a:pt x="17824" y="14644"/>
                    </a:cubicBezTo>
                    <a:cubicBezTo>
                      <a:pt x="18111" y="14191"/>
                      <a:pt x="18661" y="13959"/>
                      <a:pt x="19196" y="14021"/>
                    </a:cubicBezTo>
                    <a:close/>
                    <a:moveTo>
                      <a:pt x="1858" y="14039"/>
                    </a:moveTo>
                    <a:cubicBezTo>
                      <a:pt x="2392" y="13978"/>
                      <a:pt x="2936" y="14204"/>
                      <a:pt x="3223" y="14656"/>
                    </a:cubicBezTo>
                    <a:cubicBezTo>
                      <a:pt x="3604" y="15260"/>
                      <a:pt x="3373" y="16033"/>
                      <a:pt x="2711" y="16381"/>
                    </a:cubicBezTo>
                    <a:cubicBezTo>
                      <a:pt x="2050" y="16728"/>
                      <a:pt x="1209" y="16522"/>
                      <a:pt x="827" y="15920"/>
                    </a:cubicBezTo>
                    <a:cubicBezTo>
                      <a:pt x="446" y="15316"/>
                      <a:pt x="670" y="14542"/>
                      <a:pt x="1332" y="14194"/>
                    </a:cubicBezTo>
                    <a:cubicBezTo>
                      <a:pt x="1498" y="14108"/>
                      <a:pt x="1680" y="14059"/>
                      <a:pt x="1858" y="14039"/>
                    </a:cubicBezTo>
                    <a:close/>
                    <a:moveTo>
                      <a:pt x="10517" y="14889"/>
                    </a:moveTo>
                    <a:cubicBezTo>
                      <a:pt x="10342" y="14889"/>
                      <a:pt x="10202" y="15017"/>
                      <a:pt x="10202" y="15177"/>
                    </a:cubicBezTo>
                    <a:lnTo>
                      <a:pt x="10202" y="16225"/>
                    </a:lnTo>
                    <a:cubicBezTo>
                      <a:pt x="10202" y="16385"/>
                      <a:pt x="10342" y="16513"/>
                      <a:pt x="10517" y="16513"/>
                    </a:cubicBezTo>
                    <a:cubicBezTo>
                      <a:pt x="10692" y="16513"/>
                      <a:pt x="10839" y="16385"/>
                      <a:pt x="10839" y="16225"/>
                    </a:cubicBezTo>
                    <a:lnTo>
                      <a:pt x="10839" y="15177"/>
                    </a:lnTo>
                    <a:cubicBezTo>
                      <a:pt x="10839" y="15017"/>
                      <a:pt x="10692" y="14889"/>
                      <a:pt x="10517" y="14889"/>
                    </a:cubicBezTo>
                    <a:close/>
                    <a:moveTo>
                      <a:pt x="10524" y="17190"/>
                    </a:moveTo>
                    <a:cubicBezTo>
                      <a:pt x="10348" y="17190"/>
                      <a:pt x="10202" y="17324"/>
                      <a:pt x="10202" y="17484"/>
                    </a:cubicBezTo>
                    <a:lnTo>
                      <a:pt x="10202" y="17945"/>
                    </a:lnTo>
                    <a:cubicBezTo>
                      <a:pt x="9102" y="18106"/>
                      <a:pt x="8358" y="19050"/>
                      <a:pt x="8534" y="20054"/>
                    </a:cubicBezTo>
                    <a:cubicBezTo>
                      <a:pt x="8691" y="20946"/>
                      <a:pt x="9533" y="21599"/>
                      <a:pt x="10524" y="21600"/>
                    </a:cubicBezTo>
                    <a:cubicBezTo>
                      <a:pt x="11638" y="21594"/>
                      <a:pt x="12535" y="20771"/>
                      <a:pt x="12533" y="19755"/>
                    </a:cubicBezTo>
                    <a:cubicBezTo>
                      <a:pt x="12529" y="18849"/>
                      <a:pt x="11806" y="18077"/>
                      <a:pt x="10826" y="17939"/>
                    </a:cubicBezTo>
                    <a:cubicBezTo>
                      <a:pt x="10826" y="17939"/>
                      <a:pt x="10839" y="17939"/>
                      <a:pt x="10839" y="17939"/>
                    </a:cubicBezTo>
                    <a:lnTo>
                      <a:pt x="10839" y="17484"/>
                    </a:lnTo>
                    <a:cubicBezTo>
                      <a:pt x="10839" y="17324"/>
                      <a:pt x="10699" y="17190"/>
                      <a:pt x="10524" y="17190"/>
                    </a:cubicBezTo>
                    <a:close/>
                    <a:moveTo>
                      <a:pt x="10530" y="18496"/>
                    </a:moveTo>
                    <a:cubicBezTo>
                      <a:pt x="11294" y="18497"/>
                      <a:pt x="11910" y="19063"/>
                      <a:pt x="11909" y="19761"/>
                    </a:cubicBezTo>
                    <a:cubicBezTo>
                      <a:pt x="11908" y="20456"/>
                      <a:pt x="11293" y="21024"/>
                      <a:pt x="10530" y="21025"/>
                    </a:cubicBezTo>
                    <a:cubicBezTo>
                      <a:pt x="9766" y="21024"/>
                      <a:pt x="9144" y="20458"/>
                      <a:pt x="9145" y="19761"/>
                    </a:cubicBezTo>
                    <a:cubicBezTo>
                      <a:pt x="9146" y="19065"/>
                      <a:pt x="9768" y="18497"/>
                      <a:pt x="10530" y="18496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rgbClr val="FFFFFF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F7DD05F9-5111-47F7-BFD3-71B58D84FB84}"/>
                  </a:ext>
                </a:extLst>
              </p:cNvPr>
              <p:cNvSpPr/>
              <p:nvPr/>
            </p:nvSpPr>
            <p:spPr>
              <a:xfrm>
                <a:off x="5987644" y="5179342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A2951D5B-41AB-74A6-DA7A-0DA29F0F4AB7}"/>
                  </a:ext>
                </a:extLst>
              </p:cNvPr>
              <p:cNvSpPr/>
              <p:nvPr/>
            </p:nvSpPr>
            <p:spPr>
              <a:xfrm>
                <a:off x="10067322" y="5111810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Google Shape;1289;p42">
                <a:extLst>
                  <a:ext uri="{FF2B5EF4-FFF2-40B4-BE49-F238E27FC236}">
                    <a16:creationId xmlns:a16="http://schemas.microsoft.com/office/drawing/2014/main" id="{E808E6E3-CF68-BE3F-3306-502E86A421F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137428" y="5325129"/>
                <a:ext cx="395506" cy="3953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29" h="21561" extrusionOk="0">
                    <a:moveTo>
                      <a:pt x="2333" y="17662"/>
                    </a:moveTo>
                    <a:cubicBezTo>
                      <a:pt x="2051" y="17674"/>
                      <a:pt x="1776" y="17573"/>
                      <a:pt x="1568" y="17383"/>
                    </a:cubicBezTo>
                    <a:cubicBezTo>
                      <a:pt x="895" y="16708"/>
                      <a:pt x="698" y="15663"/>
                      <a:pt x="639" y="15099"/>
                    </a:cubicBezTo>
                    <a:cubicBezTo>
                      <a:pt x="631" y="15013"/>
                      <a:pt x="693" y="14937"/>
                      <a:pt x="778" y="14929"/>
                    </a:cubicBezTo>
                    <a:cubicBezTo>
                      <a:pt x="783" y="14928"/>
                      <a:pt x="789" y="14928"/>
                      <a:pt x="794" y="14928"/>
                    </a:cubicBezTo>
                    <a:lnTo>
                      <a:pt x="811" y="14928"/>
                    </a:lnTo>
                    <a:cubicBezTo>
                      <a:pt x="1367" y="14985"/>
                      <a:pt x="2393" y="15178"/>
                      <a:pt x="3066" y="15832"/>
                    </a:cubicBezTo>
                    <a:lnTo>
                      <a:pt x="3080" y="15849"/>
                    </a:lnTo>
                    <a:cubicBezTo>
                      <a:pt x="3397" y="16195"/>
                      <a:pt x="3456" y="16704"/>
                      <a:pt x="3227" y="17113"/>
                    </a:cubicBezTo>
                    <a:cubicBezTo>
                      <a:pt x="3017" y="16822"/>
                      <a:pt x="2768" y="16561"/>
                      <a:pt x="2488" y="16338"/>
                    </a:cubicBezTo>
                    <a:cubicBezTo>
                      <a:pt x="2356" y="16228"/>
                      <a:pt x="2161" y="16246"/>
                      <a:pt x="2051" y="16377"/>
                    </a:cubicBezTo>
                    <a:cubicBezTo>
                      <a:pt x="1942" y="16509"/>
                      <a:pt x="1960" y="16705"/>
                      <a:pt x="2091" y="16814"/>
                    </a:cubicBezTo>
                    <a:cubicBezTo>
                      <a:pt x="2101" y="16822"/>
                      <a:pt x="2111" y="16830"/>
                      <a:pt x="2122" y="16837"/>
                    </a:cubicBezTo>
                    <a:cubicBezTo>
                      <a:pt x="2370" y="17043"/>
                      <a:pt x="2590" y="17281"/>
                      <a:pt x="2775" y="17544"/>
                    </a:cubicBezTo>
                    <a:cubicBezTo>
                      <a:pt x="2638" y="17615"/>
                      <a:pt x="2487" y="17656"/>
                      <a:pt x="2333" y="17662"/>
                    </a:cubicBezTo>
                    <a:cubicBezTo>
                      <a:pt x="2333" y="17662"/>
                      <a:pt x="2333" y="17662"/>
                      <a:pt x="2333" y="17662"/>
                    </a:cubicBezTo>
                    <a:close/>
                    <a:moveTo>
                      <a:pt x="5294" y="15849"/>
                    </a:moveTo>
                    <a:lnTo>
                      <a:pt x="5308" y="15832"/>
                    </a:lnTo>
                    <a:cubicBezTo>
                      <a:pt x="5981" y="15178"/>
                      <a:pt x="7011" y="14985"/>
                      <a:pt x="7563" y="14928"/>
                    </a:cubicBezTo>
                    <a:cubicBezTo>
                      <a:pt x="7648" y="14919"/>
                      <a:pt x="7724" y="14981"/>
                      <a:pt x="7733" y="15066"/>
                    </a:cubicBezTo>
                    <a:cubicBezTo>
                      <a:pt x="7735" y="15077"/>
                      <a:pt x="7735" y="15088"/>
                      <a:pt x="7733" y="15099"/>
                    </a:cubicBezTo>
                    <a:cubicBezTo>
                      <a:pt x="7676" y="15663"/>
                      <a:pt x="7480" y="16708"/>
                      <a:pt x="6816" y="17375"/>
                    </a:cubicBezTo>
                    <a:cubicBezTo>
                      <a:pt x="6485" y="17683"/>
                      <a:pt x="5997" y="17751"/>
                      <a:pt x="5596" y="17544"/>
                    </a:cubicBezTo>
                    <a:cubicBezTo>
                      <a:pt x="5781" y="17279"/>
                      <a:pt x="6002" y="17042"/>
                      <a:pt x="6254" y="16839"/>
                    </a:cubicBezTo>
                    <a:cubicBezTo>
                      <a:pt x="6388" y="16733"/>
                      <a:pt x="6412" y="16538"/>
                      <a:pt x="6306" y="16403"/>
                    </a:cubicBezTo>
                    <a:cubicBezTo>
                      <a:pt x="6205" y="16274"/>
                      <a:pt x="6021" y="16246"/>
                      <a:pt x="5887" y="16339"/>
                    </a:cubicBezTo>
                    <a:cubicBezTo>
                      <a:pt x="5606" y="16563"/>
                      <a:pt x="5357" y="16824"/>
                      <a:pt x="5147" y="17115"/>
                    </a:cubicBezTo>
                    <a:cubicBezTo>
                      <a:pt x="4918" y="16705"/>
                      <a:pt x="4977" y="16195"/>
                      <a:pt x="5294" y="15849"/>
                    </a:cubicBezTo>
                    <a:cubicBezTo>
                      <a:pt x="5294" y="15849"/>
                      <a:pt x="5294" y="15849"/>
                      <a:pt x="5294" y="15849"/>
                    </a:cubicBezTo>
                    <a:close/>
                    <a:moveTo>
                      <a:pt x="8153" y="10232"/>
                    </a:moveTo>
                    <a:cubicBezTo>
                      <a:pt x="7480" y="9557"/>
                      <a:pt x="7283" y="8512"/>
                      <a:pt x="7224" y="7948"/>
                    </a:cubicBezTo>
                    <a:cubicBezTo>
                      <a:pt x="7216" y="7862"/>
                      <a:pt x="7278" y="7786"/>
                      <a:pt x="7363" y="7778"/>
                    </a:cubicBezTo>
                    <a:cubicBezTo>
                      <a:pt x="7368" y="7777"/>
                      <a:pt x="7374" y="7777"/>
                      <a:pt x="7379" y="7777"/>
                    </a:cubicBezTo>
                    <a:lnTo>
                      <a:pt x="7396" y="7777"/>
                    </a:lnTo>
                    <a:cubicBezTo>
                      <a:pt x="7952" y="7834"/>
                      <a:pt x="8978" y="8027"/>
                      <a:pt x="9651" y="8681"/>
                    </a:cubicBezTo>
                    <a:cubicBezTo>
                      <a:pt x="9656" y="8688"/>
                      <a:pt x="9661" y="8693"/>
                      <a:pt x="9667" y="8698"/>
                    </a:cubicBezTo>
                    <a:cubicBezTo>
                      <a:pt x="9982" y="9044"/>
                      <a:pt x="10041" y="9554"/>
                      <a:pt x="9812" y="9962"/>
                    </a:cubicBezTo>
                    <a:cubicBezTo>
                      <a:pt x="9602" y="9672"/>
                      <a:pt x="9354" y="9411"/>
                      <a:pt x="9074" y="9187"/>
                    </a:cubicBezTo>
                    <a:cubicBezTo>
                      <a:pt x="8936" y="9085"/>
                      <a:pt x="8742" y="9114"/>
                      <a:pt x="8641" y="9252"/>
                    </a:cubicBezTo>
                    <a:cubicBezTo>
                      <a:pt x="8539" y="9390"/>
                      <a:pt x="8568" y="9584"/>
                      <a:pt x="8706" y="9686"/>
                    </a:cubicBezTo>
                    <a:cubicBezTo>
                      <a:pt x="8957" y="9890"/>
                      <a:pt x="9179" y="10127"/>
                      <a:pt x="9365" y="10392"/>
                    </a:cubicBezTo>
                    <a:cubicBezTo>
                      <a:pt x="8967" y="10597"/>
                      <a:pt x="8484" y="10533"/>
                      <a:pt x="8153" y="10232"/>
                    </a:cubicBezTo>
                    <a:cubicBezTo>
                      <a:pt x="8153" y="10232"/>
                      <a:pt x="8153" y="10232"/>
                      <a:pt x="8153" y="10232"/>
                    </a:cubicBezTo>
                    <a:close/>
                    <a:moveTo>
                      <a:pt x="11879" y="8698"/>
                    </a:moveTo>
                    <a:lnTo>
                      <a:pt x="11893" y="8683"/>
                    </a:lnTo>
                    <a:cubicBezTo>
                      <a:pt x="12566" y="8027"/>
                      <a:pt x="13595" y="7834"/>
                      <a:pt x="14148" y="7777"/>
                    </a:cubicBezTo>
                    <a:cubicBezTo>
                      <a:pt x="14233" y="7768"/>
                      <a:pt x="14309" y="7830"/>
                      <a:pt x="14318" y="7915"/>
                    </a:cubicBezTo>
                    <a:cubicBezTo>
                      <a:pt x="14319" y="7926"/>
                      <a:pt x="14319" y="7937"/>
                      <a:pt x="14318" y="7948"/>
                    </a:cubicBezTo>
                    <a:cubicBezTo>
                      <a:pt x="14261" y="8512"/>
                      <a:pt x="14064" y="9557"/>
                      <a:pt x="13400" y="10224"/>
                    </a:cubicBezTo>
                    <a:cubicBezTo>
                      <a:pt x="13071" y="10530"/>
                      <a:pt x="12586" y="10598"/>
                      <a:pt x="12185" y="10395"/>
                    </a:cubicBezTo>
                    <a:cubicBezTo>
                      <a:pt x="12370" y="10131"/>
                      <a:pt x="12590" y="9893"/>
                      <a:pt x="12838" y="9688"/>
                    </a:cubicBezTo>
                    <a:cubicBezTo>
                      <a:pt x="12973" y="9582"/>
                      <a:pt x="12997" y="9387"/>
                      <a:pt x="12891" y="9252"/>
                    </a:cubicBezTo>
                    <a:cubicBezTo>
                      <a:pt x="12790" y="9123"/>
                      <a:pt x="12606" y="9095"/>
                      <a:pt x="12472" y="9188"/>
                    </a:cubicBezTo>
                    <a:cubicBezTo>
                      <a:pt x="12192" y="9413"/>
                      <a:pt x="11943" y="9673"/>
                      <a:pt x="11732" y="9964"/>
                    </a:cubicBezTo>
                    <a:cubicBezTo>
                      <a:pt x="11503" y="9554"/>
                      <a:pt x="11562" y="9044"/>
                      <a:pt x="11879" y="8698"/>
                    </a:cubicBezTo>
                    <a:cubicBezTo>
                      <a:pt x="11879" y="8698"/>
                      <a:pt x="11879" y="8698"/>
                      <a:pt x="11879" y="8698"/>
                    </a:cubicBezTo>
                    <a:close/>
                    <a:moveTo>
                      <a:pt x="12291" y="14685"/>
                    </a:moveTo>
                    <a:lnTo>
                      <a:pt x="12301" y="14677"/>
                    </a:lnTo>
                    <a:cubicBezTo>
                      <a:pt x="12632" y="14517"/>
                      <a:pt x="13000" y="14454"/>
                      <a:pt x="13365" y="14495"/>
                    </a:cubicBezTo>
                    <a:cubicBezTo>
                      <a:pt x="13415" y="14498"/>
                      <a:pt x="13461" y="14527"/>
                      <a:pt x="13486" y="14571"/>
                    </a:cubicBezTo>
                    <a:cubicBezTo>
                      <a:pt x="13509" y="14616"/>
                      <a:pt x="13509" y="14670"/>
                      <a:pt x="13486" y="14716"/>
                    </a:cubicBezTo>
                    <a:cubicBezTo>
                      <a:pt x="13337" y="15056"/>
                      <a:pt x="13094" y="15348"/>
                      <a:pt x="12786" y="15555"/>
                    </a:cubicBezTo>
                    <a:cubicBezTo>
                      <a:pt x="12543" y="15688"/>
                      <a:pt x="12238" y="15599"/>
                      <a:pt x="12105" y="15356"/>
                    </a:cubicBezTo>
                    <a:cubicBezTo>
                      <a:pt x="11976" y="15120"/>
                      <a:pt x="12055" y="14824"/>
                      <a:pt x="12284" y="14685"/>
                    </a:cubicBezTo>
                    <a:cubicBezTo>
                      <a:pt x="12284" y="14685"/>
                      <a:pt x="12291" y="14685"/>
                      <a:pt x="12291" y="14685"/>
                    </a:cubicBezTo>
                    <a:close/>
                    <a:moveTo>
                      <a:pt x="15715" y="18484"/>
                    </a:moveTo>
                    <a:cubicBezTo>
                      <a:pt x="15592" y="18523"/>
                      <a:pt x="15458" y="18512"/>
                      <a:pt x="15343" y="18455"/>
                    </a:cubicBezTo>
                    <a:cubicBezTo>
                      <a:pt x="15031" y="18246"/>
                      <a:pt x="14785" y="17952"/>
                      <a:pt x="14636" y="17608"/>
                    </a:cubicBezTo>
                    <a:cubicBezTo>
                      <a:pt x="14612" y="17563"/>
                      <a:pt x="14612" y="17509"/>
                      <a:pt x="14636" y="17464"/>
                    </a:cubicBezTo>
                    <a:cubicBezTo>
                      <a:pt x="14661" y="17420"/>
                      <a:pt x="14706" y="17392"/>
                      <a:pt x="14756" y="17388"/>
                    </a:cubicBezTo>
                    <a:cubicBezTo>
                      <a:pt x="14821" y="17388"/>
                      <a:pt x="14893" y="17380"/>
                      <a:pt x="14967" y="17380"/>
                    </a:cubicBezTo>
                    <a:cubicBezTo>
                      <a:pt x="15263" y="17371"/>
                      <a:pt x="15556" y="17436"/>
                      <a:pt x="15821" y="17569"/>
                    </a:cubicBezTo>
                    <a:lnTo>
                      <a:pt x="15832" y="17569"/>
                    </a:lnTo>
                    <a:cubicBezTo>
                      <a:pt x="16067" y="17717"/>
                      <a:pt x="16137" y="18027"/>
                      <a:pt x="15990" y="18262"/>
                    </a:cubicBezTo>
                    <a:cubicBezTo>
                      <a:pt x="15926" y="18364"/>
                      <a:pt x="15828" y="18439"/>
                      <a:pt x="15713" y="18475"/>
                    </a:cubicBezTo>
                    <a:cubicBezTo>
                      <a:pt x="15713" y="18475"/>
                      <a:pt x="15715" y="18484"/>
                      <a:pt x="15715" y="18484"/>
                    </a:cubicBezTo>
                    <a:close/>
                    <a:moveTo>
                      <a:pt x="15502" y="3360"/>
                    </a:moveTo>
                    <a:cubicBezTo>
                      <a:pt x="15221" y="3373"/>
                      <a:pt x="14945" y="3273"/>
                      <a:pt x="14738" y="3081"/>
                    </a:cubicBezTo>
                    <a:cubicBezTo>
                      <a:pt x="14066" y="2406"/>
                      <a:pt x="13869" y="1361"/>
                      <a:pt x="13809" y="798"/>
                    </a:cubicBezTo>
                    <a:cubicBezTo>
                      <a:pt x="13803" y="751"/>
                      <a:pt x="13819" y="705"/>
                      <a:pt x="13852" y="671"/>
                    </a:cubicBezTo>
                    <a:cubicBezTo>
                      <a:pt x="13882" y="642"/>
                      <a:pt x="13921" y="626"/>
                      <a:pt x="13962" y="626"/>
                    </a:cubicBezTo>
                    <a:lnTo>
                      <a:pt x="13979" y="626"/>
                    </a:lnTo>
                    <a:cubicBezTo>
                      <a:pt x="14535" y="684"/>
                      <a:pt x="15560" y="877"/>
                      <a:pt x="16233" y="1530"/>
                    </a:cubicBezTo>
                    <a:lnTo>
                      <a:pt x="16249" y="1549"/>
                    </a:lnTo>
                    <a:cubicBezTo>
                      <a:pt x="16564" y="1894"/>
                      <a:pt x="16623" y="2403"/>
                      <a:pt x="16396" y="2811"/>
                    </a:cubicBezTo>
                    <a:cubicBezTo>
                      <a:pt x="16184" y="2521"/>
                      <a:pt x="15935" y="2261"/>
                      <a:pt x="15656" y="2036"/>
                    </a:cubicBezTo>
                    <a:cubicBezTo>
                      <a:pt x="15518" y="1934"/>
                      <a:pt x="15324" y="1964"/>
                      <a:pt x="15222" y="2103"/>
                    </a:cubicBezTo>
                    <a:cubicBezTo>
                      <a:pt x="15121" y="2241"/>
                      <a:pt x="15151" y="2435"/>
                      <a:pt x="15289" y="2537"/>
                    </a:cubicBezTo>
                    <a:cubicBezTo>
                      <a:pt x="15538" y="2741"/>
                      <a:pt x="15758" y="2979"/>
                      <a:pt x="15942" y="3244"/>
                    </a:cubicBezTo>
                    <a:cubicBezTo>
                      <a:pt x="15805" y="3313"/>
                      <a:pt x="15656" y="3353"/>
                      <a:pt x="15502" y="3360"/>
                    </a:cubicBezTo>
                    <a:close/>
                    <a:moveTo>
                      <a:pt x="18464" y="1549"/>
                    </a:moveTo>
                    <a:lnTo>
                      <a:pt x="18478" y="1532"/>
                    </a:lnTo>
                    <a:cubicBezTo>
                      <a:pt x="19151" y="877"/>
                      <a:pt x="20180" y="684"/>
                      <a:pt x="20733" y="628"/>
                    </a:cubicBezTo>
                    <a:cubicBezTo>
                      <a:pt x="20818" y="619"/>
                      <a:pt x="20894" y="680"/>
                      <a:pt x="20903" y="766"/>
                    </a:cubicBezTo>
                    <a:cubicBezTo>
                      <a:pt x="20904" y="776"/>
                      <a:pt x="20904" y="787"/>
                      <a:pt x="20903" y="798"/>
                    </a:cubicBezTo>
                    <a:cubicBezTo>
                      <a:pt x="20846" y="1361"/>
                      <a:pt x="20649" y="2407"/>
                      <a:pt x="19985" y="3073"/>
                    </a:cubicBezTo>
                    <a:cubicBezTo>
                      <a:pt x="19776" y="3269"/>
                      <a:pt x="19497" y="3373"/>
                      <a:pt x="19211" y="3360"/>
                    </a:cubicBezTo>
                    <a:cubicBezTo>
                      <a:pt x="19057" y="3354"/>
                      <a:pt x="18906" y="3315"/>
                      <a:pt x="18769" y="3246"/>
                    </a:cubicBezTo>
                    <a:cubicBezTo>
                      <a:pt x="18954" y="2981"/>
                      <a:pt x="19174" y="2743"/>
                      <a:pt x="19422" y="2537"/>
                    </a:cubicBezTo>
                    <a:cubicBezTo>
                      <a:pt x="19563" y="2440"/>
                      <a:pt x="19598" y="2246"/>
                      <a:pt x="19501" y="2105"/>
                    </a:cubicBezTo>
                    <a:cubicBezTo>
                      <a:pt x="19404" y="1964"/>
                      <a:pt x="19211" y="1929"/>
                      <a:pt x="19070" y="2026"/>
                    </a:cubicBezTo>
                    <a:cubicBezTo>
                      <a:pt x="19065" y="2030"/>
                      <a:pt x="19060" y="2034"/>
                      <a:pt x="19055" y="2037"/>
                    </a:cubicBezTo>
                    <a:cubicBezTo>
                      <a:pt x="18775" y="2262"/>
                      <a:pt x="18527" y="2523"/>
                      <a:pt x="18315" y="2813"/>
                    </a:cubicBezTo>
                    <a:cubicBezTo>
                      <a:pt x="18087" y="2404"/>
                      <a:pt x="18147" y="1894"/>
                      <a:pt x="18464" y="1549"/>
                    </a:cubicBezTo>
                    <a:close/>
                    <a:moveTo>
                      <a:pt x="19101" y="8984"/>
                    </a:moveTo>
                    <a:lnTo>
                      <a:pt x="19115" y="8973"/>
                    </a:lnTo>
                    <a:cubicBezTo>
                      <a:pt x="19620" y="8633"/>
                      <a:pt x="20275" y="8584"/>
                      <a:pt x="20739" y="8601"/>
                    </a:cubicBezTo>
                    <a:cubicBezTo>
                      <a:pt x="20787" y="8602"/>
                      <a:pt x="20832" y="8626"/>
                      <a:pt x="20860" y="8666"/>
                    </a:cubicBezTo>
                    <a:cubicBezTo>
                      <a:pt x="20887" y="8706"/>
                      <a:pt x="20895" y="8756"/>
                      <a:pt x="20880" y="8802"/>
                    </a:cubicBezTo>
                    <a:cubicBezTo>
                      <a:pt x="20736" y="9252"/>
                      <a:pt x="20457" y="9863"/>
                      <a:pt x="19960" y="10213"/>
                    </a:cubicBezTo>
                    <a:cubicBezTo>
                      <a:pt x="19794" y="10321"/>
                      <a:pt x="19591" y="10358"/>
                      <a:pt x="19397" y="10316"/>
                    </a:cubicBezTo>
                    <a:cubicBezTo>
                      <a:pt x="19328" y="10300"/>
                      <a:pt x="19262" y="10274"/>
                      <a:pt x="19200" y="10240"/>
                    </a:cubicBezTo>
                    <a:cubicBezTo>
                      <a:pt x="19364" y="10103"/>
                      <a:pt x="19540" y="9983"/>
                      <a:pt x="19727" y="9880"/>
                    </a:cubicBezTo>
                    <a:cubicBezTo>
                      <a:pt x="19882" y="9808"/>
                      <a:pt x="19949" y="9623"/>
                      <a:pt x="19876" y="9468"/>
                    </a:cubicBezTo>
                    <a:cubicBezTo>
                      <a:pt x="19804" y="9313"/>
                      <a:pt x="19620" y="9245"/>
                      <a:pt x="19465" y="9318"/>
                    </a:cubicBezTo>
                    <a:cubicBezTo>
                      <a:pt x="19459" y="9321"/>
                      <a:pt x="19454" y="9323"/>
                      <a:pt x="19448" y="9326"/>
                    </a:cubicBezTo>
                    <a:cubicBezTo>
                      <a:pt x="19228" y="9446"/>
                      <a:pt x="19021" y="9586"/>
                      <a:pt x="18829" y="9747"/>
                    </a:cubicBezTo>
                    <a:cubicBezTo>
                      <a:pt x="18765" y="9461"/>
                      <a:pt x="18871" y="9164"/>
                      <a:pt x="19101" y="8984"/>
                    </a:cubicBezTo>
                    <a:close/>
                    <a:moveTo>
                      <a:pt x="21214" y="20942"/>
                    </a:moveTo>
                    <a:lnTo>
                      <a:pt x="17666" y="20942"/>
                    </a:lnTo>
                    <a:lnTo>
                      <a:pt x="17666" y="13551"/>
                    </a:lnTo>
                    <a:cubicBezTo>
                      <a:pt x="17647" y="12493"/>
                      <a:pt x="18030" y="11466"/>
                      <a:pt x="18738" y="10680"/>
                    </a:cubicBezTo>
                    <a:cubicBezTo>
                      <a:pt x="18894" y="10798"/>
                      <a:pt x="19074" y="10881"/>
                      <a:pt x="19265" y="10922"/>
                    </a:cubicBezTo>
                    <a:cubicBezTo>
                      <a:pt x="19361" y="10943"/>
                      <a:pt x="19459" y="10953"/>
                      <a:pt x="19556" y="10953"/>
                    </a:cubicBezTo>
                    <a:cubicBezTo>
                      <a:pt x="19823" y="10952"/>
                      <a:pt x="20083" y="10874"/>
                      <a:pt x="20306" y="10728"/>
                    </a:cubicBezTo>
                    <a:cubicBezTo>
                      <a:pt x="20954" y="10272"/>
                      <a:pt x="21296" y="9531"/>
                      <a:pt x="21470" y="8991"/>
                    </a:cubicBezTo>
                    <a:cubicBezTo>
                      <a:pt x="21600" y="8584"/>
                      <a:pt x="21376" y="8147"/>
                      <a:pt x="20969" y="8017"/>
                    </a:cubicBezTo>
                    <a:cubicBezTo>
                      <a:pt x="20902" y="7995"/>
                      <a:pt x="20833" y="7983"/>
                      <a:pt x="20764" y="7980"/>
                    </a:cubicBezTo>
                    <a:cubicBezTo>
                      <a:pt x="20197" y="7957"/>
                      <a:pt x="19385" y="8027"/>
                      <a:pt x="18736" y="8481"/>
                    </a:cubicBezTo>
                    <a:lnTo>
                      <a:pt x="18699" y="8512"/>
                    </a:lnTo>
                    <a:cubicBezTo>
                      <a:pt x="18196" y="8920"/>
                      <a:pt x="18045" y="9624"/>
                      <a:pt x="18335" y="10203"/>
                    </a:cubicBezTo>
                    <a:cubicBezTo>
                      <a:pt x="18078" y="10478"/>
                      <a:pt x="17853" y="10782"/>
                      <a:pt x="17666" y="11110"/>
                    </a:cubicBezTo>
                    <a:lnTo>
                      <a:pt x="17666" y="6951"/>
                    </a:lnTo>
                    <a:cubicBezTo>
                      <a:pt x="17648" y="5841"/>
                      <a:pt x="17914" y="4746"/>
                      <a:pt x="18440" y="3770"/>
                    </a:cubicBezTo>
                    <a:cubicBezTo>
                      <a:pt x="18672" y="3898"/>
                      <a:pt x="18931" y="3969"/>
                      <a:pt x="19196" y="3979"/>
                    </a:cubicBezTo>
                    <a:lnTo>
                      <a:pt x="19262" y="3979"/>
                    </a:lnTo>
                    <a:cubicBezTo>
                      <a:pt x="19694" y="3977"/>
                      <a:pt x="20108" y="3810"/>
                      <a:pt x="20422" y="3514"/>
                    </a:cubicBezTo>
                    <a:cubicBezTo>
                      <a:pt x="21230" y="2704"/>
                      <a:pt x="21460" y="1498"/>
                      <a:pt x="21525" y="854"/>
                    </a:cubicBezTo>
                    <a:cubicBezTo>
                      <a:pt x="21569" y="428"/>
                      <a:pt x="21259" y="48"/>
                      <a:pt x="20834" y="4"/>
                    </a:cubicBezTo>
                    <a:cubicBezTo>
                      <a:pt x="20782" y="-1"/>
                      <a:pt x="20729" y="-1"/>
                      <a:pt x="20677" y="4"/>
                    </a:cubicBezTo>
                    <a:cubicBezTo>
                      <a:pt x="20032" y="69"/>
                      <a:pt x="18831" y="301"/>
                      <a:pt x="18022" y="1110"/>
                    </a:cubicBezTo>
                    <a:cubicBezTo>
                      <a:pt x="18010" y="1123"/>
                      <a:pt x="17999" y="1136"/>
                      <a:pt x="17988" y="1150"/>
                    </a:cubicBezTo>
                    <a:cubicBezTo>
                      <a:pt x="17439" y="1779"/>
                      <a:pt x="17425" y="2714"/>
                      <a:pt x="17956" y="3359"/>
                    </a:cubicBezTo>
                    <a:cubicBezTo>
                      <a:pt x="17705" y="3790"/>
                      <a:pt x="17506" y="4250"/>
                      <a:pt x="17365" y="4728"/>
                    </a:cubicBezTo>
                    <a:cubicBezTo>
                      <a:pt x="17222" y="4250"/>
                      <a:pt x="17023" y="3790"/>
                      <a:pt x="16772" y="3359"/>
                    </a:cubicBezTo>
                    <a:cubicBezTo>
                      <a:pt x="17302" y="2714"/>
                      <a:pt x="17288" y="1779"/>
                      <a:pt x="16739" y="1150"/>
                    </a:cubicBezTo>
                    <a:cubicBezTo>
                      <a:pt x="16729" y="1136"/>
                      <a:pt x="16718" y="1122"/>
                      <a:pt x="16705" y="1110"/>
                    </a:cubicBezTo>
                    <a:cubicBezTo>
                      <a:pt x="15897" y="301"/>
                      <a:pt x="14693" y="69"/>
                      <a:pt x="14051" y="4"/>
                    </a:cubicBezTo>
                    <a:cubicBezTo>
                      <a:pt x="13625" y="-39"/>
                      <a:pt x="13245" y="271"/>
                      <a:pt x="13202" y="697"/>
                    </a:cubicBezTo>
                    <a:cubicBezTo>
                      <a:pt x="13197" y="749"/>
                      <a:pt x="13197" y="802"/>
                      <a:pt x="13202" y="854"/>
                    </a:cubicBezTo>
                    <a:cubicBezTo>
                      <a:pt x="13267" y="1499"/>
                      <a:pt x="13498" y="2704"/>
                      <a:pt x="14315" y="3523"/>
                    </a:cubicBezTo>
                    <a:cubicBezTo>
                      <a:pt x="14628" y="3814"/>
                      <a:pt x="15039" y="3976"/>
                      <a:pt x="15465" y="3974"/>
                    </a:cubicBezTo>
                    <a:lnTo>
                      <a:pt x="15533" y="3974"/>
                    </a:lnTo>
                    <a:cubicBezTo>
                      <a:pt x="15797" y="3965"/>
                      <a:pt x="16055" y="3893"/>
                      <a:pt x="16286" y="3765"/>
                    </a:cubicBezTo>
                    <a:cubicBezTo>
                      <a:pt x="16814" y="4741"/>
                      <a:pt x="17080" y="5836"/>
                      <a:pt x="17060" y="6946"/>
                    </a:cubicBezTo>
                    <a:lnTo>
                      <a:pt x="17060" y="18462"/>
                    </a:lnTo>
                    <a:lnTo>
                      <a:pt x="16673" y="18238"/>
                    </a:lnTo>
                    <a:cubicBezTo>
                      <a:pt x="16770" y="17789"/>
                      <a:pt x="16586" y="17326"/>
                      <a:pt x="16208" y="17067"/>
                    </a:cubicBezTo>
                    <a:lnTo>
                      <a:pt x="16171" y="17040"/>
                    </a:lnTo>
                    <a:cubicBezTo>
                      <a:pt x="15728" y="16809"/>
                      <a:pt x="15226" y="16714"/>
                      <a:pt x="14728" y="16766"/>
                    </a:cubicBezTo>
                    <a:cubicBezTo>
                      <a:pt x="14302" y="16799"/>
                      <a:pt x="13984" y="17173"/>
                      <a:pt x="14018" y="17600"/>
                    </a:cubicBezTo>
                    <a:cubicBezTo>
                      <a:pt x="14025" y="17694"/>
                      <a:pt x="14050" y="17787"/>
                      <a:pt x="14091" y="17873"/>
                    </a:cubicBezTo>
                    <a:cubicBezTo>
                      <a:pt x="14297" y="18334"/>
                      <a:pt x="14634" y="18723"/>
                      <a:pt x="15060" y="18993"/>
                    </a:cubicBezTo>
                    <a:cubicBezTo>
                      <a:pt x="15499" y="19224"/>
                      <a:pt x="16037" y="19139"/>
                      <a:pt x="16385" y="18785"/>
                    </a:cubicBezTo>
                    <a:lnTo>
                      <a:pt x="17064" y="19179"/>
                    </a:lnTo>
                    <a:lnTo>
                      <a:pt x="17064" y="20938"/>
                    </a:lnTo>
                    <a:lnTo>
                      <a:pt x="11075" y="20938"/>
                    </a:lnTo>
                    <a:lnTo>
                      <a:pt x="11075" y="16285"/>
                    </a:lnTo>
                    <a:lnTo>
                      <a:pt x="11750" y="15896"/>
                    </a:lnTo>
                    <a:cubicBezTo>
                      <a:pt x="11961" y="16112"/>
                      <a:pt x="12249" y="16233"/>
                      <a:pt x="12551" y="16232"/>
                    </a:cubicBezTo>
                    <a:cubicBezTo>
                      <a:pt x="12737" y="16232"/>
                      <a:pt x="12920" y="16185"/>
                      <a:pt x="13085" y="16097"/>
                    </a:cubicBezTo>
                    <a:cubicBezTo>
                      <a:pt x="13506" y="15828"/>
                      <a:pt x="13840" y="15441"/>
                      <a:pt x="14044" y="14984"/>
                    </a:cubicBezTo>
                    <a:cubicBezTo>
                      <a:pt x="14228" y="14597"/>
                      <a:pt x="14065" y="14135"/>
                      <a:pt x="13679" y="13950"/>
                    </a:cubicBezTo>
                    <a:cubicBezTo>
                      <a:pt x="13593" y="13909"/>
                      <a:pt x="13500" y="13884"/>
                      <a:pt x="13405" y="13877"/>
                    </a:cubicBezTo>
                    <a:cubicBezTo>
                      <a:pt x="12908" y="13822"/>
                      <a:pt x="12406" y="13918"/>
                      <a:pt x="11964" y="14151"/>
                    </a:cubicBezTo>
                    <a:cubicBezTo>
                      <a:pt x="11951" y="14159"/>
                      <a:pt x="11938" y="14168"/>
                      <a:pt x="11927" y="14177"/>
                    </a:cubicBezTo>
                    <a:cubicBezTo>
                      <a:pt x="11549" y="14437"/>
                      <a:pt x="11365" y="14900"/>
                      <a:pt x="11462" y="15348"/>
                    </a:cubicBezTo>
                    <a:lnTo>
                      <a:pt x="11080" y="15569"/>
                    </a:lnTo>
                    <a:lnTo>
                      <a:pt x="11080" y="14101"/>
                    </a:lnTo>
                    <a:cubicBezTo>
                      <a:pt x="11061" y="12992"/>
                      <a:pt x="11327" y="11897"/>
                      <a:pt x="11854" y="10921"/>
                    </a:cubicBezTo>
                    <a:cubicBezTo>
                      <a:pt x="12499" y="11275"/>
                      <a:pt x="13298" y="11174"/>
                      <a:pt x="13835" y="10671"/>
                    </a:cubicBezTo>
                    <a:cubicBezTo>
                      <a:pt x="14643" y="9860"/>
                      <a:pt x="14874" y="8655"/>
                      <a:pt x="14939" y="8011"/>
                    </a:cubicBezTo>
                    <a:cubicBezTo>
                      <a:pt x="14982" y="7585"/>
                      <a:pt x="14673" y="7205"/>
                      <a:pt x="14247" y="7161"/>
                    </a:cubicBezTo>
                    <a:cubicBezTo>
                      <a:pt x="14195" y="7156"/>
                      <a:pt x="14143" y="7156"/>
                      <a:pt x="14091" y="7161"/>
                    </a:cubicBezTo>
                    <a:cubicBezTo>
                      <a:pt x="13445" y="7227"/>
                      <a:pt x="12244" y="7458"/>
                      <a:pt x="11436" y="8267"/>
                    </a:cubicBezTo>
                    <a:cubicBezTo>
                      <a:pt x="11423" y="8279"/>
                      <a:pt x="11412" y="8293"/>
                      <a:pt x="11402" y="8307"/>
                    </a:cubicBezTo>
                    <a:cubicBezTo>
                      <a:pt x="10852" y="8936"/>
                      <a:pt x="10838" y="9871"/>
                      <a:pt x="11368" y="10516"/>
                    </a:cubicBezTo>
                    <a:cubicBezTo>
                      <a:pt x="11118" y="10947"/>
                      <a:pt x="10919" y="11407"/>
                      <a:pt x="10777" y="11885"/>
                    </a:cubicBezTo>
                    <a:cubicBezTo>
                      <a:pt x="10635" y="11406"/>
                      <a:pt x="10436" y="10946"/>
                      <a:pt x="10185" y="10514"/>
                    </a:cubicBezTo>
                    <a:cubicBezTo>
                      <a:pt x="10716" y="9868"/>
                      <a:pt x="10699" y="8931"/>
                      <a:pt x="10147" y="8303"/>
                    </a:cubicBezTo>
                    <a:cubicBezTo>
                      <a:pt x="10136" y="8289"/>
                      <a:pt x="10125" y="8275"/>
                      <a:pt x="10113" y="8263"/>
                    </a:cubicBezTo>
                    <a:cubicBezTo>
                      <a:pt x="9305" y="7453"/>
                      <a:pt x="8100" y="7222"/>
                      <a:pt x="7458" y="7157"/>
                    </a:cubicBezTo>
                    <a:cubicBezTo>
                      <a:pt x="7033" y="7113"/>
                      <a:pt x="6652" y="7422"/>
                      <a:pt x="6608" y="7848"/>
                    </a:cubicBezTo>
                    <a:cubicBezTo>
                      <a:pt x="6603" y="7901"/>
                      <a:pt x="6603" y="7954"/>
                      <a:pt x="6608" y="8007"/>
                    </a:cubicBezTo>
                    <a:cubicBezTo>
                      <a:pt x="6675" y="8652"/>
                      <a:pt x="6905" y="9855"/>
                      <a:pt x="7723" y="10676"/>
                    </a:cubicBezTo>
                    <a:cubicBezTo>
                      <a:pt x="8262" y="11173"/>
                      <a:pt x="9058" y="11268"/>
                      <a:pt x="9699" y="10913"/>
                    </a:cubicBezTo>
                    <a:cubicBezTo>
                      <a:pt x="10222" y="11891"/>
                      <a:pt x="10485" y="12988"/>
                      <a:pt x="10461" y="14097"/>
                    </a:cubicBezTo>
                    <a:lnTo>
                      <a:pt x="10461" y="16057"/>
                    </a:lnTo>
                    <a:cubicBezTo>
                      <a:pt x="10455" y="16095"/>
                      <a:pt x="10455" y="16133"/>
                      <a:pt x="10461" y="16170"/>
                    </a:cubicBezTo>
                    <a:lnTo>
                      <a:pt x="10461" y="20945"/>
                    </a:lnTo>
                    <a:lnTo>
                      <a:pt x="4501" y="20945"/>
                    </a:lnTo>
                    <a:cubicBezTo>
                      <a:pt x="4521" y="19941"/>
                      <a:pt x="4781" y="18955"/>
                      <a:pt x="5258" y="18072"/>
                    </a:cubicBezTo>
                    <a:cubicBezTo>
                      <a:pt x="5491" y="18202"/>
                      <a:pt x="5751" y="18275"/>
                      <a:pt x="6017" y="18284"/>
                    </a:cubicBezTo>
                    <a:lnTo>
                      <a:pt x="6083" y="18284"/>
                    </a:lnTo>
                    <a:cubicBezTo>
                      <a:pt x="6515" y="18283"/>
                      <a:pt x="6930" y="18117"/>
                      <a:pt x="7243" y="17819"/>
                    </a:cubicBezTo>
                    <a:cubicBezTo>
                      <a:pt x="8051" y="17008"/>
                      <a:pt x="8281" y="15803"/>
                      <a:pt x="8348" y="15159"/>
                    </a:cubicBezTo>
                    <a:cubicBezTo>
                      <a:pt x="8391" y="14733"/>
                      <a:pt x="8082" y="14353"/>
                      <a:pt x="7656" y="14309"/>
                    </a:cubicBezTo>
                    <a:cubicBezTo>
                      <a:pt x="7604" y="14304"/>
                      <a:pt x="7551" y="14304"/>
                      <a:pt x="7498" y="14309"/>
                    </a:cubicBezTo>
                    <a:cubicBezTo>
                      <a:pt x="6854" y="14374"/>
                      <a:pt x="5653" y="14605"/>
                      <a:pt x="4843" y="15415"/>
                    </a:cubicBezTo>
                    <a:cubicBezTo>
                      <a:pt x="4831" y="15427"/>
                      <a:pt x="4820" y="15441"/>
                      <a:pt x="4811" y="15455"/>
                    </a:cubicBezTo>
                    <a:cubicBezTo>
                      <a:pt x="4262" y="16084"/>
                      <a:pt x="4248" y="17017"/>
                      <a:pt x="4777" y="17662"/>
                    </a:cubicBezTo>
                    <a:cubicBezTo>
                      <a:pt x="4526" y="18094"/>
                      <a:pt x="4327" y="18554"/>
                      <a:pt x="4186" y="19033"/>
                    </a:cubicBezTo>
                    <a:cubicBezTo>
                      <a:pt x="4044" y="18554"/>
                      <a:pt x="3846" y="18094"/>
                      <a:pt x="3594" y="17662"/>
                    </a:cubicBezTo>
                    <a:cubicBezTo>
                      <a:pt x="4124" y="17018"/>
                      <a:pt x="4110" y="16084"/>
                      <a:pt x="3562" y="15455"/>
                    </a:cubicBezTo>
                    <a:cubicBezTo>
                      <a:pt x="3551" y="15441"/>
                      <a:pt x="3540" y="15428"/>
                      <a:pt x="3528" y="15415"/>
                    </a:cubicBezTo>
                    <a:cubicBezTo>
                      <a:pt x="2718" y="14605"/>
                      <a:pt x="1515" y="14374"/>
                      <a:pt x="873" y="14309"/>
                    </a:cubicBezTo>
                    <a:cubicBezTo>
                      <a:pt x="448" y="14265"/>
                      <a:pt x="67" y="14575"/>
                      <a:pt x="23" y="15001"/>
                    </a:cubicBezTo>
                    <a:cubicBezTo>
                      <a:pt x="18" y="15053"/>
                      <a:pt x="18" y="15106"/>
                      <a:pt x="23" y="15159"/>
                    </a:cubicBezTo>
                    <a:cubicBezTo>
                      <a:pt x="90" y="15804"/>
                      <a:pt x="320" y="17008"/>
                      <a:pt x="1136" y="17827"/>
                    </a:cubicBezTo>
                    <a:cubicBezTo>
                      <a:pt x="1448" y="18119"/>
                      <a:pt x="1860" y="18281"/>
                      <a:pt x="2288" y="18279"/>
                    </a:cubicBezTo>
                    <a:lnTo>
                      <a:pt x="2354" y="18279"/>
                    </a:lnTo>
                    <a:cubicBezTo>
                      <a:pt x="2619" y="18270"/>
                      <a:pt x="2877" y="18198"/>
                      <a:pt x="3108" y="18070"/>
                    </a:cubicBezTo>
                    <a:cubicBezTo>
                      <a:pt x="3586" y="18953"/>
                      <a:pt x="3847" y="19937"/>
                      <a:pt x="3870" y="20941"/>
                    </a:cubicBezTo>
                    <a:lnTo>
                      <a:pt x="310" y="20941"/>
                    </a:lnTo>
                    <a:cubicBezTo>
                      <a:pt x="139" y="20941"/>
                      <a:pt x="0" y="21080"/>
                      <a:pt x="0" y="21251"/>
                    </a:cubicBezTo>
                    <a:cubicBezTo>
                      <a:pt x="0" y="21422"/>
                      <a:pt x="139" y="21561"/>
                      <a:pt x="310" y="21561"/>
                    </a:cubicBezTo>
                    <a:lnTo>
                      <a:pt x="21207" y="21561"/>
                    </a:lnTo>
                    <a:cubicBezTo>
                      <a:pt x="21378" y="21561"/>
                      <a:pt x="21516" y="21422"/>
                      <a:pt x="21516" y="21251"/>
                    </a:cubicBezTo>
                    <a:cubicBezTo>
                      <a:pt x="21516" y="21080"/>
                      <a:pt x="21378" y="20941"/>
                      <a:pt x="21207" y="20941"/>
                    </a:cubicBezTo>
                    <a:cubicBezTo>
                      <a:pt x="21207" y="20941"/>
                      <a:pt x="21214" y="20942"/>
                      <a:pt x="21214" y="20942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rgbClr val="FFFFFF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sp>
            <p:nvSpPr>
              <p:cNvPr id="43" name="Google Shape;1194;p40">
                <a:extLst>
                  <a:ext uri="{FF2B5EF4-FFF2-40B4-BE49-F238E27FC236}">
                    <a16:creationId xmlns:a16="http://schemas.microsoft.com/office/drawing/2014/main" id="{AD8E7901-50E1-CF88-8CDD-23E32839DC5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144913" y="5248491"/>
                <a:ext cx="520702" cy="43156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481" h="21576" extrusionOk="0">
                    <a:moveTo>
                      <a:pt x="7840" y="37"/>
                    </a:moveTo>
                    <a:cubicBezTo>
                      <a:pt x="7725" y="-14"/>
                      <a:pt x="7599" y="-12"/>
                      <a:pt x="7477" y="44"/>
                    </a:cubicBezTo>
                    <a:lnTo>
                      <a:pt x="6944" y="297"/>
                    </a:lnTo>
                    <a:cubicBezTo>
                      <a:pt x="6700" y="413"/>
                      <a:pt x="6565" y="730"/>
                      <a:pt x="6630" y="1037"/>
                    </a:cubicBezTo>
                    <a:lnTo>
                      <a:pt x="6779" y="1737"/>
                    </a:lnTo>
                    <a:cubicBezTo>
                      <a:pt x="6654" y="1858"/>
                      <a:pt x="6537" y="1991"/>
                      <a:pt x="6432" y="2137"/>
                    </a:cubicBezTo>
                    <a:lnTo>
                      <a:pt x="5871" y="1923"/>
                    </a:lnTo>
                    <a:cubicBezTo>
                      <a:pt x="5620" y="1829"/>
                      <a:pt x="5349" y="1978"/>
                      <a:pt x="5244" y="2270"/>
                    </a:cubicBezTo>
                    <a:lnTo>
                      <a:pt x="5013" y="2916"/>
                    </a:lnTo>
                    <a:cubicBezTo>
                      <a:pt x="4909" y="3207"/>
                      <a:pt x="4998" y="3547"/>
                      <a:pt x="5222" y="3709"/>
                    </a:cubicBezTo>
                    <a:lnTo>
                      <a:pt x="5734" y="4076"/>
                    </a:lnTo>
                    <a:cubicBezTo>
                      <a:pt x="5716" y="4270"/>
                      <a:pt x="5712" y="4468"/>
                      <a:pt x="5723" y="4662"/>
                    </a:cubicBezTo>
                    <a:lnTo>
                      <a:pt x="5200" y="4996"/>
                    </a:lnTo>
                    <a:cubicBezTo>
                      <a:pt x="4973" y="5144"/>
                      <a:pt x="4866" y="5474"/>
                      <a:pt x="4953" y="5769"/>
                    </a:cubicBezTo>
                    <a:lnTo>
                      <a:pt x="5162" y="6422"/>
                    </a:lnTo>
                    <a:cubicBezTo>
                      <a:pt x="5256" y="6718"/>
                      <a:pt x="5519" y="6881"/>
                      <a:pt x="5772" y="6802"/>
                    </a:cubicBezTo>
                    <a:lnTo>
                      <a:pt x="6344" y="6622"/>
                    </a:lnTo>
                    <a:cubicBezTo>
                      <a:pt x="6444" y="6773"/>
                      <a:pt x="6554" y="6913"/>
                      <a:pt x="6674" y="7041"/>
                    </a:cubicBezTo>
                    <a:lnTo>
                      <a:pt x="6504" y="7735"/>
                    </a:lnTo>
                    <a:cubicBezTo>
                      <a:pt x="6427" y="8038"/>
                      <a:pt x="6545" y="8359"/>
                      <a:pt x="6784" y="8488"/>
                    </a:cubicBezTo>
                    <a:lnTo>
                      <a:pt x="7318" y="8774"/>
                    </a:lnTo>
                    <a:cubicBezTo>
                      <a:pt x="7558" y="8903"/>
                      <a:pt x="7839" y="8796"/>
                      <a:pt x="7972" y="8521"/>
                    </a:cubicBezTo>
                    <a:lnTo>
                      <a:pt x="8274" y="7894"/>
                    </a:lnTo>
                    <a:cubicBezTo>
                      <a:pt x="8432" y="7915"/>
                      <a:pt x="8589" y="7926"/>
                      <a:pt x="8747" y="7914"/>
                    </a:cubicBezTo>
                    <a:lnTo>
                      <a:pt x="9028" y="8554"/>
                    </a:lnTo>
                    <a:cubicBezTo>
                      <a:pt x="9117" y="8759"/>
                      <a:pt x="9293" y="8888"/>
                      <a:pt x="9484" y="8887"/>
                    </a:cubicBezTo>
                    <a:cubicBezTo>
                      <a:pt x="9547" y="8888"/>
                      <a:pt x="9607" y="8875"/>
                      <a:pt x="9666" y="8847"/>
                    </a:cubicBezTo>
                    <a:lnTo>
                      <a:pt x="10210" y="8594"/>
                    </a:lnTo>
                    <a:cubicBezTo>
                      <a:pt x="10453" y="8477"/>
                      <a:pt x="10587" y="8162"/>
                      <a:pt x="10523" y="7854"/>
                    </a:cubicBezTo>
                    <a:lnTo>
                      <a:pt x="10375" y="7155"/>
                    </a:lnTo>
                    <a:cubicBezTo>
                      <a:pt x="10500" y="7031"/>
                      <a:pt x="10614" y="6895"/>
                      <a:pt x="10721" y="6748"/>
                    </a:cubicBezTo>
                    <a:lnTo>
                      <a:pt x="11288" y="6961"/>
                    </a:lnTo>
                    <a:cubicBezTo>
                      <a:pt x="11539" y="7056"/>
                      <a:pt x="11804" y="6907"/>
                      <a:pt x="11909" y="6615"/>
                    </a:cubicBezTo>
                    <a:lnTo>
                      <a:pt x="12146" y="5969"/>
                    </a:lnTo>
                    <a:cubicBezTo>
                      <a:pt x="12250" y="5678"/>
                      <a:pt x="12156" y="5338"/>
                      <a:pt x="11931" y="5175"/>
                    </a:cubicBezTo>
                    <a:lnTo>
                      <a:pt x="11425" y="4809"/>
                    </a:lnTo>
                    <a:cubicBezTo>
                      <a:pt x="11442" y="4615"/>
                      <a:pt x="11446" y="4424"/>
                      <a:pt x="11436" y="4229"/>
                    </a:cubicBezTo>
                    <a:lnTo>
                      <a:pt x="11959" y="3889"/>
                    </a:lnTo>
                    <a:cubicBezTo>
                      <a:pt x="12187" y="3739"/>
                      <a:pt x="12287" y="3404"/>
                      <a:pt x="12195" y="3110"/>
                    </a:cubicBezTo>
                    <a:lnTo>
                      <a:pt x="11986" y="2457"/>
                    </a:lnTo>
                    <a:cubicBezTo>
                      <a:pt x="11892" y="2160"/>
                      <a:pt x="11630" y="1997"/>
                      <a:pt x="11376" y="2077"/>
                    </a:cubicBezTo>
                    <a:lnTo>
                      <a:pt x="10804" y="2257"/>
                    </a:lnTo>
                    <a:cubicBezTo>
                      <a:pt x="10704" y="2105"/>
                      <a:pt x="10594" y="1965"/>
                      <a:pt x="10474" y="1837"/>
                    </a:cubicBezTo>
                    <a:lnTo>
                      <a:pt x="10650" y="1144"/>
                    </a:lnTo>
                    <a:cubicBezTo>
                      <a:pt x="10726" y="840"/>
                      <a:pt x="10604" y="519"/>
                      <a:pt x="10364" y="391"/>
                    </a:cubicBezTo>
                    <a:lnTo>
                      <a:pt x="9831" y="104"/>
                    </a:lnTo>
                    <a:cubicBezTo>
                      <a:pt x="9590" y="-24"/>
                      <a:pt x="9309" y="83"/>
                      <a:pt x="9176" y="357"/>
                    </a:cubicBezTo>
                    <a:lnTo>
                      <a:pt x="8874" y="984"/>
                    </a:lnTo>
                    <a:cubicBezTo>
                      <a:pt x="8716" y="963"/>
                      <a:pt x="8560" y="952"/>
                      <a:pt x="8401" y="964"/>
                    </a:cubicBezTo>
                    <a:lnTo>
                      <a:pt x="8120" y="331"/>
                    </a:lnTo>
                    <a:cubicBezTo>
                      <a:pt x="8059" y="191"/>
                      <a:pt x="7954" y="89"/>
                      <a:pt x="7840" y="37"/>
                    </a:cubicBezTo>
                    <a:close/>
                    <a:moveTo>
                      <a:pt x="7647" y="644"/>
                    </a:moveTo>
                    <a:lnTo>
                      <a:pt x="7928" y="1270"/>
                    </a:lnTo>
                    <a:cubicBezTo>
                      <a:pt x="8022" y="1488"/>
                      <a:pt x="8215" y="1619"/>
                      <a:pt x="8417" y="1603"/>
                    </a:cubicBezTo>
                    <a:cubicBezTo>
                      <a:pt x="8554" y="1593"/>
                      <a:pt x="8688" y="1599"/>
                      <a:pt x="8824" y="1617"/>
                    </a:cubicBezTo>
                    <a:cubicBezTo>
                      <a:pt x="9025" y="1643"/>
                      <a:pt x="9223" y="1522"/>
                      <a:pt x="9325" y="1310"/>
                    </a:cubicBezTo>
                    <a:lnTo>
                      <a:pt x="9622" y="691"/>
                    </a:lnTo>
                    <a:lnTo>
                      <a:pt x="10122" y="964"/>
                    </a:lnTo>
                    <a:lnTo>
                      <a:pt x="9952" y="1643"/>
                    </a:lnTo>
                    <a:cubicBezTo>
                      <a:pt x="9891" y="1879"/>
                      <a:pt x="9948" y="2140"/>
                      <a:pt x="10100" y="2303"/>
                    </a:cubicBezTo>
                    <a:cubicBezTo>
                      <a:pt x="10203" y="2414"/>
                      <a:pt x="10300" y="2533"/>
                      <a:pt x="10386" y="2663"/>
                    </a:cubicBezTo>
                    <a:cubicBezTo>
                      <a:pt x="10513" y="2856"/>
                      <a:pt x="10723" y="2940"/>
                      <a:pt x="10919" y="2876"/>
                    </a:cubicBezTo>
                    <a:lnTo>
                      <a:pt x="11486" y="2696"/>
                    </a:lnTo>
                    <a:lnTo>
                      <a:pt x="11684" y="3323"/>
                    </a:lnTo>
                    <a:lnTo>
                      <a:pt x="11167" y="3656"/>
                    </a:lnTo>
                    <a:cubicBezTo>
                      <a:pt x="10988" y="3771"/>
                      <a:pt x="10880" y="3997"/>
                      <a:pt x="10892" y="4243"/>
                    </a:cubicBezTo>
                    <a:cubicBezTo>
                      <a:pt x="10901" y="4410"/>
                      <a:pt x="10897" y="4583"/>
                      <a:pt x="10881" y="4749"/>
                    </a:cubicBezTo>
                    <a:cubicBezTo>
                      <a:pt x="10860" y="4992"/>
                      <a:pt x="10960" y="5224"/>
                      <a:pt x="11134" y="5349"/>
                    </a:cubicBezTo>
                    <a:lnTo>
                      <a:pt x="11640" y="5715"/>
                    </a:lnTo>
                    <a:lnTo>
                      <a:pt x="11420" y="6328"/>
                    </a:lnTo>
                    <a:lnTo>
                      <a:pt x="10864" y="6122"/>
                    </a:lnTo>
                    <a:cubicBezTo>
                      <a:pt x="10669" y="6049"/>
                      <a:pt x="10454" y="6121"/>
                      <a:pt x="10320" y="6308"/>
                    </a:cubicBezTo>
                    <a:cubicBezTo>
                      <a:pt x="10230" y="6434"/>
                      <a:pt x="10131" y="6551"/>
                      <a:pt x="10023" y="6655"/>
                    </a:cubicBezTo>
                    <a:cubicBezTo>
                      <a:pt x="9865" y="6810"/>
                      <a:pt x="9796" y="7064"/>
                      <a:pt x="9847" y="7301"/>
                    </a:cubicBezTo>
                    <a:lnTo>
                      <a:pt x="9996" y="7994"/>
                    </a:lnTo>
                    <a:lnTo>
                      <a:pt x="9484" y="8234"/>
                    </a:lnTo>
                    <a:lnTo>
                      <a:pt x="9209" y="7601"/>
                    </a:lnTo>
                    <a:cubicBezTo>
                      <a:pt x="9120" y="7395"/>
                      <a:pt x="8945" y="7268"/>
                      <a:pt x="8753" y="7268"/>
                    </a:cubicBezTo>
                    <a:lnTo>
                      <a:pt x="8720" y="7268"/>
                    </a:lnTo>
                    <a:cubicBezTo>
                      <a:pt x="8583" y="7278"/>
                      <a:pt x="8449" y="7272"/>
                      <a:pt x="8313" y="7255"/>
                    </a:cubicBezTo>
                    <a:cubicBezTo>
                      <a:pt x="8112" y="7228"/>
                      <a:pt x="7914" y="7349"/>
                      <a:pt x="7812" y="7561"/>
                    </a:cubicBezTo>
                    <a:lnTo>
                      <a:pt x="7515" y="8181"/>
                    </a:lnTo>
                    <a:lnTo>
                      <a:pt x="7010" y="7908"/>
                    </a:lnTo>
                    <a:lnTo>
                      <a:pt x="7186" y="7221"/>
                    </a:lnTo>
                    <a:cubicBezTo>
                      <a:pt x="7245" y="6986"/>
                      <a:pt x="7189" y="6732"/>
                      <a:pt x="7037" y="6568"/>
                    </a:cubicBezTo>
                    <a:cubicBezTo>
                      <a:pt x="6934" y="6458"/>
                      <a:pt x="6836" y="6339"/>
                      <a:pt x="6751" y="6208"/>
                    </a:cubicBezTo>
                    <a:cubicBezTo>
                      <a:pt x="6624" y="6016"/>
                      <a:pt x="6414" y="5932"/>
                      <a:pt x="6218" y="5995"/>
                    </a:cubicBezTo>
                    <a:lnTo>
                      <a:pt x="5651" y="6175"/>
                    </a:lnTo>
                    <a:lnTo>
                      <a:pt x="5453" y="5549"/>
                    </a:lnTo>
                    <a:cubicBezTo>
                      <a:pt x="5453" y="5549"/>
                      <a:pt x="5976" y="5215"/>
                      <a:pt x="5976" y="5215"/>
                    </a:cubicBezTo>
                    <a:cubicBezTo>
                      <a:pt x="6155" y="5100"/>
                      <a:pt x="6262" y="4868"/>
                      <a:pt x="6251" y="4622"/>
                    </a:cubicBezTo>
                    <a:cubicBezTo>
                      <a:pt x="6241" y="4455"/>
                      <a:pt x="6242" y="4289"/>
                      <a:pt x="6256" y="4123"/>
                    </a:cubicBezTo>
                    <a:cubicBezTo>
                      <a:pt x="6277" y="3880"/>
                      <a:pt x="6182" y="3647"/>
                      <a:pt x="6009" y="3523"/>
                    </a:cubicBezTo>
                    <a:lnTo>
                      <a:pt x="5497" y="3156"/>
                    </a:lnTo>
                    <a:lnTo>
                      <a:pt x="5723" y="2543"/>
                    </a:lnTo>
                    <a:lnTo>
                      <a:pt x="6284" y="2750"/>
                    </a:lnTo>
                    <a:cubicBezTo>
                      <a:pt x="6475" y="2820"/>
                      <a:pt x="6679" y="2752"/>
                      <a:pt x="6812" y="2570"/>
                    </a:cubicBezTo>
                    <a:cubicBezTo>
                      <a:pt x="6902" y="2444"/>
                      <a:pt x="7006" y="2327"/>
                      <a:pt x="7114" y="2223"/>
                    </a:cubicBezTo>
                    <a:cubicBezTo>
                      <a:pt x="7271" y="2068"/>
                      <a:pt x="7336" y="1814"/>
                      <a:pt x="7285" y="1577"/>
                    </a:cubicBezTo>
                    <a:lnTo>
                      <a:pt x="7136" y="884"/>
                    </a:lnTo>
                    <a:lnTo>
                      <a:pt x="7647" y="644"/>
                    </a:lnTo>
                    <a:close/>
                    <a:moveTo>
                      <a:pt x="8571" y="2350"/>
                    </a:moveTo>
                    <a:cubicBezTo>
                      <a:pt x="7616" y="2354"/>
                      <a:pt x="6847" y="3292"/>
                      <a:pt x="6850" y="4449"/>
                    </a:cubicBezTo>
                    <a:cubicBezTo>
                      <a:pt x="6853" y="5459"/>
                      <a:pt x="7449" y="6328"/>
                      <a:pt x="8269" y="6508"/>
                    </a:cubicBezTo>
                    <a:cubicBezTo>
                      <a:pt x="8373" y="6531"/>
                      <a:pt x="8477" y="6542"/>
                      <a:pt x="8582" y="6542"/>
                    </a:cubicBezTo>
                    <a:cubicBezTo>
                      <a:pt x="9537" y="6538"/>
                      <a:pt x="10312" y="5593"/>
                      <a:pt x="10309" y="4436"/>
                    </a:cubicBezTo>
                    <a:cubicBezTo>
                      <a:pt x="10306" y="3278"/>
                      <a:pt x="9526" y="2346"/>
                      <a:pt x="8571" y="2350"/>
                    </a:cubicBezTo>
                    <a:close/>
                    <a:moveTo>
                      <a:pt x="8577" y="2996"/>
                    </a:moveTo>
                    <a:cubicBezTo>
                      <a:pt x="8650" y="2996"/>
                      <a:pt x="8725" y="3000"/>
                      <a:pt x="8797" y="3016"/>
                    </a:cubicBezTo>
                    <a:cubicBezTo>
                      <a:pt x="9447" y="3160"/>
                      <a:pt x="9878" y="3914"/>
                      <a:pt x="9759" y="4702"/>
                    </a:cubicBezTo>
                    <a:cubicBezTo>
                      <a:pt x="9640" y="5491"/>
                      <a:pt x="9013" y="6019"/>
                      <a:pt x="8362" y="5875"/>
                    </a:cubicBezTo>
                    <a:cubicBezTo>
                      <a:pt x="7712" y="5731"/>
                      <a:pt x="7281" y="4971"/>
                      <a:pt x="7400" y="4183"/>
                    </a:cubicBezTo>
                    <a:cubicBezTo>
                      <a:pt x="7504" y="3495"/>
                      <a:pt x="8000" y="2998"/>
                      <a:pt x="8577" y="2996"/>
                    </a:cubicBezTo>
                    <a:close/>
                    <a:moveTo>
                      <a:pt x="15984" y="6455"/>
                    </a:moveTo>
                    <a:cubicBezTo>
                      <a:pt x="15735" y="6496"/>
                      <a:pt x="15520" y="6701"/>
                      <a:pt x="15429" y="7001"/>
                    </a:cubicBezTo>
                    <a:lnTo>
                      <a:pt x="15071" y="8181"/>
                    </a:lnTo>
                    <a:cubicBezTo>
                      <a:pt x="15052" y="8252"/>
                      <a:pt x="15000" y="8301"/>
                      <a:pt x="14939" y="8308"/>
                    </a:cubicBezTo>
                    <a:cubicBezTo>
                      <a:pt x="14664" y="8333"/>
                      <a:pt x="14393" y="8385"/>
                      <a:pt x="14125" y="8468"/>
                    </a:cubicBezTo>
                    <a:cubicBezTo>
                      <a:pt x="14064" y="8486"/>
                      <a:pt x="13998" y="8455"/>
                      <a:pt x="13960" y="8394"/>
                    </a:cubicBezTo>
                    <a:lnTo>
                      <a:pt x="13317" y="7421"/>
                    </a:lnTo>
                    <a:cubicBezTo>
                      <a:pt x="13099" y="7088"/>
                      <a:pt x="12709" y="6999"/>
                      <a:pt x="12410" y="7221"/>
                    </a:cubicBezTo>
                    <a:lnTo>
                      <a:pt x="11568" y="7848"/>
                    </a:lnTo>
                    <a:cubicBezTo>
                      <a:pt x="11269" y="8073"/>
                      <a:pt x="11157" y="8539"/>
                      <a:pt x="11304" y="8927"/>
                    </a:cubicBezTo>
                    <a:lnTo>
                      <a:pt x="11733" y="10054"/>
                    </a:lnTo>
                    <a:cubicBezTo>
                      <a:pt x="11760" y="10122"/>
                      <a:pt x="11751" y="10202"/>
                      <a:pt x="11711" y="10260"/>
                    </a:cubicBezTo>
                    <a:cubicBezTo>
                      <a:pt x="11529" y="10514"/>
                      <a:pt x="11369" y="10791"/>
                      <a:pt x="11227" y="11080"/>
                    </a:cubicBezTo>
                    <a:cubicBezTo>
                      <a:pt x="11195" y="11144"/>
                      <a:pt x="11135" y="11176"/>
                      <a:pt x="11073" y="11167"/>
                    </a:cubicBezTo>
                    <a:lnTo>
                      <a:pt x="10051" y="11020"/>
                    </a:lnTo>
                    <a:cubicBezTo>
                      <a:pt x="9700" y="10970"/>
                      <a:pt x="9377" y="11249"/>
                      <a:pt x="9297" y="11666"/>
                    </a:cubicBezTo>
                    <a:lnTo>
                      <a:pt x="9066" y="12833"/>
                    </a:lnTo>
                    <a:cubicBezTo>
                      <a:pt x="8985" y="13248"/>
                      <a:pt x="9170" y="13670"/>
                      <a:pt x="9501" y="13819"/>
                    </a:cubicBezTo>
                    <a:lnTo>
                      <a:pt x="10468" y="14252"/>
                    </a:lnTo>
                    <a:cubicBezTo>
                      <a:pt x="10526" y="14278"/>
                      <a:pt x="10566" y="14339"/>
                      <a:pt x="10573" y="14412"/>
                    </a:cubicBezTo>
                    <a:cubicBezTo>
                      <a:pt x="10592" y="14747"/>
                      <a:pt x="10636" y="15079"/>
                      <a:pt x="10705" y="15405"/>
                    </a:cubicBezTo>
                    <a:cubicBezTo>
                      <a:pt x="10718" y="15483"/>
                      <a:pt x="10694" y="15567"/>
                      <a:pt x="10639" y="15612"/>
                    </a:cubicBezTo>
                    <a:lnTo>
                      <a:pt x="9842" y="16385"/>
                    </a:lnTo>
                    <a:cubicBezTo>
                      <a:pt x="9570" y="16652"/>
                      <a:pt x="9503" y="17120"/>
                      <a:pt x="9682" y="17484"/>
                    </a:cubicBezTo>
                    <a:lnTo>
                      <a:pt x="10194" y="18504"/>
                    </a:lnTo>
                    <a:cubicBezTo>
                      <a:pt x="10378" y="18869"/>
                      <a:pt x="10759" y="19011"/>
                      <a:pt x="11079" y="18830"/>
                    </a:cubicBezTo>
                    <a:lnTo>
                      <a:pt x="12014" y="18304"/>
                    </a:lnTo>
                    <a:cubicBezTo>
                      <a:pt x="12069" y="18272"/>
                      <a:pt x="12132" y="18283"/>
                      <a:pt x="12179" y="18331"/>
                    </a:cubicBezTo>
                    <a:cubicBezTo>
                      <a:pt x="12386" y="18551"/>
                      <a:pt x="12608" y="18745"/>
                      <a:pt x="12844" y="18917"/>
                    </a:cubicBezTo>
                    <a:cubicBezTo>
                      <a:pt x="12898" y="18957"/>
                      <a:pt x="12929" y="19034"/>
                      <a:pt x="12921" y="19110"/>
                    </a:cubicBezTo>
                    <a:lnTo>
                      <a:pt x="12800" y="20356"/>
                    </a:lnTo>
                    <a:cubicBezTo>
                      <a:pt x="12760" y="20782"/>
                      <a:pt x="12990" y="21178"/>
                      <a:pt x="13333" y="21276"/>
                    </a:cubicBezTo>
                    <a:lnTo>
                      <a:pt x="14290" y="21556"/>
                    </a:lnTo>
                    <a:cubicBezTo>
                      <a:pt x="14343" y="21571"/>
                      <a:pt x="14396" y="21576"/>
                      <a:pt x="14450" y="21576"/>
                    </a:cubicBezTo>
                    <a:cubicBezTo>
                      <a:pt x="14742" y="21575"/>
                      <a:pt x="15004" y="21355"/>
                      <a:pt x="15104" y="21023"/>
                    </a:cubicBezTo>
                    <a:lnTo>
                      <a:pt x="15456" y="19843"/>
                    </a:lnTo>
                    <a:cubicBezTo>
                      <a:pt x="15477" y="19773"/>
                      <a:pt x="15533" y="19725"/>
                      <a:pt x="15594" y="19717"/>
                    </a:cubicBezTo>
                    <a:cubicBezTo>
                      <a:pt x="15869" y="19693"/>
                      <a:pt x="16140" y="19640"/>
                      <a:pt x="16407" y="19557"/>
                    </a:cubicBezTo>
                    <a:cubicBezTo>
                      <a:pt x="16468" y="19539"/>
                      <a:pt x="16530" y="19563"/>
                      <a:pt x="16567" y="19623"/>
                    </a:cubicBezTo>
                    <a:lnTo>
                      <a:pt x="17205" y="20610"/>
                    </a:lnTo>
                    <a:cubicBezTo>
                      <a:pt x="17422" y="20943"/>
                      <a:pt x="17813" y="21024"/>
                      <a:pt x="18112" y="20803"/>
                    </a:cubicBezTo>
                    <a:lnTo>
                      <a:pt x="18959" y="20183"/>
                    </a:lnTo>
                    <a:cubicBezTo>
                      <a:pt x="19257" y="19958"/>
                      <a:pt x="19369" y="19498"/>
                      <a:pt x="19223" y="19110"/>
                    </a:cubicBezTo>
                    <a:lnTo>
                      <a:pt x="18794" y="17971"/>
                    </a:lnTo>
                    <a:cubicBezTo>
                      <a:pt x="18768" y="17902"/>
                      <a:pt x="18776" y="17822"/>
                      <a:pt x="18816" y="17764"/>
                    </a:cubicBezTo>
                    <a:cubicBezTo>
                      <a:pt x="18996" y="17513"/>
                      <a:pt x="19159" y="17243"/>
                      <a:pt x="19300" y="16958"/>
                    </a:cubicBezTo>
                    <a:cubicBezTo>
                      <a:pt x="19333" y="16891"/>
                      <a:pt x="19390" y="16853"/>
                      <a:pt x="19454" y="16858"/>
                    </a:cubicBezTo>
                    <a:lnTo>
                      <a:pt x="20477" y="17004"/>
                    </a:lnTo>
                    <a:cubicBezTo>
                      <a:pt x="20828" y="17054"/>
                      <a:pt x="21156" y="16775"/>
                      <a:pt x="21236" y="16358"/>
                    </a:cubicBezTo>
                    <a:lnTo>
                      <a:pt x="21461" y="15192"/>
                    </a:lnTo>
                    <a:cubicBezTo>
                      <a:pt x="21543" y="14775"/>
                      <a:pt x="21358" y="14348"/>
                      <a:pt x="21027" y="14199"/>
                    </a:cubicBezTo>
                    <a:lnTo>
                      <a:pt x="20059" y="13766"/>
                    </a:lnTo>
                    <a:cubicBezTo>
                      <a:pt x="20002" y="13740"/>
                      <a:pt x="19961" y="13679"/>
                      <a:pt x="19954" y="13606"/>
                    </a:cubicBezTo>
                    <a:cubicBezTo>
                      <a:pt x="19934" y="13271"/>
                      <a:pt x="19891" y="12938"/>
                      <a:pt x="19822" y="12613"/>
                    </a:cubicBezTo>
                    <a:cubicBezTo>
                      <a:pt x="19808" y="12538"/>
                      <a:pt x="19828" y="12460"/>
                      <a:pt x="19877" y="12413"/>
                    </a:cubicBezTo>
                    <a:lnTo>
                      <a:pt x="20686" y="11640"/>
                    </a:lnTo>
                    <a:cubicBezTo>
                      <a:pt x="20958" y="11373"/>
                      <a:pt x="21026" y="10904"/>
                      <a:pt x="20845" y="10540"/>
                    </a:cubicBezTo>
                    <a:lnTo>
                      <a:pt x="20334" y="9514"/>
                    </a:lnTo>
                    <a:cubicBezTo>
                      <a:pt x="20149" y="9150"/>
                      <a:pt x="19768" y="9014"/>
                      <a:pt x="19448" y="9194"/>
                    </a:cubicBezTo>
                    <a:lnTo>
                      <a:pt x="18519" y="9720"/>
                    </a:lnTo>
                    <a:cubicBezTo>
                      <a:pt x="18464" y="9752"/>
                      <a:pt x="18395" y="9742"/>
                      <a:pt x="18349" y="9694"/>
                    </a:cubicBezTo>
                    <a:cubicBezTo>
                      <a:pt x="18141" y="9475"/>
                      <a:pt x="17919" y="9280"/>
                      <a:pt x="17683" y="9107"/>
                    </a:cubicBezTo>
                    <a:cubicBezTo>
                      <a:pt x="17628" y="9067"/>
                      <a:pt x="17603" y="8991"/>
                      <a:pt x="17612" y="8914"/>
                    </a:cubicBezTo>
                    <a:lnTo>
                      <a:pt x="17727" y="7668"/>
                    </a:lnTo>
                    <a:cubicBezTo>
                      <a:pt x="17768" y="7243"/>
                      <a:pt x="17543" y="6845"/>
                      <a:pt x="17199" y="6748"/>
                    </a:cubicBezTo>
                    <a:lnTo>
                      <a:pt x="16243" y="6468"/>
                    </a:lnTo>
                    <a:cubicBezTo>
                      <a:pt x="16157" y="6444"/>
                      <a:pt x="16067" y="6441"/>
                      <a:pt x="15984" y="6455"/>
                    </a:cubicBezTo>
                    <a:close/>
                    <a:moveTo>
                      <a:pt x="16116" y="7088"/>
                    </a:moveTo>
                    <a:lnTo>
                      <a:pt x="17073" y="7368"/>
                    </a:lnTo>
                    <a:cubicBezTo>
                      <a:pt x="17153" y="7392"/>
                      <a:pt x="17209" y="7488"/>
                      <a:pt x="17199" y="7588"/>
                    </a:cubicBezTo>
                    <a:lnTo>
                      <a:pt x="17078" y="8827"/>
                    </a:lnTo>
                    <a:cubicBezTo>
                      <a:pt x="17046" y="9155"/>
                      <a:pt x="17176" y="9475"/>
                      <a:pt x="17408" y="9647"/>
                    </a:cubicBezTo>
                    <a:cubicBezTo>
                      <a:pt x="17619" y="9800"/>
                      <a:pt x="17817" y="9978"/>
                      <a:pt x="18002" y="10174"/>
                    </a:cubicBezTo>
                    <a:cubicBezTo>
                      <a:pt x="18207" y="10389"/>
                      <a:pt x="18499" y="10434"/>
                      <a:pt x="18745" y="10294"/>
                    </a:cubicBezTo>
                    <a:lnTo>
                      <a:pt x="19674" y="9774"/>
                    </a:lnTo>
                    <a:cubicBezTo>
                      <a:pt x="19749" y="9732"/>
                      <a:pt x="19840" y="9762"/>
                      <a:pt x="19883" y="9847"/>
                    </a:cubicBezTo>
                    <a:lnTo>
                      <a:pt x="20394" y="10867"/>
                    </a:lnTo>
                    <a:cubicBezTo>
                      <a:pt x="20437" y="10953"/>
                      <a:pt x="20419" y="11062"/>
                      <a:pt x="20356" y="11127"/>
                    </a:cubicBezTo>
                    <a:lnTo>
                      <a:pt x="19553" y="11900"/>
                    </a:lnTo>
                    <a:cubicBezTo>
                      <a:pt x="19339" y="12103"/>
                      <a:pt x="19241" y="12446"/>
                      <a:pt x="19305" y="12766"/>
                    </a:cubicBezTo>
                    <a:cubicBezTo>
                      <a:pt x="19365" y="13056"/>
                      <a:pt x="19404" y="13348"/>
                      <a:pt x="19421" y="13646"/>
                    </a:cubicBezTo>
                    <a:cubicBezTo>
                      <a:pt x="19441" y="13974"/>
                      <a:pt x="19622" y="14259"/>
                      <a:pt x="19877" y="14372"/>
                    </a:cubicBezTo>
                    <a:lnTo>
                      <a:pt x="20840" y="14805"/>
                    </a:lnTo>
                    <a:cubicBezTo>
                      <a:pt x="20919" y="14839"/>
                      <a:pt x="20964" y="14939"/>
                      <a:pt x="20944" y="15038"/>
                    </a:cubicBezTo>
                    <a:lnTo>
                      <a:pt x="20719" y="16205"/>
                    </a:lnTo>
                    <a:cubicBezTo>
                      <a:pt x="20700" y="16302"/>
                      <a:pt x="20619" y="16370"/>
                      <a:pt x="20537" y="16358"/>
                    </a:cubicBezTo>
                    <a:lnTo>
                      <a:pt x="19520" y="16211"/>
                    </a:lnTo>
                    <a:cubicBezTo>
                      <a:pt x="19247" y="16175"/>
                      <a:pt x="18978" y="16338"/>
                      <a:pt x="18838" y="16625"/>
                    </a:cubicBezTo>
                    <a:cubicBezTo>
                      <a:pt x="18713" y="16881"/>
                      <a:pt x="18570" y="17119"/>
                      <a:pt x="18409" y="17344"/>
                    </a:cubicBezTo>
                    <a:cubicBezTo>
                      <a:pt x="18233" y="17594"/>
                      <a:pt x="18196" y="17946"/>
                      <a:pt x="18310" y="18244"/>
                    </a:cubicBezTo>
                    <a:lnTo>
                      <a:pt x="18739" y="19383"/>
                    </a:lnTo>
                    <a:cubicBezTo>
                      <a:pt x="18774" y="19475"/>
                      <a:pt x="18748" y="19582"/>
                      <a:pt x="18679" y="19637"/>
                    </a:cubicBezTo>
                    <a:lnTo>
                      <a:pt x="17832" y="20256"/>
                    </a:lnTo>
                    <a:cubicBezTo>
                      <a:pt x="17762" y="20307"/>
                      <a:pt x="17674" y="20293"/>
                      <a:pt x="17623" y="20217"/>
                    </a:cubicBezTo>
                    <a:lnTo>
                      <a:pt x="16985" y="19230"/>
                    </a:lnTo>
                    <a:cubicBezTo>
                      <a:pt x="16817" y="18970"/>
                      <a:pt x="16540" y="18852"/>
                      <a:pt x="16276" y="18930"/>
                    </a:cubicBezTo>
                    <a:cubicBezTo>
                      <a:pt x="16038" y="19004"/>
                      <a:pt x="15794" y="19050"/>
                      <a:pt x="15550" y="19070"/>
                    </a:cubicBezTo>
                    <a:cubicBezTo>
                      <a:pt x="15278" y="19096"/>
                      <a:pt x="15048" y="19313"/>
                      <a:pt x="14956" y="19623"/>
                    </a:cubicBezTo>
                    <a:lnTo>
                      <a:pt x="14598" y="20803"/>
                    </a:lnTo>
                    <a:cubicBezTo>
                      <a:pt x="14570" y="20897"/>
                      <a:pt x="14492" y="20944"/>
                      <a:pt x="14411" y="20923"/>
                    </a:cubicBezTo>
                    <a:lnTo>
                      <a:pt x="13454" y="20650"/>
                    </a:lnTo>
                    <a:cubicBezTo>
                      <a:pt x="13374" y="20625"/>
                      <a:pt x="13318" y="20530"/>
                      <a:pt x="13328" y="20430"/>
                    </a:cubicBezTo>
                    <a:lnTo>
                      <a:pt x="13449" y="19190"/>
                    </a:lnTo>
                    <a:cubicBezTo>
                      <a:pt x="13482" y="18862"/>
                      <a:pt x="13352" y="18542"/>
                      <a:pt x="13119" y="18371"/>
                    </a:cubicBezTo>
                    <a:cubicBezTo>
                      <a:pt x="12909" y="18216"/>
                      <a:pt x="12710" y="18040"/>
                      <a:pt x="12525" y="17844"/>
                    </a:cubicBezTo>
                    <a:cubicBezTo>
                      <a:pt x="12400" y="17713"/>
                      <a:pt x="12240" y="17637"/>
                      <a:pt x="12074" y="17637"/>
                    </a:cubicBezTo>
                    <a:cubicBezTo>
                      <a:pt x="11974" y="17638"/>
                      <a:pt x="11874" y="17666"/>
                      <a:pt x="11783" y="17717"/>
                    </a:cubicBezTo>
                    <a:lnTo>
                      <a:pt x="10853" y="18244"/>
                    </a:lnTo>
                    <a:cubicBezTo>
                      <a:pt x="10779" y="18285"/>
                      <a:pt x="10688" y="18255"/>
                      <a:pt x="10644" y="18171"/>
                    </a:cubicBezTo>
                    <a:lnTo>
                      <a:pt x="10133" y="17151"/>
                    </a:lnTo>
                    <a:cubicBezTo>
                      <a:pt x="10090" y="17065"/>
                      <a:pt x="10107" y="16955"/>
                      <a:pt x="10172" y="16891"/>
                    </a:cubicBezTo>
                    <a:lnTo>
                      <a:pt x="10974" y="16111"/>
                    </a:lnTo>
                    <a:cubicBezTo>
                      <a:pt x="11188" y="15907"/>
                      <a:pt x="11286" y="15572"/>
                      <a:pt x="11222" y="15252"/>
                    </a:cubicBezTo>
                    <a:cubicBezTo>
                      <a:pt x="11162" y="14961"/>
                      <a:pt x="11119" y="14664"/>
                      <a:pt x="11101" y="14365"/>
                    </a:cubicBezTo>
                    <a:cubicBezTo>
                      <a:pt x="11081" y="14038"/>
                      <a:pt x="10905" y="13758"/>
                      <a:pt x="10650" y="13646"/>
                    </a:cubicBezTo>
                    <a:lnTo>
                      <a:pt x="9688" y="13212"/>
                    </a:lnTo>
                    <a:cubicBezTo>
                      <a:pt x="9610" y="13176"/>
                      <a:pt x="9564" y="13078"/>
                      <a:pt x="9583" y="12979"/>
                    </a:cubicBezTo>
                    <a:lnTo>
                      <a:pt x="9814" y="11813"/>
                    </a:lnTo>
                    <a:cubicBezTo>
                      <a:pt x="9833" y="11715"/>
                      <a:pt x="9908" y="11648"/>
                      <a:pt x="9990" y="11660"/>
                    </a:cubicBezTo>
                    <a:lnTo>
                      <a:pt x="11007" y="11806"/>
                    </a:lnTo>
                    <a:cubicBezTo>
                      <a:pt x="11278" y="11847"/>
                      <a:pt x="11544" y="11690"/>
                      <a:pt x="11684" y="11406"/>
                    </a:cubicBezTo>
                    <a:cubicBezTo>
                      <a:pt x="11810" y="11150"/>
                      <a:pt x="11957" y="10906"/>
                      <a:pt x="12118" y="10680"/>
                    </a:cubicBezTo>
                    <a:cubicBezTo>
                      <a:pt x="12294" y="10430"/>
                      <a:pt x="12331" y="10079"/>
                      <a:pt x="12217" y="9780"/>
                    </a:cubicBezTo>
                    <a:lnTo>
                      <a:pt x="11788" y="8654"/>
                    </a:lnTo>
                    <a:cubicBezTo>
                      <a:pt x="11753" y="8562"/>
                      <a:pt x="11778" y="8455"/>
                      <a:pt x="11849" y="8401"/>
                    </a:cubicBezTo>
                    <a:lnTo>
                      <a:pt x="12690" y="7768"/>
                    </a:lnTo>
                    <a:cubicBezTo>
                      <a:pt x="12760" y="7716"/>
                      <a:pt x="12848" y="7737"/>
                      <a:pt x="12899" y="7814"/>
                    </a:cubicBezTo>
                    <a:lnTo>
                      <a:pt x="13542" y="8781"/>
                    </a:lnTo>
                    <a:cubicBezTo>
                      <a:pt x="13710" y="9042"/>
                      <a:pt x="13987" y="9161"/>
                      <a:pt x="14252" y="9081"/>
                    </a:cubicBezTo>
                    <a:cubicBezTo>
                      <a:pt x="14490" y="9008"/>
                      <a:pt x="14733" y="8961"/>
                      <a:pt x="14978" y="8941"/>
                    </a:cubicBezTo>
                    <a:cubicBezTo>
                      <a:pt x="15248" y="8916"/>
                      <a:pt x="15480" y="8704"/>
                      <a:pt x="15572" y="8394"/>
                    </a:cubicBezTo>
                    <a:lnTo>
                      <a:pt x="15929" y="7215"/>
                    </a:lnTo>
                    <a:cubicBezTo>
                      <a:pt x="15956" y="7120"/>
                      <a:pt x="16035" y="7064"/>
                      <a:pt x="16116" y="7088"/>
                    </a:cubicBezTo>
                    <a:close/>
                    <a:moveTo>
                      <a:pt x="5343" y="8568"/>
                    </a:moveTo>
                    <a:cubicBezTo>
                      <a:pt x="5065" y="8474"/>
                      <a:pt x="4772" y="8650"/>
                      <a:pt x="4661" y="8974"/>
                    </a:cubicBezTo>
                    <a:lnTo>
                      <a:pt x="4381" y="9794"/>
                    </a:lnTo>
                    <a:cubicBezTo>
                      <a:pt x="4376" y="9809"/>
                      <a:pt x="4367" y="9819"/>
                      <a:pt x="4354" y="9820"/>
                    </a:cubicBezTo>
                    <a:cubicBezTo>
                      <a:pt x="4154" y="9827"/>
                      <a:pt x="3955" y="9857"/>
                      <a:pt x="3760" y="9907"/>
                    </a:cubicBezTo>
                    <a:cubicBezTo>
                      <a:pt x="3745" y="9910"/>
                      <a:pt x="3729" y="9902"/>
                      <a:pt x="3721" y="9887"/>
                    </a:cubicBezTo>
                    <a:lnTo>
                      <a:pt x="3292" y="9174"/>
                    </a:lnTo>
                    <a:cubicBezTo>
                      <a:pt x="3122" y="8893"/>
                      <a:pt x="2801" y="8811"/>
                      <a:pt x="2550" y="8981"/>
                    </a:cubicBezTo>
                    <a:lnTo>
                      <a:pt x="1939" y="9394"/>
                    </a:lnTo>
                    <a:cubicBezTo>
                      <a:pt x="1688" y="9566"/>
                      <a:pt x="1581" y="9943"/>
                      <a:pt x="1692" y="10267"/>
                    </a:cubicBezTo>
                    <a:lnTo>
                      <a:pt x="1978" y="11087"/>
                    </a:lnTo>
                    <a:cubicBezTo>
                      <a:pt x="1985" y="11100"/>
                      <a:pt x="1985" y="11113"/>
                      <a:pt x="1978" y="11127"/>
                    </a:cubicBezTo>
                    <a:cubicBezTo>
                      <a:pt x="1840" y="11304"/>
                      <a:pt x="1713" y="11502"/>
                      <a:pt x="1604" y="11706"/>
                    </a:cubicBezTo>
                    <a:cubicBezTo>
                      <a:pt x="1596" y="11720"/>
                      <a:pt x="1584" y="11722"/>
                      <a:pt x="1571" y="11720"/>
                    </a:cubicBezTo>
                    <a:lnTo>
                      <a:pt x="851" y="11580"/>
                    </a:lnTo>
                    <a:cubicBezTo>
                      <a:pt x="564" y="11524"/>
                      <a:pt x="290" y="11741"/>
                      <a:pt x="213" y="12080"/>
                    </a:cubicBezTo>
                    <a:lnTo>
                      <a:pt x="20" y="12899"/>
                    </a:lnTo>
                    <a:cubicBezTo>
                      <a:pt x="-57" y="13236"/>
                      <a:pt x="89" y="13591"/>
                      <a:pt x="356" y="13726"/>
                    </a:cubicBezTo>
                    <a:lnTo>
                      <a:pt x="1027" y="14065"/>
                    </a:lnTo>
                    <a:cubicBezTo>
                      <a:pt x="1039" y="14071"/>
                      <a:pt x="1048" y="14082"/>
                      <a:pt x="1049" y="14099"/>
                    </a:cubicBezTo>
                    <a:cubicBezTo>
                      <a:pt x="1055" y="14342"/>
                      <a:pt x="1079" y="14587"/>
                      <a:pt x="1120" y="14825"/>
                    </a:cubicBezTo>
                    <a:cubicBezTo>
                      <a:pt x="1123" y="14843"/>
                      <a:pt x="1116" y="14856"/>
                      <a:pt x="1104" y="14865"/>
                    </a:cubicBezTo>
                    <a:lnTo>
                      <a:pt x="515" y="15392"/>
                    </a:lnTo>
                    <a:cubicBezTo>
                      <a:pt x="285" y="15600"/>
                      <a:pt x="218" y="15979"/>
                      <a:pt x="356" y="16285"/>
                    </a:cubicBezTo>
                    <a:lnTo>
                      <a:pt x="697" y="17031"/>
                    </a:lnTo>
                    <a:cubicBezTo>
                      <a:pt x="838" y="17337"/>
                      <a:pt x="1145" y="17466"/>
                      <a:pt x="1411" y="17331"/>
                    </a:cubicBezTo>
                    <a:lnTo>
                      <a:pt x="2088" y="16984"/>
                    </a:lnTo>
                    <a:cubicBezTo>
                      <a:pt x="2098" y="16976"/>
                      <a:pt x="2110" y="16976"/>
                      <a:pt x="2121" y="16984"/>
                    </a:cubicBezTo>
                    <a:cubicBezTo>
                      <a:pt x="2266" y="17151"/>
                      <a:pt x="2421" y="17305"/>
                      <a:pt x="2588" y="17438"/>
                    </a:cubicBezTo>
                    <a:cubicBezTo>
                      <a:pt x="2601" y="17448"/>
                      <a:pt x="2608" y="17466"/>
                      <a:pt x="2605" y="17484"/>
                    </a:cubicBezTo>
                    <a:lnTo>
                      <a:pt x="2495" y="18357"/>
                    </a:lnTo>
                    <a:cubicBezTo>
                      <a:pt x="2449" y="18703"/>
                      <a:pt x="2624" y="19041"/>
                      <a:pt x="2902" y="19137"/>
                    </a:cubicBezTo>
                    <a:lnTo>
                      <a:pt x="3573" y="19363"/>
                    </a:lnTo>
                    <a:cubicBezTo>
                      <a:pt x="3623" y="19379"/>
                      <a:pt x="3675" y="19390"/>
                      <a:pt x="3727" y="19390"/>
                    </a:cubicBezTo>
                    <a:cubicBezTo>
                      <a:pt x="3959" y="19392"/>
                      <a:pt x="4165" y="19224"/>
                      <a:pt x="4255" y="18964"/>
                    </a:cubicBezTo>
                    <a:lnTo>
                      <a:pt x="4535" y="18137"/>
                    </a:lnTo>
                    <a:cubicBezTo>
                      <a:pt x="4539" y="18122"/>
                      <a:pt x="4549" y="18112"/>
                      <a:pt x="4562" y="18111"/>
                    </a:cubicBezTo>
                    <a:cubicBezTo>
                      <a:pt x="4762" y="18103"/>
                      <a:pt x="4961" y="18073"/>
                      <a:pt x="5156" y="18024"/>
                    </a:cubicBezTo>
                    <a:cubicBezTo>
                      <a:pt x="5170" y="18021"/>
                      <a:pt x="5187" y="18030"/>
                      <a:pt x="5195" y="18044"/>
                    </a:cubicBezTo>
                    <a:lnTo>
                      <a:pt x="5624" y="18764"/>
                    </a:lnTo>
                    <a:cubicBezTo>
                      <a:pt x="5793" y="19045"/>
                      <a:pt x="6109" y="19125"/>
                      <a:pt x="6361" y="18957"/>
                    </a:cubicBezTo>
                    <a:lnTo>
                      <a:pt x="6977" y="18544"/>
                    </a:lnTo>
                    <a:cubicBezTo>
                      <a:pt x="7227" y="18371"/>
                      <a:pt x="7329" y="18000"/>
                      <a:pt x="7219" y="17677"/>
                    </a:cubicBezTo>
                    <a:lnTo>
                      <a:pt x="6944" y="16858"/>
                    </a:lnTo>
                    <a:cubicBezTo>
                      <a:pt x="6937" y="16843"/>
                      <a:pt x="6937" y="16826"/>
                      <a:pt x="6944" y="16811"/>
                    </a:cubicBezTo>
                    <a:cubicBezTo>
                      <a:pt x="7081" y="16634"/>
                      <a:pt x="7203" y="16442"/>
                      <a:pt x="7312" y="16238"/>
                    </a:cubicBezTo>
                    <a:cubicBezTo>
                      <a:pt x="7320" y="16223"/>
                      <a:pt x="7336" y="16211"/>
                      <a:pt x="7350" y="16211"/>
                    </a:cubicBezTo>
                    <a:lnTo>
                      <a:pt x="8071" y="16351"/>
                    </a:lnTo>
                    <a:cubicBezTo>
                      <a:pt x="8357" y="16407"/>
                      <a:pt x="8631" y="16190"/>
                      <a:pt x="8709" y="15851"/>
                    </a:cubicBezTo>
                    <a:lnTo>
                      <a:pt x="8896" y="15038"/>
                    </a:lnTo>
                    <a:cubicBezTo>
                      <a:pt x="8971" y="14698"/>
                      <a:pt x="8825" y="14343"/>
                      <a:pt x="8555" y="14212"/>
                    </a:cubicBezTo>
                    <a:lnTo>
                      <a:pt x="7878" y="13872"/>
                    </a:lnTo>
                    <a:cubicBezTo>
                      <a:pt x="7866" y="13866"/>
                      <a:pt x="7857" y="13849"/>
                      <a:pt x="7856" y="13832"/>
                    </a:cubicBezTo>
                    <a:cubicBezTo>
                      <a:pt x="7850" y="13589"/>
                      <a:pt x="7826" y="13351"/>
                      <a:pt x="7785" y="13113"/>
                    </a:cubicBezTo>
                    <a:cubicBezTo>
                      <a:pt x="7782" y="13095"/>
                      <a:pt x="7789" y="13076"/>
                      <a:pt x="7801" y="13066"/>
                    </a:cubicBezTo>
                    <a:lnTo>
                      <a:pt x="8395" y="12539"/>
                    </a:lnTo>
                    <a:cubicBezTo>
                      <a:pt x="8625" y="12331"/>
                      <a:pt x="8692" y="11952"/>
                      <a:pt x="8555" y="11646"/>
                    </a:cubicBezTo>
                    <a:lnTo>
                      <a:pt x="8214" y="10907"/>
                    </a:lnTo>
                    <a:cubicBezTo>
                      <a:pt x="8073" y="10600"/>
                      <a:pt x="7761" y="10471"/>
                      <a:pt x="7493" y="10607"/>
                    </a:cubicBezTo>
                    <a:lnTo>
                      <a:pt x="6823" y="10947"/>
                    </a:lnTo>
                    <a:cubicBezTo>
                      <a:pt x="6812" y="10955"/>
                      <a:pt x="6800" y="10955"/>
                      <a:pt x="6790" y="10947"/>
                    </a:cubicBezTo>
                    <a:cubicBezTo>
                      <a:pt x="6644" y="10780"/>
                      <a:pt x="6484" y="10627"/>
                      <a:pt x="6317" y="10493"/>
                    </a:cubicBezTo>
                    <a:cubicBezTo>
                      <a:pt x="6304" y="10484"/>
                      <a:pt x="6297" y="10471"/>
                      <a:pt x="6300" y="10454"/>
                    </a:cubicBezTo>
                    <a:lnTo>
                      <a:pt x="6416" y="9574"/>
                    </a:lnTo>
                    <a:cubicBezTo>
                      <a:pt x="6461" y="9228"/>
                      <a:pt x="6286" y="8897"/>
                      <a:pt x="6009" y="8801"/>
                    </a:cubicBezTo>
                    <a:lnTo>
                      <a:pt x="5343" y="8568"/>
                    </a:lnTo>
                    <a:close/>
                    <a:moveTo>
                      <a:pt x="5195" y="9181"/>
                    </a:moveTo>
                    <a:lnTo>
                      <a:pt x="5860" y="9414"/>
                    </a:lnTo>
                    <a:cubicBezTo>
                      <a:pt x="5879" y="9420"/>
                      <a:pt x="5892" y="9444"/>
                      <a:pt x="5888" y="9467"/>
                    </a:cubicBezTo>
                    <a:lnTo>
                      <a:pt x="5772" y="10340"/>
                    </a:lnTo>
                    <a:cubicBezTo>
                      <a:pt x="5737" y="10608"/>
                      <a:pt x="5834" y="10877"/>
                      <a:pt x="6020" y="11027"/>
                    </a:cubicBezTo>
                    <a:cubicBezTo>
                      <a:pt x="6161" y="11140"/>
                      <a:pt x="6297" y="11266"/>
                      <a:pt x="6421" y="11406"/>
                    </a:cubicBezTo>
                    <a:cubicBezTo>
                      <a:pt x="6584" y="11591"/>
                      <a:pt x="6821" y="11645"/>
                      <a:pt x="7026" y="11540"/>
                    </a:cubicBezTo>
                    <a:lnTo>
                      <a:pt x="7697" y="11200"/>
                    </a:lnTo>
                    <a:cubicBezTo>
                      <a:pt x="7714" y="11192"/>
                      <a:pt x="7737" y="11201"/>
                      <a:pt x="7746" y="11220"/>
                    </a:cubicBezTo>
                    <a:lnTo>
                      <a:pt x="8087" y="11960"/>
                    </a:lnTo>
                    <a:cubicBezTo>
                      <a:pt x="8097" y="11980"/>
                      <a:pt x="8092" y="12005"/>
                      <a:pt x="8076" y="12020"/>
                    </a:cubicBezTo>
                    <a:lnTo>
                      <a:pt x="7488" y="12539"/>
                    </a:lnTo>
                    <a:cubicBezTo>
                      <a:pt x="7306" y="12698"/>
                      <a:pt x="7217" y="12974"/>
                      <a:pt x="7263" y="13239"/>
                    </a:cubicBezTo>
                    <a:cubicBezTo>
                      <a:pt x="7297" y="13441"/>
                      <a:pt x="7318" y="13646"/>
                      <a:pt x="7323" y="13852"/>
                    </a:cubicBezTo>
                    <a:cubicBezTo>
                      <a:pt x="7331" y="14122"/>
                      <a:pt x="7470" y="14361"/>
                      <a:pt x="7675" y="14465"/>
                    </a:cubicBezTo>
                    <a:lnTo>
                      <a:pt x="8351" y="14805"/>
                    </a:lnTo>
                    <a:cubicBezTo>
                      <a:pt x="8370" y="14814"/>
                      <a:pt x="8379" y="14835"/>
                      <a:pt x="8373" y="14859"/>
                    </a:cubicBezTo>
                    <a:cubicBezTo>
                      <a:pt x="8373" y="14859"/>
                      <a:pt x="8186" y="15678"/>
                      <a:pt x="8186" y="15678"/>
                    </a:cubicBezTo>
                    <a:cubicBezTo>
                      <a:pt x="8181" y="15700"/>
                      <a:pt x="8161" y="15715"/>
                      <a:pt x="8142" y="15712"/>
                    </a:cubicBezTo>
                    <a:lnTo>
                      <a:pt x="7422" y="15578"/>
                    </a:lnTo>
                    <a:cubicBezTo>
                      <a:pt x="7199" y="15537"/>
                      <a:pt x="6978" y="15655"/>
                      <a:pt x="6856" y="15885"/>
                    </a:cubicBezTo>
                    <a:cubicBezTo>
                      <a:pt x="6763" y="16057"/>
                      <a:pt x="6658" y="16221"/>
                      <a:pt x="6542" y="16371"/>
                    </a:cubicBezTo>
                    <a:cubicBezTo>
                      <a:pt x="6392" y="16569"/>
                      <a:pt x="6347" y="16856"/>
                      <a:pt x="6432" y="17104"/>
                    </a:cubicBezTo>
                    <a:lnTo>
                      <a:pt x="6713" y="17924"/>
                    </a:lnTo>
                    <a:cubicBezTo>
                      <a:pt x="6721" y="17946"/>
                      <a:pt x="6713" y="17972"/>
                      <a:pt x="6696" y="17984"/>
                    </a:cubicBezTo>
                    <a:lnTo>
                      <a:pt x="6086" y="18397"/>
                    </a:lnTo>
                    <a:cubicBezTo>
                      <a:pt x="6070" y="18408"/>
                      <a:pt x="6047" y="18402"/>
                      <a:pt x="6036" y="18384"/>
                    </a:cubicBezTo>
                    <a:lnTo>
                      <a:pt x="5607" y="17664"/>
                    </a:lnTo>
                    <a:cubicBezTo>
                      <a:pt x="5477" y="17444"/>
                      <a:pt x="5254" y="17337"/>
                      <a:pt x="5035" y="17391"/>
                    </a:cubicBezTo>
                    <a:cubicBezTo>
                      <a:pt x="4869" y="17433"/>
                      <a:pt x="4699" y="17458"/>
                      <a:pt x="4529" y="17464"/>
                    </a:cubicBezTo>
                    <a:cubicBezTo>
                      <a:pt x="4307" y="17475"/>
                      <a:pt x="4114" y="17641"/>
                      <a:pt x="4029" y="17891"/>
                    </a:cubicBezTo>
                    <a:lnTo>
                      <a:pt x="3749" y="18710"/>
                    </a:lnTo>
                    <a:cubicBezTo>
                      <a:pt x="3742" y="18732"/>
                      <a:pt x="3723" y="18750"/>
                      <a:pt x="3705" y="18744"/>
                    </a:cubicBezTo>
                    <a:lnTo>
                      <a:pt x="3039" y="18510"/>
                    </a:lnTo>
                    <a:cubicBezTo>
                      <a:pt x="3020" y="18504"/>
                      <a:pt x="3008" y="18481"/>
                      <a:pt x="3012" y="18457"/>
                    </a:cubicBezTo>
                    <a:lnTo>
                      <a:pt x="3127" y="17584"/>
                    </a:lnTo>
                    <a:cubicBezTo>
                      <a:pt x="3163" y="17317"/>
                      <a:pt x="3066" y="17048"/>
                      <a:pt x="2880" y="16898"/>
                    </a:cubicBezTo>
                    <a:cubicBezTo>
                      <a:pt x="2738" y="16785"/>
                      <a:pt x="2602" y="16659"/>
                      <a:pt x="2478" y="16518"/>
                    </a:cubicBezTo>
                    <a:cubicBezTo>
                      <a:pt x="2316" y="16333"/>
                      <a:pt x="2079" y="16280"/>
                      <a:pt x="1873" y="16385"/>
                    </a:cubicBezTo>
                    <a:lnTo>
                      <a:pt x="1197" y="16724"/>
                    </a:lnTo>
                    <a:cubicBezTo>
                      <a:pt x="1179" y="16733"/>
                      <a:pt x="1162" y="16725"/>
                      <a:pt x="1153" y="16704"/>
                    </a:cubicBezTo>
                    <a:lnTo>
                      <a:pt x="812" y="15965"/>
                    </a:lnTo>
                    <a:cubicBezTo>
                      <a:pt x="803" y="15943"/>
                      <a:pt x="808" y="15920"/>
                      <a:pt x="823" y="15905"/>
                    </a:cubicBezTo>
                    <a:lnTo>
                      <a:pt x="1411" y="15385"/>
                    </a:lnTo>
                    <a:cubicBezTo>
                      <a:pt x="1593" y="15227"/>
                      <a:pt x="1682" y="14950"/>
                      <a:pt x="1637" y="14685"/>
                    </a:cubicBezTo>
                    <a:cubicBezTo>
                      <a:pt x="1602" y="14483"/>
                      <a:pt x="1582" y="14279"/>
                      <a:pt x="1576" y="14072"/>
                    </a:cubicBezTo>
                    <a:cubicBezTo>
                      <a:pt x="1569" y="13803"/>
                      <a:pt x="1430" y="13563"/>
                      <a:pt x="1225" y="13459"/>
                    </a:cubicBezTo>
                    <a:lnTo>
                      <a:pt x="548" y="13119"/>
                    </a:lnTo>
                    <a:cubicBezTo>
                      <a:pt x="530" y="13110"/>
                      <a:pt x="521" y="13089"/>
                      <a:pt x="526" y="13066"/>
                    </a:cubicBezTo>
                    <a:lnTo>
                      <a:pt x="719" y="12246"/>
                    </a:lnTo>
                    <a:cubicBezTo>
                      <a:pt x="724" y="12224"/>
                      <a:pt x="738" y="12210"/>
                      <a:pt x="757" y="12213"/>
                    </a:cubicBezTo>
                    <a:lnTo>
                      <a:pt x="1477" y="12353"/>
                    </a:lnTo>
                    <a:cubicBezTo>
                      <a:pt x="1699" y="12396"/>
                      <a:pt x="1921" y="12274"/>
                      <a:pt x="2044" y="12046"/>
                    </a:cubicBezTo>
                    <a:cubicBezTo>
                      <a:pt x="2137" y="11874"/>
                      <a:pt x="2241" y="11716"/>
                      <a:pt x="2357" y="11566"/>
                    </a:cubicBezTo>
                    <a:cubicBezTo>
                      <a:pt x="2508" y="11368"/>
                      <a:pt x="2552" y="11076"/>
                      <a:pt x="2467" y="10827"/>
                    </a:cubicBezTo>
                    <a:lnTo>
                      <a:pt x="2181" y="10014"/>
                    </a:lnTo>
                    <a:cubicBezTo>
                      <a:pt x="2175" y="9991"/>
                      <a:pt x="2186" y="9960"/>
                      <a:pt x="2203" y="9947"/>
                    </a:cubicBezTo>
                    <a:lnTo>
                      <a:pt x="2808" y="9534"/>
                    </a:lnTo>
                    <a:cubicBezTo>
                      <a:pt x="2825" y="9522"/>
                      <a:pt x="2847" y="9528"/>
                      <a:pt x="2858" y="9547"/>
                    </a:cubicBezTo>
                    <a:lnTo>
                      <a:pt x="3292" y="10260"/>
                    </a:lnTo>
                    <a:cubicBezTo>
                      <a:pt x="3423" y="10480"/>
                      <a:pt x="3645" y="10587"/>
                      <a:pt x="3864" y="10533"/>
                    </a:cubicBezTo>
                    <a:cubicBezTo>
                      <a:pt x="4030" y="10491"/>
                      <a:pt x="4200" y="10466"/>
                      <a:pt x="4370" y="10460"/>
                    </a:cubicBezTo>
                    <a:cubicBezTo>
                      <a:pt x="4593" y="10449"/>
                      <a:pt x="4787" y="10277"/>
                      <a:pt x="4870" y="10027"/>
                    </a:cubicBezTo>
                    <a:lnTo>
                      <a:pt x="5151" y="9214"/>
                    </a:lnTo>
                    <a:cubicBezTo>
                      <a:pt x="5158" y="9193"/>
                      <a:pt x="5176" y="9176"/>
                      <a:pt x="5195" y="9181"/>
                    </a:cubicBezTo>
                    <a:close/>
                    <a:moveTo>
                      <a:pt x="15264" y="10627"/>
                    </a:moveTo>
                    <a:cubicBezTo>
                      <a:pt x="13721" y="10627"/>
                      <a:pt x="12470" y="12142"/>
                      <a:pt x="12470" y="14012"/>
                    </a:cubicBezTo>
                    <a:cubicBezTo>
                      <a:pt x="12470" y="15882"/>
                      <a:pt x="13721" y="17398"/>
                      <a:pt x="15264" y="17398"/>
                    </a:cubicBezTo>
                    <a:cubicBezTo>
                      <a:pt x="16807" y="17398"/>
                      <a:pt x="18057" y="15882"/>
                      <a:pt x="18057" y="14012"/>
                    </a:cubicBezTo>
                    <a:cubicBezTo>
                      <a:pt x="18057" y="12142"/>
                      <a:pt x="16807" y="10627"/>
                      <a:pt x="15264" y="10627"/>
                    </a:cubicBezTo>
                    <a:close/>
                    <a:moveTo>
                      <a:pt x="15264" y="11273"/>
                    </a:moveTo>
                    <a:cubicBezTo>
                      <a:pt x="16513" y="11273"/>
                      <a:pt x="17529" y="12499"/>
                      <a:pt x="17529" y="14012"/>
                    </a:cubicBezTo>
                    <a:cubicBezTo>
                      <a:pt x="17529" y="15526"/>
                      <a:pt x="16513" y="16751"/>
                      <a:pt x="15264" y="16751"/>
                    </a:cubicBezTo>
                    <a:cubicBezTo>
                      <a:pt x="14015" y="16751"/>
                      <a:pt x="13004" y="15526"/>
                      <a:pt x="13004" y="14012"/>
                    </a:cubicBezTo>
                    <a:cubicBezTo>
                      <a:pt x="13004" y="12499"/>
                      <a:pt x="14015" y="11273"/>
                      <a:pt x="15264" y="11273"/>
                    </a:cubicBezTo>
                    <a:close/>
                    <a:moveTo>
                      <a:pt x="4546" y="11466"/>
                    </a:moveTo>
                    <a:cubicBezTo>
                      <a:pt x="4020" y="11439"/>
                      <a:pt x="3485" y="11654"/>
                      <a:pt x="3067" y="12120"/>
                    </a:cubicBezTo>
                    <a:cubicBezTo>
                      <a:pt x="3064" y="12123"/>
                      <a:pt x="3064" y="12129"/>
                      <a:pt x="3061" y="12133"/>
                    </a:cubicBezTo>
                    <a:cubicBezTo>
                      <a:pt x="2225" y="13069"/>
                      <a:pt x="2168" y="14651"/>
                      <a:pt x="2940" y="15665"/>
                    </a:cubicBezTo>
                    <a:cubicBezTo>
                      <a:pt x="3713" y="16679"/>
                      <a:pt x="5018" y="16741"/>
                      <a:pt x="5855" y="15805"/>
                    </a:cubicBezTo>
                    <a:cubicBezTo>
                      <a:pt x="6691" y="14869"/>
                      <a:pt x="6743" y="13287"/>
                      <a:pt x="5970" y="12273"/>
                    </a:cubicBezTo>
                    <a:cubicBezTo>
                      <a:pt x="5586" y="11766"/>
                      <a:pt x="5072" y="11494"/>
                      <a:pt x="4546" y="11466"/>
                    </a:cubicBezTo>
                    <a:close/>
                    <a:moveTo>
                      <a:pt x="4513" y="12100"/>
                    </a:moveTo>
                    <a:cubicBezTo>
                      <a:pt x="4904" y="12113"/>
                      <a:pt x="5290" y="12307"/>
                      <a:pt x="5580" y="12679"/>
                    </a:cubicBezTo>
                    <a:cubicBezTo>
                      <a:pt x="6160" y="13424"/>
                      <a:pt x="6134" y="14602"/>
                      <a:pt x="5519" y="15305"/>
                    </a:cubicBezTo>
                    <a:cubicBezTo>
                      <a:pt x="5512" y="15314"/>
                      <a:pt x="5505" y="15323"/>
                      <a:pt x="5497" y="15332"/>
                    </a:cubicBezTo>
                    <a:cubicBezTo>
                      <a:pt x="4883" y="16034"/>
                      <a:pt x="3916" y="15996"/>
                      <a:pt x="3336" y="15252"/>
                    </a:cubicBezTo>
                    <a:cubicBezTo>
                      <a:pt x="2756" y="14507"/>
                      <a:pt x="2782" y="13335"/>
                      <a:pt x="3397" y="12633"/>
                    </a:cubicBezTo>
                    <a:cubicBezTo>
                      <a:pt x="3404" y="12624"/>
                      <a:pt x="3411" y="12615"/>
                      <a:pt x="3419" y="12606"/>
                    </a:cubicBezTo>
                    <a:cubicBezTo>
                      <a:pt x="3726" y="12255"/>
                      <a:pt x="4122" y="12086"/>
                      <a:pt x="4513" y="121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rgbClr val="FFFFFF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11627"/>
                  </a:solidFill>
                  <a:effectLst/>
                  <a:uLnTx/>
                  <a:uFillTx/>
                  <a:latin typeface="Poppins" pitchFamily="2" charset="77"/>
                  <a:ea typeface="+mn-ea"/>
                  <a:cs typeface="Poppins" pitchFamily="2" charset="77"/>
                </a:endParaRPr>
              </a:p>
            </p:txBody>
          </p: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A414ABFE-0762-0299-CB8C-B79332DF7811}"/>
                  </a:ext>
                </a:extLst>
              </p:cNvPr>
              <p:cNvGrpSpPr/>
              <p:nvPr/>
            </p:nvGrpSpPr>
            <p:grpSpPr>
              <a:xfrm>
                <a:off x="8063763" y="5134046"/>
                <a:ext cx="618056" cy="618056"/>
                <a:chOff x="12264617" y="3634638"/>
                <a:chExt cx="533927" cy="533927"/>
              </a:xfrm>
            </p:grpSpPr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283634DC-802A-626F-660C-DA2665748466}"/>
                    </a:ext>
                  </a:extLst>
                </p:cNvPr>
                <p:cNvSpPr/>
                <p:nvPr/>
              </p:nvSpPr>
              <p:spPr>
                <a:xfrm>
                  <a:off x="12264617" y="3634638"/>
                  <a:ext cx="533927" cy="533927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Ins="7200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-Regular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L-Shape 24">
                  <a:extLst>
                    <a:ext uri="{FF2B5EF4-FFF2-40B4-BE49-F238E27FC236}">
                      <a16:creationId xmlns:a16="http://schemas.microsoft.com/office/drawing/2014/main" id="{C5E3C897-E486-33E9-8624-0A44C04A0BAC}"/>
                    </a:ext>
                  </a:extLst>
                </p:cNvPr>
                <p:cNvSpPr/>
                <p:nvPr/>
              </p:nvSpPr>
              <p:spPr>
                <a:xfrm rot="8100000" flipH="1">
                  <a:off x="12477376" y="3812738"/>
                  <a:ext cx="184909" cy="184909"/>
                </a:xfrm>
                <a:prstGeom prst="corner">
                  <a:avLst>
                    <a:gd name="adj1" fmla="val 17364"/>
                    <a:gd name="adj2" fmla="val 17364"/>
                  </a:avLst>
                </a:prstGeom>
                <a:solidFill>
                  <a:schemeClr val="bg2">
                    <a:lumMod val="7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endParaRPr>
                </a:p>
              </p:txBody>
            </p:sp>
          </p:grp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288489F0-5D2B-75C8-54F4-EF166D3DADD6}"/>
                  </a:ext>
                </a:extLst>
              </p:cNvPr>
              <p:cNvSpPr/>
              <p:nvPr/>
            </p:nvSpPr>
            <p:spPr>
              <a:xfrm>
                <a:off x="7176101" y="2235420"/>
                <a:ext cx="2392804" cy="2392804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84452E47-811E-2F10-9E38-404C5E3B7C84}"/>
                  </a:ext>
                </a:extLst>
              </p:cNvPr>
              <p:cNvSpPr/>
              <p:nvPr/>
            </p:nvSpPr>
            <p:spPr>
              <a:xfrm>
                <a:off x="7380324" y="2452092"/>
                <a:ext cx="1963083" cy="196308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5576163C-4792-717E-59EB-71DFFC59A4D8}"/>
                  </a:ext>
                </a:extLst>
              </p:cNvPr>
              <p:cNvSpPr txBox="1"/>
              <p:nvPr/>
            </p:nvSpPr>
            <p:spPr>
              <a:xfrm>
                <a:off x="7178686" y="3541622"/>
                <a:ext cx="2387634" cy="4631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1200" cap="none" spc="0" normalizeH="0" baseline="0" noProof="0">
                    <a:ln>
                      <a:noFill/>
                    </a:ln>
                    <a:solidFill>
                      <a:srgbClr val="F5F5F5">
                        <a:lumMod val="75000"/>
                      </a:srgbClr>
                    </a:solidFill>
                    <a:effectLst/>
                    <a:uLnTx/>
                    <a:uFillTx/>
                    <a:latin typeface="Poppins" pitchFamily="2" charset="77"/>
                    <a:ea typeface="+mn-ea"/>
                    <a:cs typeface="Poppins" pitchFamily="2" charset="77"/>
                  </a:rPr>
                  <a:t>Alignment</a:t>
                </a: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B33AC97C-6739-24EA-F0EE-BE1AE5EBC112}"/>
                  </a:ext>
                </a:extLst>
              </p:cNvPr>
              <p:cNvSpPr/>
              <p:nvPr/>
            </p:nvSpPr>
            <p:spPr>
              <a:xfrm>
                <a:off x="8007264" y="2825646"/>
                <a:ext cx="719047" cy="719047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pic>
            <p:nvPicPr>
              <p:cNvPr id="58" name="Graphic 57" descr="Triangle Ruler outline">
                <a:extLst>
                  <a:ext uri="{FF2B5EF4-FFF2-40B4-BE49-F238E27FC236}">
                    <a16:creationId xmlns:a16="http://schemas.microsoft.com/office/drawing/2014/main" id="{0D9A9B64-0F4F-6FAC-03FE-919E0EA1DA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180948" y="2933689"/>
                <a:ext cx="451893" cy="451893"/>
              </a:xfrm>
              <a:prstGeom prst="rect">
                <a:avLst/>
              </a:prstGeom>
            </p:spPr>
          </p:pic>
        </p:grpSp>
        <p:pic>
          <p:nvPicPr>
            <p:cNvPr id="66" name="Picture Placeholder 11">
              <a:extLst>
                <a:ext uri="{FF2B5EF4-FFF2-40B4-BE49-F238E27FC236}">
                  <a16:creationId xmlns:a16="http://schemas.microsoft.com/office/drawing/2014/main" id="{16B82A4C-AAD5-BF61-C542-7BC7C154C9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 amt="55000"/>
            </a:blip>
            <a:srcRect l="42126" r="27"/>
            <a:stretch/>
          </p:blipFill>
          <p:spPr>
            <a:xfrm>
              <a:off x="5135467" y="0"/>
              <a:ext cx="7056533" cy="6858000"/>
            </a:xfrm>
            <a:prstGeom prst="rect">
              <a:avLst/>
            </a:prstGeom>
            <a:noFill/>
          </p:spPr>
        </p:pic>
      </p:grp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DE28C36-34EB-83FA-F481-3E1DC1F0B55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65" name="Freeform 64">
            <a:extLst>
              <a:ext uri="{FF2B5EF4-FFF2-40B4-BE49-F238E27FC236}">
                <a16:creationId xmlns:a16="http://schemas.microsoft.com/office/drawing/2014/main" id="{DC81FA26-4DE9-AD56-5313-7B8F43697E68}"/>
              </a:ext>
            </a:extLst>
          </p:cNvPr>
          <p:cNvSpPr/>
          <p:nvPr/>
        </p:nvSpPr>
        <p:spPr>
          <a:xfrm>
            <a:off x="5348955" y="383618"/>
            <a:ext cx="2979005" cy="2977535"/>
          </a:xfrm>
          <a:custGeom>
            <a:avLst/>
            <a:gdLst>
              <a:gd name="connsiteX0" fmla="*/ 2977532 w 2979005"/>
              <a:gd name="connsiteY0" fmla="*/ 0 h 2977535"/>
              <a:gd name="connsiteX1" fmla="*/ 2977532 w 2979005"/>
              <a:gd name="connsiteY1" fmla="*/ 165166 h 2977535"/>
              <a:gd name="connsiteX2" fmla="*/ 2979005 w 2979005"/>
              <a:gd name="connsiteY2" fmla="*/ 165166 h 2977535"/>
              <a:gd name="connsiteX3" fmla="*/ 2979005 w 2979005"/>
              <a:gd name="connsiteY3" fmla="*/ 702206 h 2977535"/>
              <a:gd name="connsiteX4" fmla="*/ 2966201 w 2979005"/>
              <a:gd name="connsiteY4" fmla="*/ 703496 h 2977535"/>
              <a:gd name="connsiteX5" fmla="*/ 2719453 w 2979005"/>
              <a:gd name="connsiteY5" fmla="*/ 1006246 h 2977535"/>
              <a:gd name="connsiteX6" fmla="*/ 2966201 w 2979005"/>
              <a:gd name="connsiteY6" fmla="*/ 1308996 h 2977535"/>
              <a:gd name="connsiteX7" fmla="*/ 2977532 w 2979005"/>
              <a:gd name="connsiteY7" fmla="*/ 1310138 h 2977535"/>
              <a:gd name="connsiteX8" fmla="*/ 2977532 w 2979005"/>
              <a:gd name="connsiteY8" fmla="*/ 1401935 h 2977535"/>
              <a:gd name="connsiteX9" fmla="*/ 2977533 w 2979005"/>
              <a:gd name="connsiteY9" fmla="*/ 1401935 h 2977535"/>
              <a:gd name="connsiteX10" fmla="*/ 2977533 w 2979005"/>
              <a:gd name="connsiteY10" fmla="*/ 1749415 h 2977535"/>
              <a:gd name="connsiteX11" fmla="*/ 2898771 w 2979005"/>
              <a:gd name="connsiteY11" fmla="*/ 1753391 h 2977535"/>
              <a:gd name="connsiteX12" fmla="*/ 1738959 w 2979005"/>
              <a:gd name="connsiteY12" fmla="*/ 2913203 h 2977535"/>
              <a:gd name="connsiteX13" fmla="*/ 1735711 w 2979005"/>
              <a:gd name="connsiteY13" fmla="*/ 2977535 h 2977535"/>
              <a:gd name="connsiteX14" fmla="*/ 1417409 w 2979005"/>
              <a:gd name="connsiteY14" fmla="*/ 2977535 h 2977535"/>
              <a:gd name="connsiteX15" fmla="*/ 1417409 w 2979005"/>
              <a:gd name="connsiteY15" fmla="*/ 2977534 h 2977535"/>
              <a:gd name="connsiteX16" fmla="*/ 1292263 w 2979005"/>
              <a:gd name="connsiteY16" fmla="*/ 2977534 h 2977535"/>
              <a:gd name="connsiteX17" fmla="*/ 955601 w 2979005"/>
              <a:gd name="connsiteY17" fmla="*/ 2977534 h 2977535"/>
              <a:gd name="connsiteX18" fmla="*/ 443472 w 2979005"/>
              <a:gd name="connsiteY18" fmla="*/ 2977534 h 2977535"/>
              <a:gd name="connsiteX19" fmla="*/ 179041 w 2979005"/>
              <a:gd name="connsiteY19" fmla="*/ 2977534 h 2977535"/>
              <a:gd name="connsiteX20" fmla="*/ 0 w 2979005"/>
              <a:gd name="connsiteY20" fmla="*/ 2977534 h 2977535"/>
              <a:gd name="connsiteX21" fmla="*/ 2977532 w 2979005"/>
              <a:gd name="connsiteY21" fmla="*/ 0 h 2977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979005" h="2977535">
                <a:moveTo>
                  <a:pt x="2977532" y="0"/>
                </a:moveTo>
                <a:lnTo>
                  <a:pt x="2977532" y="165166"/>
                </a:lnTo>
                <a:lnTo>
                  <a:pt x="2979005" y="165166"/>
                </a:lnTo>
                <a:lnTo>
                  <a:pt x="2979005" y="702206"/>
                </a:lnTo>
                <a:lnTo>
                  <a:pt x="2966201" y="703496"/>
                </a:lnTo>
                <a:cubicBezTo>
                  <a:pt x="2825383" y="732312"/>
                  <a:pt x="2719453" y="856909"/>
                  <a:pt x="2719453" y="1006246"/>
                </a:cubicBezTo>
                <a:cubicBezTo>
                  <a:pt x="2719453" y="1155583"/>
                  <a:pt x="2825383" y="1280180"/>
                  <a:pt x="2966201" y="1308996"/>
                </a:cubicBezTo>
                <a:lnTo>
                  <a:pt x="2977532" y="1310138"/>
                </a:lnTo>
                <a:lnTo>
                  <a:pt x="2977532" y="1401935"/>
                </a:lnTo>
                <a:lnTo>
                  <a:pt x="2977533" y="1401935"/>
                </a:lnTo>
                <a:lnTo>
                  <a:pt x="2977533" y="1749415"/>
                </a:lnTo>
                <a:lnTo>
                  <a:pt x="2898771" y="1753391"/>
                </a:lnTo>
                <a:cubicBezTo>
                  <a:pt x="2287235" y="1815497"/>
                  <a:pt x="1801064" y="2301667"/>
                  <a:pt x="1738959" y="2913203"/>
                </a:cubicBezTo>
                <a:lnTo>
                  <a:pt x="1735711" y="2977535"/>
                </a:lnTo>
                <a:lnTo>
                  <a:pt x="1417409" y="2977535"/>
                </a:lnTo>
                <a:lnTo>
                  <a:pt x="1417409" y="2977534"/>
                </a:lnTo>
                <a:lnTo>
                  <a:pt x="1292263" y="2977534"/>
                </a:lnTo>
                <a:lnTo>
                  <a:pt x="955601" y="2977534"/>
                </a:lnTo>
                <a:lnTo>
                  <a:pt x="443472" y="2977534"/>
                </a:lnTo>
                <a:lnTo>
                  <a:pt x="179041" y="2977534"/>
                </a:lnTo>
                <a:lnTo>
                  <a:pt x="0" y="2977534"/>
                </a:lnTo>
                <a:cubicBezTo>
                  <a:pt x="0" y="1333088"/>
                  <a:pt x="1333086" y="0"/>
                  <a:pt x="2977532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219050-4D1F-68EB-1C84-5CD0361E20D4}"/>
              </a:ext>
            </a:extLst>
          </p:cNvPr>
          <p:cNvSpPr txBox="1"/>
          <p:nvPr/>
        </p:nvSpPr>
        <p:spPr>
          <a:xfrm rot="18864559">
            <a:off x="6168998" y="1924337"/>
            <a:ext cx="2108973" cy="583264"/>
          </a:xfrm>
          <a:prstGeom prst="rect">
            <a:avLst/>
          </a:prstGeom>
          <a:noFill/>
        </p:spPr>
        <p:txBody>
          <a:bodyPr wrap="none" rtlCol="0" anchor="ctr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udiencia</a:t>
            </a: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49F9622D-7541-3030-A561-430FA795B8BD}"/>
              </a:ext>
            </a:extLst>
          </p:cNvPr>
          <p:cNvSpPr/>
          <p:nvPr/>
        </p:nvSpPr>
        <p:spPr>
          <a:xfrm>
            <a:off x="5348955" y="383619"/>
            <a:ext cx="2979005" cy="2977534"/>
          </a:xfrm>
          <a:custGeom>
            <a:avLst/>
            <a:gdLst>
              <a:gd name="connsiteX0" fmla="*/ 2572233 w 2573506"/>
              <a:gd name="connsiteY0" fmla="*/ 0 h 2572235"/>
              <a:gd name="connsiteX1" fmla="*/ 2572233 w 2573506"/>
              <a:gd name="connsiteY1" fmla="*/ 142684 h 2572235"/>
              <a:gd name="connsiteX2" fmla="*/ 2573506 w 2573506"/>
              <a:gd name="connsiteY2" fmla="*/ 142684 h 2572235"/>
              <a:gd name="connsiteX3" fmla="*/ 2573506 w 2573506"/>
              <a:gd name="connsiteY3" fmla="*/ 238705 h 2572235"/>
              <a:gd name="connsiteX4" fmla="*/ 2367556 w 2573506"/>
              <a:gd name="connsiteY4" fmla="*/ 249105 h 2572235"/>
              <a:gd name="connsiteX5" fmla="*/ 237850 w 2573506"/>
              <a:gd name="connsiteY5" fmla="*/ 2378811 h 2572235"/>
              <a:gd name="connsiteX6" fmla="*/ 228083 w 2573506"/>
              <a:gd name="connsiteY6" fmla="*/ 2572235 h 2572235"/>
              <a:gd name="connsiteX7" fmla="*/ 154670 w 2573506"/>
              <a:gd name="connsiteY7" fmla="*/ 2572235 h 2572235"/>
              <a:gd name="connsiteX8" fmla="*/ 0 w 2573506"/>
              <a:gd name="connsiteY8" fmla="*/ 2572235 h 2572235"/>
              <a:gd name="connsiteX9" fmla="*/ 2572233 w 2573506"/>
              <a:gd name="connsiteY9" fmla="*/ 0 h 2572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73506" h="2572235">
                <a:moveTo>
                  <a:pt x="2572233" y="0"/>
                </a:moveTo>
                <a:lnTo>
                  <a:pt x="2572233" y="142684"/>
                </a:lnTo>
                <a:lnTo>
                  <a:pt x="2573506" y="142684"/>
                </a:lnTo>
                <a:lnTo>
                  <a:pt x="2573506" y="238705"/>
                </a:lnTo>
                <a:lnTo>
                  <a:pt x="2367556" y="249105"/>
                </a:lnTo>
                <a:cubicBezTo>
                  <a:pt x="1244622" y="363145"/>
                  <a:pt x="351890" y="1255877"/>
                  <a:pt x="237850" y="2378811"/>
                </a:cubicBezTo>
                <a:lnTo>
                  <a:pt x="228083" y="2572235"/>
                </a:lnTo>
                <a:lnTo>
                  <a:pt x="154670" y="2572235"/>
                </a:lnTo>
                <a:lnTo>
                  <a:pt x="0" y="2572235"/>
                </a:lnTo>
                <a:cubicBezTo>
                  <a:pt x="0" y="1151629"/>
                  <a:pt x="1151628" y="0"/>
                  <a:pt x="257223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6F5FF41-41F7-9551-6839-5ACE44B0EA57}"/>
              </a:ext>
            </a:extLst>
          </p:cNvPr>
          <p:cNvSpPr/>
          <p:nvPr/>
        </p:nvSpPr>
        <p:spPr>
          <a:xfrm>
            <a:off x="5991310" y="980128"/>
            <a:ext cx="719047" cy="71904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1" name="Google Shape;1138;p39">
            <a:extLst>
              <a:ext uri="{FF2B5EF4-FFF2-40B4-BE49-F238E27FC236}">
                <a16:creationId xmlns:a16="http://schemas.microsoft.com/office/drawing/2014/main" id="{EEC46C39-8577-0696-2AF7-B4894F09B623}"/>
              </a:ext>
            </a:extLst>
          </p:cNvPr>
          <p:cNvSpPr>
            <a:spLocks noChangeAspect="1"/>
          </p:cNvSpPr>
          <p:nvPr/>
        </p:nvSpPr>
        <p:spPr>
          <a:xfrm>
            <a:off x="6098486" y="1168721"/>
            <a:ext cx="504693" cy="3418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55" h="21600" extrusionOk="0">
                <a:moveTo>
                  <a:pt x="10775" y="0"/>
                </a:moveTo>
                <a:cubicBezTo>
                  <a:pt x="8891" y="0"/>
                  <a:pt x="7365" y="2267"/>
                  <a:pt x="7365" y="5054"/>
                </a:cubicBezTo>
                <a:cubicBezTo>
                  <a:pt x="7365" y="7841"/>
                  <a:pt x="8891" y="10098"/>
                  <a:pt x="10775" y="10098"/>
                </a:cubicBezTo>
                <a:cubicBezTo>
                  <a:pt x="12659" y="10098"/>
                  <a:pt x="14185" y="7841"/>
                  <a:pt x="14185" y="5054"/>
                </a:cubicBezTo>
                <a:cubicBezTo>
                  <a:pt x="14185" y="2267"/>
                  <a:pt x="12659" y="0"/>
                  <a:pt x="10775" y="0"/>
                </a:cubicBezTo>
                <a:close/>
                <a:moveTo>
                  <a:pt x="10775" y="920"/>
                </a:moveTo>
                <a:cubicBezTo>
                  <a:pt x="12316" y="920"/>
                  <a:pt x="13569" y="2774"/>
                  <a:pt x="13569" y="5054"/>
                </a:cubicBezTo>
                <a:cubicBezTo>
                  <a:pt x="13569" y="7334"/>
                  <a:pt x="12316" y="9179"/>
                  <a:pt x="10775" y="9179"/>
                </a:cubicBezTo>
                <a:cubicBezTo>
                  <a:pt x="9233" y="9179"/>
                  <a:pt x="7987" y="7334"/>
                  <a:pt x="7987" y="5054"/>
                </a:cubicBezTo>
                <a:cubicBezTo>
                  <a:pt x="7987" y="2774"/>
                  <a:pt x="9233" y="920"/>
                  <a:pt x="10775" y="920"/>
                </a:cubicBezTo>
                <a:close/>
                <a:moveTo>
                  <a:pt x="4083" y="3907"/>
                </a:moveTo>
                <a:cubicBezTo>
                  <a:pt x="2817" y="3905"/>
                  <a:pt x="1790" y="5418"/>
                  <a:pt x="1789" y="7292"/>
                </a:cubicBezTo>
                <a:cubicBezTo>
                  <a:pt x="1788" y="9165"/>
                  <a:pt x="2810" y="10685"/>
                  <a:pt x="4077" y="10686"/>
                </a:cubicBezTo>
                <a:cubicBezTo>
                  <a:pt x="5344" y="10687"/>
                  <a:pt x="6371" y="9175"/>
                  <a:pt x="6372" y="7301"/>
                </a:cubicBezTo>
                <a:cubicBezTo>
                  <a:pt x="6372" y="7300"/>
                  <a:pt x="6372" y="7293"/>
                  <a:pt x="6372" y="7292"/>
                </a:cubicBezTo>
                <a:cubicBezTo>
                  <a:pt x="6370" y="5420"/>
                  <a:pt x="5348" y="3909"/>
                  <a:pt x="4083" y="3907"/>
                </a:cubicBezTo>
                <a:close/>
                <a:moveTo>
                  <a:pt x="17479" y="3907"/>
                </a:moveTo>
                <a:cubicBezTo>
                  <a:pt x="16212" y="3907"/>
                  <a:pt x="15184" y="5418"/>
                  <a:pt x="15184" y="7292"/>
                </a:cubicBezTo>
                <a:cubicBezTo>
                  <a:pt x="15184" y="9165"/>
                  <a:pt x="16212" y="10686"/>
                  <a:pt x="17479" y="10686"/>
                </a:cubicBezTo>
                <a:cubicBezTo>
                  <a:pt x="18746" y="10686"/>
                  <a:pt x="19774" y="9165"/>
                  <a:pt x="19774" y="7292"/>
                </a:cubicBezTo>
                <a:cubicBezTo>
                  <a:pt x="19772" y="5417"/>
                  <a:pt x="18745" y="3908"/>
                  <a:pt x="17479" y="3907"/>
                </a:cubicBezTo>
                <a:close/>
                <a:moveTo>
                  <a:pt x="4077" y="4817"/>
                </a:moveTo>
                <a:cubicBezTo>
                  <a:pt x="5001" y="4816"/>
                  <a:pt x="5749" y="5925"/>
                  <a:pt x="5750" y="7292"/>
                </a:cubicBezTo>
                <a:cubicBezTo>
                  <a:pt x="5749" y="8659"/>
                  <a:pt x="5006" y="9764"/>
                  <a:pt x="4083" y="9766"/>
                </a:cubicBezTo>
                <a:cubicBezTo>
                  <a:pt x="3159" y="9768"/>
                  <a:pt x="2405" y="8659"/>
                  <a:pt x="2404" y="7292"/>
                </a:cubicBezTo>
                <a:cubicBezTo>
                  <a:pt x="2403" y="5925"/>
                  <a:pt x="3153" y="4818"/>
                  <a:pt x="4077" y="4817"/>
                </a:cubicBezTo>
                <a:close/>
                <a:moveTo>
                  <a:pt x="17479" y="4817"/>
                </a:moveTo>
                <a:cubicBezTo>
                  <a:pt x="18403" y="4817"/>
                  <a:pt x="19152" y="5925"/>
                  <a:pt x="19152" y="7292"/>
                </a:cubicBezTo>
                <a:cubicBezTo>
                  <a:pt x="19151" y="8658"/>
                  <a:pt x="18403" y="9765"/>
                  <a:pt x="17479" y="9766"/>
                </a:cubicBezTo>
                <a:cubicBezTo>
                  <a:pt x="16555" y="9766"/>
                  <a:pt x="15806" y="8659"/>
                  <a:pt x="15806" y="7292"/>
                </a:cubicBezTo>
                <a:cubicBezTo>
                  <a:pt x="15806" y="5925"/>
                  <a:pt x="16555" y="4817"/>
                  <a:pt x="17479" y="4817"/>
                </a:cubicBezTo>
                <a:close/>
                <a:moveTo>
                  <a:pt x="10775" y="11246"/>
                </a:moveTo>
                <a:cubicBezTo>
                  <a:pt x="9400" y="11246"/>
                  <a:pt x="8026" y="11950"/>
                  <a:pt x="6916" y="13360"/>
                </a:cubicBezTo>
                <a:cubicBezTo>
                  <a:pt x="6174" y="12202"/>
                  <a:pt x="5143" y="11536"/>
                  <a:pt x="4064" y="11521"/>
                </a:cubicBezTo>
                <a:cubicBezTo>
                  <a:pt x="2059" y="11521"/>
                  <a:pt x="280" y="13959"/>
                  <a:pt x="7" y="17068"/>
                </a:cubicBezTo>
                <a:cubicBezTo>
                  <a:pt x="-22" y="17394"/>
                  <a:pt x="47" y="17720"/>
                  <a:pt x="193" y="17968"/>
                </a:cubicBezTo>
                <a:cubicBezTo>
                  <a:pt x="336" y="18207"/>
                  <a:pt x="541" y="18346"/>
                  <a:pt x="757" y="18348"/>
                </a:cubicBezTo>
                <a:lnTo>
                  <a:pt x="4692" y="18348"/>
                </a:lnTo>
                <a:cubicBezTo>
                  <a:pt x="4593" y="18844"/>
                  <a:pt x="4519" y="19352"/>
                  <a:pt x="4474" y="19865"/>
                </a:cubicBezTo>
                <a:cubicBezTo>
                  <a:pt x="4435" y="20307"/>
                  <a:pt x="4527" y="20751"/>
                  <a:pt x="4724" y="21088"/>
                </a:cubicBezTo>
                <a:cubicBezTo>
                  <a:pt x="4917" y="21413"/>
                  <a:pt x="5195" y="21600"/>
                  <a:pt x="5487" y="21600"/>
                </a:cubicBezTo>
                <a:lnTo>
                  <a:pt x="16063" y="21600"/>
                </a:lnTo>
                <a:cubicBezTo>
                  <a:pt x="16355" y="21600"/>
                  <a:pt x="16633" y="21413"/>
                  <a:pt x="16825" y="21088"/>
                </a:cubicBezTo>
                <a:cubicBezTo>
                  <a:pt x="17023" y="20751"/>
                  <a:pt x="17114" y="20307"/>
                  <a:pt x="17075" y="19865"/>
                </a:cubicBezTo>
                <a:cubicBezTo>
                  <a:pt x="17030" y="19352"/>
                  <a:pt x="16957" y="18844"/>
                  <a:pt x="16857" y="18348"/>
                </a:cubicBezTo>
                <a:lnTo>
                  <a:pt x="20799" y="18348"/>
                </a:lnTo>
                <a:cubicBezTo>
                  <a:pt x="21015" y="18346"/>
                  <a:pt x="21220" y="18208"/>
                  <a:pt x="21363" y="17968"/>
                </a:cubicBezTo>
                <a:cubicBezTo>
                  <a:pt x="21509" y="17720"/>
                  <a:pt x="21578" y="17394"/>
                  <a:pt x="21549" y="17068"/>
                </a:cubicBezTo>
                <a:cubicBezTo>
                  <a:pt x="21276" y="13959"/>
                  <a:pt x="19490" y="11521"/>
                  <a:pt x="17485" y="11521"/>
                </a:cubicBezTo>
                <a:cubicBezTo>
                  <a:pt x="16407" y="11536"/>
                  <a:pt x="15376" y="12202"/>
                  <a:pt x="14633" y="13360"/>
                </a:cubicBezTo>
                <a:cubicBezTo>
                  <a:pt x="13523" y="11950"/>
                  <a:pt x="12149" y="11246"/>
                  <a:pt x="10775" y="11246"/>
                </a:cubicBezTo>
                <a:close/>
                <a:moveTo>
                  <a:pt x="10775" y="12165"/>
                </a:moveTo>
                <a:cubicBezTo>
                  <a:pt x="13578" y="12165"/>
                  <a:pt x="16075" y="15602"/>
                  <a:pt x="16460" y="19979"/>
                </a:cubicBezTo>
                <a:cubicBezTo>
                  <a:pt x="16475" y="20160"/>
                  <a:pt x="16439" y="20343"/>
                  <a:pt x="16357" y="20481"/>
                </a:cubicBezTo>
                <a:cubicBezTo>
                  <a:pt x="16283" y="20608"/>
                  <a:pt x="16176" y="20690"/>
                  <a:pt x="16063" y="20690"/>
                </a:cubicBezTo>
                <a:lnTo>
                  <a:pt x="5487" y="20690"/>
                </a:lnTo>
                <a:cubicBezTo>
                  <a:pt x="5373" y="20690"/>
                  <a:pt x="5267" y="20608"/>
                  <a:pt x="5192" y="20481"/>
                </a:cubicBezTo>
                <a:cubicBezTo>
                  <a:pt x="5111" y="20343"/>
                  <a:pt x="5074" y="20160"/>
                  <a:pt x="5090" y="19979"/>
                </a:cubicBezTo>
                <a:cubicBezTo>
                  <a:pt x="5474" y="15595"/>
                  <a:pt x="7971" y="12165"/>
                  <a:pt x="10775" y="12165"/>
                </a:cubicBezTo>
                <a:close/>
                <a:moveTo>
                  <a:pt x="4064" y="12440"/>
                </a:moveTo>
                <a:cubicBezTo>
                  <a:pt x="4968" y="12456"/>
                  <a:pt x="5831" y="13009"/>
                  <a:pt x="6455" y="13976"/>
                </a:cubicBezTo>
                <a:cubicBezTo>
                  <a:pt x="5784" y="14959"/>
                  <a:pt x="5255" y="16131"/>
                  <a:pt x="4904" y="17428"/>
                </a:cubicBezTo>
                <a:cubicBezTo>
                  <a:pt x="4904" y="17428"/>
                  <a:pt x="757" y="17428"/>
                  <a:pt x="757" y="17428"/>
                </a:cubicBezTo>
                <a:cubicBezTo>
                  <a:pt x="719" y="17428"/>
                  <a:pt x="678" y="17405"/>
                  <a:pt x="654" y="17362"/>
                </a:cubicBezTo>
                <a:cubicBezTo>
                  <a:pt x="625" y="17314"/>
                  <a:pt x="616" y="17255"/>
                  <a:pt x="622" y="17191"/>
                </a:cubicBezTo>
                <a:cubicBezTo>
                  <a:pt x="855" y="14528"/>
                  <a:pt x="2365" y="12440"/>
                  <a:pt x="4064" y="12440"/>
                </a:cubicBezTo>
                <a:close/>
                <a:moveTo>
                  <a:pt x="17485" y="12440"/>
                </a:moveTo>
                <a:cubicBezTo>
                  <a:pt x="19191" y="12440"/>
                  <a:pt x="20695" y="14518"/>
                  <a:pt x="20927" y="17181"/>
                </a:cubicBezTo>
                <a:cubicBezTo>
                  <a:pt x="20935" y="17244"/>
                  <a:pt x="20923" y="17313"/>
                  <a:pt x="20895" y="17362"/>
                </a:cubicBezTo>
                <a:cubicBezTo>
                  <a:pt x="20871" y="17405"/>
                  <a:pt x="20837" y="17428"/>
                  <a:pt x="20799" y="17428"/>
                </a:cubicBezTo>
                <a:lnTo>
                  <a:pt x="16646" y="17428"/>
                </a:lnTo>
                <a:cubicBezTo>
                  <a:pt x="16294" y="16131"/>
                  <a:pt x="15766" y="14959"/>
                  <a:pt x="15095" y="13976"/>
                </a:cubicBezTo>
                <a:cubicBezTo>
                  <a:pt x="15718" y="13009"/>
                  <a:pt x="16582" y="12456"/>
                  <a:pt x="17485" y="12440"/>
                </a:cubicBezTo>
                <a:close/>
              </a:path>
            </a:pathLst>
          </a:cu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634D7D8-E204-DE55-DE3E-C5EEB8F51A57}"/>
              </a:ext>
            </a:extLst>
          </p:cNvPr>
          <p:cNvGrpSpPr/>
          <p:nvPr/>
        </p:nvGrpSpPr>
        <p:grpSpPr>
          <a:xfrm>
            <a:off x="643854" y="2414503"/>
            <a:ext cx="4397561" cy="1550914"/>
            <a:chOff x="643854" y="2056730"/>
            <a:chExt cx="4397561" cy="1550914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A1F09CD-4C44-3F3D-44B9-1DB248A9F145}"/>
                </a:ext>
              </a:extLst>
            </p:cNvPr>
            <p:cNvGrpSpPr/>
            <p:nvPr/>
          </p:nvGrpSpPr>
          <p:grpSpPr>
            <a:xfrm>
              <a:off x="643854" y="2056730"/>
              <a:ext cx="4397561" cy="1550914"/>
              <a:chOff x="643854" y="2015235"/>
              <a:chExt cx="4397561" cy="1550914"/>
            </a:xfrm>
          </p:grpSpPr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9EB95E92-2E29-C55E-3483-94E6925511DA}"/>
                  </a:ext>
                </a:extLst>
              </p:cNvPr>
              <p:cNvSpPr txBox="1"/>
              <p:nvPr/>
            </p:nvSpPr>
            <p:spPr>
              <a:xfrm>
                <a:off x="692283" y="3213232"/>
                <a:ext cx="4285508" cy="352917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 pitchFamily="2" charset="77"/>
                  <a:ea typeface="+mn-ea"/>
                  <a:cs typeface="Poppins Light" pitchFamily="2" charset="77"/>
                </a:endParaRPr>
              </a:p>
            </p:txBody>
          </p:sp>
          <p:cxnSp>
            <p:nvCxnSpPr>
              <p:cNvPr id="6" name="Straight Connector 5">
                <a:extLst>
                  <a:ext uri="{FF2B5EF4-FFF2-40B4-BE49-F238E27FC236}">
                    <a16:creationId xmlns:a16="http://schemas.microsoft.com/office/drawing/2014/main" id="{14A38A3E-D8F8-B41D-87A0-045CA93DB798}"/>
                  </a:ext>
                </a:extLst>
              </p:cNvPr>
              <p:cNvCxnSpPr/>
              <p:nvPr/>
            </p:nvCxnSpPr>
            <p:spPr>
              <a:xfrm>
                <a:off x="776541" y="2987486"/>
                <a:ext cx="4264874" cy="0"/>
              </a:xfrm>
              <a:prstGeom prst="line">
                <a:avLst/>
              </a:prstGeom>
              <a:ln w="12700">
                <a:gradFill flip="none" rotWithShape="1">
                  <a:gsLst>
                    <a:gs pos="0">
                      <a:schemeClr val="accent2"/>
                    </a:gs>
                    <a:gs pos="99000">
                      <a:schemeClr val="tx2"/>
                    </a:gs>
                  </a:gsLst>
                  <a:lin ang="0" scaled="1"/>
                  <a:tileRect/>
                </a:gra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48970D3F-F51E-0E8A-E1A8-DF586CFBB78D}"/>
                  </a:ext>
                </a:extLst>
              </p:cNvPr>
              <p:cNvSpPr txBox="1"/>
              <p:nvPr/>
            </p:nvSpPr>
            <p:spPr>
              <a:xfrm>
                <a:off x="643854" y="2015235"/>
                <a:ext cx="4285508" cy="923330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5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Poppins Thin" pitchFamily="2" charset="77"/>
                    <a:ea typeface="+mn-ea"/>
                    <a:cs typeface="Poppins Thin" pitchFamily="2" charset="77"/>
                  </a:rPr>
                  <a:t>02 -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FDC1B048-AC99-8492-B011-7DE3281CEC57}"/>
                </a:ext>
              </a:extLst>
            </p:cNvPr>
            <p:cNvGrpSpPr/>
            <p:nvPr/>
          </p:nvGrpSpPr>
          <p:grpSpPr>
            <a:xfrm>
              <a:off x="2119748" y="2153058"/>
              <a:ext cx="2699701" cy="598067"/>
              <a:chOff x="1940295" y="2112018"/>
              <a:chExt cx="2699701" cy="598067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9815F8F1-D5E3-F328-44A2-0E5EFD87C078}"/>
                  </a:ext>
                </a:extLst>
              </p:cNvPr>
              <p:cNvSpPr/>
              <p:nvPr/>
            </p:nvSpPr>
            <p:spPr>
              <a:xfrm>
                <a:off x="1940295" y="2112018"/>
                <a:ext cx="598067" cy="598067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109399FD-F17A-50ED-ADB6-C05B139A9B2E}"/>
                  </a:ext>
                </a:extLst>
              </p:cNvPr>
              <p:cNvSpPr txBox="1"/>
              <p:nvPr/>
            </p:nvSpPr>
            <p:spPr>
              <a:xfrm>
                <a:off x="2568595" y="2149441"/>
                <a:ext cx="2071401" cy="523220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800" b="1" i="0" u="none" strike="noStrike" kern="0" cap="none" spc="0" normalizeH="0" baseline="0" noProof="0">
                    <a:ln>
                      <a:noFill/>
                    </a:ln>
                    <a:solidFill>
                      <a:srgbClr val="00BCFF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udiencia</a:t>
                </a:r>
              </a:p>
            </p:txBody>
          </p:sp>
        </p:grpSp>
        <p:sp>
          <p:nvSpPr>
            <p:cNvPr id="35" name="Google Shape;1138;p39">
              <a:extLst>
                <a:ext uri="{FF2B5EF4-FFF2-40B4-BE49-F238E27FC236}">
                  <a16:creationId xmlns:a16="http://schemas.microsoft.com/office/drawing/2014/main" id="{28845290-A88A-0FDF-15F0-2D79C773543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228385" y="2320041"/>
              <a:ext cx="389895" cy="2641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5" h="21600" extrusionOk="0">
                  <a:moveTo>
                    <a:pt x="10775" y="0"/>
                  </a:moveTo>
                  <a:cubicBezTo>
                    <a:pt x="8891" y="0"/>
                    <a:pt x="7365" y="2267"/>
                    <a:pt x="7365" y="5054"/>
                  </a:cubicBezTo>
                  <a:cubicBezTo>
                    <a:pt x="7365" y="7841"/>
                    <a:pt x="8891" y="10098"/>
                    <a:pt x="10775" y="10098"/>
                  </a:cubicBezTo>
                  <a:cubicBezTo>
                    <a:pt x="12659" y="10098"/>
                    <a:pt x="14185" y="7841"/>
                    <a:pt x="14185" y="5054"/>
                  </a:cubicBezTo>
                  <a:cubicBezTo>
                    <a:pt x="14185" y="2267"/>
                    <a:pt x="12659" y="0"/>
                    <a:pt x="10775" y="0"/>
                  </a:cubicBezTo>
                  <a:close/>
                  <a:moveTo>
                    <a:pt x="10775" y="920"/>
                  </a:moveTo>
                  <a:cubicBezTo>
                    <a:pt x="12316" y="920"/>
                    <a:pt x="13569" y="2774"/>
                    <a:pt x="13569" y="5054"/>
                  </a:cubicBezTo>
                  <a:cubicBezTo>
                    <a:pt x="13569" y="7334"/>
                    <a:pt x="12316" y="9179"/>
                    <a:pt x="10775" y="9179"/>
                  </a:cubicBezTo>
                  <a:cubicBezTo>
                    <a:pt x="9233" y="9179"/>
                    <a:pt x="7987" y="7334"/>
                    <a:pt x="7987" y="5054"/>
                  </a:cubicBezTo>
                  <a:cubicBezTo>
                    <a:pt x="7987" y="2774"/>
                    <a:pt x="9233" y="920"/>
                    <a:pt x="10775" y="920"/>
                  </a:cubicBezTo>
                  <a:close/>
                  <a:moveTo>
                    <a:pt x="4083" y="3907"/>
                  </a:moveTo>
                  <a:cubicBezTo>
                    <a:pt x="2817" y="3905"/>
                    <a:pt x="1790" y="5418"/>
                    <a:pt x="1789" y="7292"/>
                  </a:cubicBezTo>
                  <a:cubicBezTo>
                    <a:pt x="1788" y="9165"/>
                    <a:pt x="2810" y="10685"/>
                    <a:pt x="4077" y="10686"/>
                  </a:cubicBezTo>
                  <a:cubicBezTo>
                    <a:pt x="5344" y="10687"/>
                    <a:pt x="6371" y="9175"/>
                    <a:pt x="6372" y="7301"/>
                  </a:cubicBezTo>
                  <a:cubicBezTo>
                    <a:pt x="6372" y="7300"/>
                    <a:pt x="6372" y="7293"/>
                    <a:pt x="6372" y="7292"/>
                  </a:cubicBezTo>
                  <a:cubicBezTo>
                    <a:pt x="6370" y="5420"/>
                    <a:pt x="5348" y="3909"/>
                    <a:pt x="4083" y="3907"/>
                  </a:cubicBezTo>
                  <a:close/>
                  <a:moveTo>
                    <a:pt x="17479" y="3907"/>
                  </a:moveTo>
                  <a:cubicBezTo>
                    <a:pt x="16212" y="3907"/>
                    <a:pt x="15184" y="5418"/>
                    <a:pt x="15184" y="7292"/>
                  </a:cubicBezTo>
                  <a:cubicBezTo>
                    <a:pt x="15184" y="9165"/>
                    <a:pt x="16212" y="10686"/>
                    <a:pt x="17479" y="10686"/>
                  </a:cubicBezTo>
                  <a:cubicBezTo>
                    <a:pt x="18746" y="10686"/>
                    <a:pt x="19774" y="9165"/>
                    <a:pt x="19774" y="7292"/>
                  </a:cubicBezTo>
                  <a:cubicBezTo>
                    <a:pt x="19772" y="5417"/>
                    <a:pt x="18745" y="3908"/>
                    <a:pt x="17479" y="3907"/>
                  </a:cubicBezTo>
                  <a:close/>
                  <a:moveTo>
                    <a:pt x="4077" y="4817"/>
                  </a:moveTo>
                  <a:cubicBezTo>
                    <a:pt x="5001" y="4816"/>
                    <a:pt x="5749" y="5925"/>
                    <a:pt x="5750" y="7292"/>
                  </a:cubicBezTo>
                  <a:cubicBezTo>
                    <a:pt x="5749" y="8659"/>
                    <a:pt x="5006" y="9764"/>
                    <a:pt x="4083" y="9766"/>
                  </a:cubicBezTo>
                  <a:cubicBezTo>
                    <a:pt x="3159" y="9768"/>
                    <a:pt x="2405" y="8659"/>
                    <a:pt x="2404" y="7292"/>
                  </a:cubicBezTo>
                  <a:cubicBezTo>
                    <a:pt x="2403" y="5925"/>
                    <a:pt x="3153" y="4818"/>
                    <a:pt x="4077" y="4817"/>
                  </a:cubicBezTo>
                  <a:close/>
                  <a:moveTo>
                    <a:pt x="17479" y="4817"/>
                  </a:moveTo>
                  <a:cubicBezTo>
                    <a:pt x="18403" y="4817"/>
                    <a:pt x="19152" y="5925"/>
                    <a:pt x="19152" y="7292"/>
                  </a:cubicBezTo>
                  <a:cubicBezTo>
                    <a:pt x="19151" y="8658"/>
                    <a:pt x="18403" y="9765"/>
                    <a:pt x="17479" y="9766"/>
                  </a:cubicBezTo>
                  <a:cubicBezTo>
                    <a:pt x="16555" y="9766"/>
                    <a:pt x="15806" y="8659"/>
                    <a:pt x="15806" y="7292"/>
                  </a:cubicBezTo>
                  <a:cubicBezTo>
                    <a:pt x="15806" y="5925"/>
                    <a:pt x="16555" y="4817"/>
                    <a:pt x="17479" y="4817"/>
                  </a:cubicBezTo>
                  <a:close/>
                  <a:moveTo>
                    <a:pt x="10775" y="11246"/>
                  </a:moveTo>
                  <a:cubicBezTo>
                    <a:pt x="9400" y="11246"/>
                    <a:pt x="8026" y="11950"/>
                    <a:pt x="6916" y="13360"/>
                  </a:cubicBezTo>
                  <a:cubicBezTo>
                    <a:pt x="6174" y="12202"/>
                    <a:pt x="5143" y="11536"/>
                    <a:pt x="4064" y="11521"/>
                  </a:cubicBezTo>
                  <a:cubicBezTo>
                    <a:pt x="2059" y="11521"/>
                    <a:pt x="280" y="13959"/>
                    <a:pt x="7" y="17068"/>
                  </a:cubicBezTo>
                  <a:cubicBezTo>
                    <a:pt x="-22" y="17394"/>
                    <a:pt x="47" y="17720"/>
                    <a:pt x="193" y="17968"/>
                  </a:cubicBezTo>
                  <a:cubicBezTo>
                    <a:pt x="336" y="18207"/>
                    <a:pt x="541" y="18346"/>
                    <a:pt x="757" y="18348"/>
                  </a:cubicBezTo>
                  <a:lnTo>
                    <a:pt x="4692" y="18348"/>
                  </a:lnTo>
                  <a:cubicBezTo>
                    <a:pt x="4593" y="18844"/>
                    <a:pt x="4519" y="19352"/>
                    <a:pt x="4474" y="19865"/>
                  </a:cubicBezTo>
                  <a:cubicBezTo>
                    <a:pt x="4435" y="20307"/>
                    <a:pt x="4527" y="20751"/>
                    <a:pt x="4724" y="21088"/>
                  </a:cubicBezTo>
                  <a:cubicBezTo>
                    <a:pt x="4917" y="21413"/>
                    <a:pt x="5195" y="21600"/>
                    <a:pt x="5487" y="21600"/>
                  </a:cubicBezTo>
                  <a:lnTo>
                    <a:pt x="16063" y="21600"/>
                  </a:lnTo>
                  <a:cubicBezTo>
                    <a:pt x="16355" y="21600"/>
                    <a:pt x="16633" y="21413"/>
                    <a:pt x="16825" y="21088"/>
                  </a:cubicBezTo>
                  <a:cubicBezTo>
                    <a:pt x="17023" y="20751"/>
                    <a:pt x="17114" y="20307"/>
                    <a:pt x="17075" y="19865"/>
                  </a:cubicBezTo>
                  <a:cubicBezTo>
                    <a:pt x="17030" y="19352"/>
                    <a:pt x="16957" y="18844"/>
                    <a:pt x="16857" y="18348"/>
                  </a:cubicBezTo>
                  <a:lnTo>
                    <a:pt x="20799" y="18348"/>
                  </a:lnTo>
                  <a:cubicBezTo>
                    <a:pt x="21015" y="18346"/>
                    <a:pt x="21220" y="18208"/>
                    <a:pt x="21363" y="17968"/>
                  </a:cubicBezTo>
                  <a:cubicBezTo>
                    <a:pt x="21509" y="17720"/>
                    <a:pt x="21578" y="17394"/>
                    <a:pt x="21549" y="17068"/>
                  </a:cubicBezTo>
                  <a:cubicBezTo>
                    <a:pt x="21276" y="13959"/>
                    <a:pt x="19490" y="11521"/>
                    <a:pt x="17485" y="11521"/>
                  </a:cubicBezTo>
                  <a:cubicBezTo>
                    <a:pt x="16407" y="11536"/>
                    <a:pt x="15376" y="12202"/>
                    <a:pt x="14633" y="13360"/>
                  </a:cubicBezTo>
                  <a:cubicBezTo>
                    <a:pt x="13523" y="11950"/>
                    <a:pt x="12149" y="11246"/>
                    <a:pt x="10775" y="11246"/>
                  </a:cubicBezTo>
                  <a:close/>
                  <a:moveTo>
                    <a:pt x="10775" y="12165"/>
                  </a:moveTo>
                  <a:cubicBezTo>
                    <a:pt x="13578" y="12165"/>
                    <a:pt x="16075" y="15602"/>
                    <a:pt x="16460" y="19979"/>
                  </a:cubicBezTo>
                  <a:cubicBezTo>
                    <a:pt x="16475" y="20160"/>
                    <a:pt x="16439" y="20343"/>
                    <a:pt x="16357" y="20481"/>
                  </a:cubicBezTo>
                  <a:cubicBezTo>
                    <a:pt x="16283" y="20608"/>
                    <a:pt x="16176" y="20690"/>
                    <a:pt x="16063" y="20690"/>
                  </a:cubicBezTo>
                  <a:lnTo>
                    <a:pt x="5487" y="20690"/>
                  </a:lnTo>
                  <a:cubicBezTo>
                    <a:pt x="5373" y="20690"/>
                    <a:pt x="5267" y="20608"/>
                    <a:pt x="5192" y="20481"/>
                  </a:cubicBezTo>
                  <a:cubicBezTo>
                    <a:pt x="5111" y="20343"/>
                    <a:pt x="5074" y="20160"/>
                    <a:pt x="5090" y="19979"/>
                  </a:cubicBezTo>
                  <a:cubicBezTo>
                    <a:pt x="5474" y="15595"/>
                    <a:pt x="7971" y="12165"/>
                    <a:pt x="10775" y="12165"/>
                  </a:cubicBezTo>
                  <a:close/>
                  <a:moveTo>
                    <a:pt x="4064" y="12440"/>
                  </a:moveTo>
                  <a:cubicBezTo>
                    <a:pt x="4968" y="12456"/>
                    <a:pt x="5831" y="13009"/>
                    <a:pt x="6455" y="13976"/>
                  </a:cubicBezTo>
                  <a:cubicBezTo>
                    <a:pt x="5784" y="14959"/>
                    <a:pt x="5255" y="16131"/>
                    <a:pt x="4904" y="17428"/>
                  </a:cubicBezTo>
                  <a:cubicBezTo>
                    <a:pt x="4904" y="17428"/>
                    <a:pt x="757" y="17428"/>
                    <a:pt x="757" y="17428"/>
                  </a:cubicBezTo>
                  <a:cubicBezTo>
                    <a:pt x="719" y="17428"/>
                    <a:pt x="678" y="17405"/>
                    <a:pt x="654" y="17362"/>
                  </a:cubicBezTo>
                  <a:cubicBezTo>
                    <a:pt x="625" y="17314"/>
                    <a:pt x="616" y="17255"/>
                    <a:pt x="622" y="17191"/>
                  </a:cubicBezTo>
                  <a:cubicBezTo>
                    <a:pt x="855" y="14528"/>
                    <a:pt x="2365" y="12440"/>
                    <a:pt x="4064" y="12440"/>
                  </a:cubicBezTo>
                  <a:close/>
                  <a:moveTo>
                    <a:pt x="17485" y="12440"/>
                  </a:moveTo>
                  <a:cubicBezTo>
                    <a:pt x="19191" y="12440"/>
                    <a:pt x="20695" y="14518"/>
                    <a:pt x="20927" y="17181"/>
                  </a:cubicBezTo>
                  <a:cubicBezTo>
                    <a:pt x="20935" y="17244"/>
                    <a:pt x="20923" y="17313"/>
                    <a:pt x="20895" y="17362"/>
                  </a:cubicBezTo>
                  <a:cubicBezTo>
                    <a:pt x="20871" y="17405"/>
                    <a:pt x="20837" y="17428"/>
                    <a:pt x="20799" y="17428"/>
                  </a:cubicBezTo>
                  <a:lnTo>
                    <a:pt x="16646" y="17428"/>
                  </a:lnTo>
                  <a:cubicBezTo>
                    <a:pt x="16294" y="16131"/>
                    <a:pt x="15766" y="14959"/>
                    <a:pt x="15095" y="13976"/>
                  </a:cubicBezTo>
                  <a:cubicBezTo>
                    <a:pt x="15718" y="13009"/>
                    <a:pt x="16582" y="12456"/>
                    <a:pt x="17485" y="12440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EF0C7C0-E660-42AC-E314-DED316EBF2C2}"/>
              </a:ext>
            </a:extLst>
          </p:cNvPr>
          <p:cNvCxnSpPr>
            <a:cxnSpLocks/>
          </p:cNvCxnSpPr>
          <p:nvPr/>
        </p:nvCxnSpPr>
        <p:spPr>
          <a:xfrm>
            <a:off x="305435" y="6227547"/>
            <a:ext cx="6513054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67622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Bayer2022">
  <a:themeElements>
    <a:clrScheme name="Bayer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yer2022" id="{B7CCB527-75FA-4B99-915D-CAFDC39B61C9}" vid="{5CD6347D-6214-46B0-B893-50B1B3499992}"/>
    </a:ext>
  </a:extLst>
</a:theme>
</file>

<file path=ppt/theme/theme10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Bayer x EM Template">
  <a:themeElements>
    <a:clrScheme name="Bayer 2023">
      <a:dk1>
        <a:srgbClr val="000000"/>
      </a:dk1>
      <a:lt1>
        <a:srgbClr val="FFFFFF"/>
      </a:lt1>
      <a:dk2>
        <a:srgbClr val="00BCFF"/>
      </a:dk2>
      <a:lt2>
        <a:srgbClr val="F5F5F5"/>
      </a:lt2>
      <a:accent1>
        <a:srgbClr val="00BCFF"/>
      </a:accent1>
      <a:accent2>
        <a:srgbClr val="89D328"/>
      </a:accent2>
      <a:accent3>
        <a:srgbClr val="3353D0"/>
      </a:accent3>
      <a:accent4>
        <a:srgbClr val="61E1E0"/>
      </a:accent4>
      <a:accent5>
        <a:srgbClr val="FC3D80"/>
      </a:accent5>
      <a:accent6>
        <a:srgbClr val="E2DBD7"/>
      </a:accent6>
      <a:hlink>
        <a:srgbClr val="00BCFF"/>
      </a:hlink>
      <a:folHlink>
        <a:srgbClr val="00BCFF"/>
      </a:folHlink>
    </a:clrScheme>
    <a:fontScheme name="Test">
      <a:majorFont>
        <a:latin typeface="Poppins-SemiBold"/>
        <a:ea typeface=""/>
        <a:cs typeface=""/>
      </a:majorFont>
      <a:minorFont>
        <a:latin typeface="Poppins-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gradFill flip="none" rotWithShape="1">
            <a:gsLst>
              <a:gs pos="0">
                <a:schemeClr val="accent2"/>
              </a:gs>
              <a:gs pos="99000">
                <a:schemeClr val="tx2"/>
              </a:gs>
            </a:gsLst>
            <a:lin ang="0" scaled="1"/>
            <a:tileRect/>
          </a:gra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5.xml><?xml version="1.0" encoding="utf-8"?>
<a:theme xmlns:a="http://schemas.openxmlformats.org/drawingml/2006/main" name="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Bayer x MC // June 2021">
  <a:themeElements>
    <a:clrScheme name="Bayer Share and Scale Colours 1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3_Bayer x MC // June 2021">
  <a:themeElements>
    <a:clrScheme name="Bayer 2021 Colour Theme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404E5C"/>
      </a:accent2>
      <a:accent3>
        <a:srgbClr val="FF9914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ardinal Template Final">
    <a:dk1>
      <a:srgbClr val="000000"/>
    </a:dk1>
    <a:lt1>
      <a:srgbClr val="FFFFFF"/>
    </a:lt1>
    <a:dk2>
      <a:srgbClr val="FF5C00"/>
    </a:dk2>
    <a:lt2>
      <a:srgbClr val="0DDEE5"/>
    </a:lt2>
    <a:accent1>
      <a:srgbClr val="6B15D5"/>
    </a:accent1>
    <a:accent2>
      <a:srgbClr val="BEECEE"/>
    </a:accent2>
    <a:accent3>
      <a:srgbClr val="00CAD5"/>
    </a:accent3>
    <a:accent4>
      <a:srgbClr val="DBDBDB"/>
    </a:accent4>
    <a:accent5>
      <a:srgbClr val="EAEBEA"/>
    </a:accent5>
    <a:accent6>
      <a:srgbClr val="30117C"/>
    </a:accent6>
    <a:hlink>
      <a:srgbClr val="1800A0"/>
    </a:hlink>
    <a:folHlink>
      <a:srgbClr val="280262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ardinal Template Final">
    <a:dk1>
      <a:srgbClr val="000000"/>
    </a:dk1>
    <a:lt1>
      <a:srgbClr val="FFFFFF"/>
    </a:lt1>
    <a:dk2>
      <a:srgbClr val="FF5C00"/>
    </a:dk2>
    <a:lt2>
      <a:srgbClr val="0DDEE5"/>
    </a:lt2>
    <a:accent1>
      <a:srgbClr val="6B15D5"/>
    </a:accent1>
    <a:accent2>
      <a:srgbClr val="BEECEE"/>
    </a:accent2>
    <a:accent3>
      <a:srgbClr val="00CAD5"/>
    </a:accent3>
    <a:accent4>
      <a:srgbClr val="DBDBDB"/>
    </a:accent4>
    <a:accent5>
      <a:srgbClr val="EAEBEA"/>
    </a:accent5>
    <a:accent6>
      <a:srgbClr val="30117C"/>
    </a:accent6>
    <a:hlink>
      <a:srgbClr val="1800A0"/>
    </a:hlink>
    <a:folHlink>
      <a:srgbClr val="280262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Cardinal Template Final">
    <a:dk1>
      <a:srgbClr val="000000"/>
    </a:dk1>
    <a:lt1>
      <a:srgbClr val="FFFFFF"/>
    </a:lt1>
    <a:dk2>
      <a:srgbClr val="FF5C00"/>
    </a:dk2>
    <a:lt2>
      <a:srgbClr val="0DDEE5"/>
    </a:lt2>
    <a:accent1>
      <a:srgbClr val="6B15D5"/>
    </a:accent1>
    <a:accent2>
      <a:srgbClr val="BEECEE"/>
    </a:accent2>
    <a:accent3>
      <a:srgbClr val="00CAD5"/>
    </a:accent3>
    <a:accent4>
      <a:srgbClr val="DBDBDB"/>
    </a:accent4>
    <a:accent5>
      <a:srgbClr val="EAEBEA"/>
    </a:accent5>
    <a:accent6>
      <a:srgbClr val="30117C"/>
    </a:accent6>
    <a:hlink>
      <a:srgbClr val="1800A0"/>
    </a:hlink>
    <a:folHlink>
      <a:srgbClr val="280262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42023b6-027f-42b2-ae3f-68219e5a4115" xsi:nil="true"/>
    <lcf76f155ced4ddcb4097134ff3c332f xmlns="ddd732a4-5925-4a41-9a76-3e713d750e73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B94F34BE25844A86FA9DAE1C52FEF1" ma:contentTypeVersion="16" ma:contentTypeDescription="Create a new document." ma:contentTypeScope="" ma:versionID="0d11d6f25eccfdb65008e43f9fc87a79">
  <xsd:schema xmlns:xsd="http://www.w3.org/2001/XMLSchema" xmlns:xs="http://www.w3.org/2001/XMLSchema" xmlns:p="http://schemas.microsoft.com/office/2006/metadata/properties" xmlns:ns2="ddd732a4-5925-4a41-9a76-3e713d750e73" xmlns:ns3="642023b6-027f-42b2-ae3f-68219e5a4115" targetNamespace="http://schemas.microsoft.com/office/2006/metadata/properties" ma:root="true" ma:fieldsID="12867037fb90038efca3950b7f6165db" ns2:_="" ns3:_="">
    <xsd:import namespace="ddd732a4-5925-4a41-9a76-3e713d750e73"/>
    <xsd:import namespace="642023b6-027f-42b2-ae3f-68219e5a41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d732a4-5925-4a41-9a76-3e713d750e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b8c6112-a551-416c-b446-07c3fc3d0d4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2023b6-027f-42b2-ae3f-68219e5a411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b23bbc7-fbbf-45f3-bf5a-f347bc23a60a}" ma:internalName="TaxCatchAll" ma:showField="CatchAllData" ma:web="642023b6-027f-42b2-ae3f-68219e5a41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409161F-846A-4C10-9E69-A82A45711D9D}">
  <ds:schemaRefs>
    <ds:schemaRef ds:uri="642023b6-027f-42b2-ae3f-68219e5a4115"/>
    <ds:schemaRef ds:uri="ddd732a4-5925-4a41-9a76-3e713d750e7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34DBA1F-0D4B-4898-AA87-1771EA4B27A1}">
  <ds:schemaRefs>
    <ds:schemaRef ds:uri="642023b6-027f-42b2-ae3f-68219e5a4115"/>
    <ds:schemaRef ds:uri="ddd732a4-5925-4a41-9a76-3e713d750e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C2BB7E1-7F3B-4741-BA22-30E5E778D53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0</TotalTime>
  <Words>4771</Words>
  <Application>Microsoft Office PowerPoint</Application>
  <PresentationFormat>Widescreen</PresentationFormat>
  <Paragraphs>1366</Paragraphs>
  <Slides>57</Slides>
  <Notes>28</Notes>
  <HiddenSlides>2</HiddenSlides>
  <MMClips>2</MMClips>
  <ScaleCrop>false</ScaleCrop>
  <HeadingPairs>
    <vt:vector size="4" baseType="variant">
      <vt:variant>
        <vt:lpstr>Theme</vt:lpstr>
      </vt:variant>
      <vt:variant>
        <vt:i4>11</vt:i4>
      </vt:variant>
      <vt:variant>
        <vt:lpstr>Slide Titles</vt:lpstr>
      </vt:variant>
      <vt:variant>
        <vt:i4>57</vt:i4>
      </vt:variant>
    </vt:vector>
  </HeadingPairs>
  <TitlesOfParts>
    <vt:vector size="68" baseType="lpstr">
      <vt:lpstr>Bayer2022</vt:lpstr>
      <vt:lpstr>Bayer x MC // June 2021</vt:lpstr>
      <vt:lpstr>1_Bayer x MC // June 2021</vt:lpstr>
      <vt:lpstr>Bayer2023</vt:lpstr>
      <vt:lpstr>emTemplate // Jan 2023</vt:lpstr>
      <vt:lpstr>2_Bayer x MC // June 2021</vt:lpstr>
      <vt:lpstr>2_emTemplate // Jan 2023</vt:lpstr>
      <vt:lpstr>3_emTemplate // Jan 2023</vt:lpstr>
      <vt:lpstr>3_Bayer x MC // June 2021</vt:lpstr>
      <vt:lpstr>1_Bayer x MC // June 2021</vt:lpstr>
      <vt:lpstr>Bayer x EM Template</vt:lpstr>
      <vt:lpstr>PowerPoint Presentation</vt:lpstr>
      <vt:lpstr>PowerPoint Presentation</vt:lpstr>
      <vt:lpstr>PowerPoint Presentation</vt:lpstr>
      <vt:lpstr>2024 ALKA-SELTZER, Inversión real</vt:lpstr>
      <vt:lpstr>Contexto de mercado ¿Qué puede impactar a la categoría ?</vt:lpstr>
      <vt:lpstr>Category Offline Highlights</vt:lpstr>
      <vt:lpstr>PowerPoint Presentation</vt:lpstr>
      <vt:lpstr>2024 Aprendizajes</vt:lpstr>
      <vt:lpstr>PowerPoint Presentation</vt:lpstr>
      <vt:lpstr>PowerPoint Presentation</vt:lpstr>
      <vt:lpstr>2024 HVA - APRENDIZAJES</vt:lpstr>
      <vt:lpstr>2025 HVA Contribution to Growth</vt:lpstr>
      <vt:lpstr>HVA NAME – Key highlights here  </vt:lpstr>
      <vt:lpstr>Momentos clave | ¿Cuándo se utiliza en la categoria?</vt:lpstr>
      <vt:lpstr>Datos digitales relevantes</vt:lpstr>
      <vt:lpstr>Oportunidades de activación</vt:lpstr>
      <vt:lpstr>Aprendizajes y recomendaciones</vt:lpstr>
      <vt:lpstr>PowerPoint Presentation</vt:lpstr>
      <vt:lpstr>Brief de marca</vt:lpstr>
      <vt:lpstr>SITUACIÓN ACTUAL DE LA MARCA</vt:lpstr>
      <vt:lpstr>Highlights Principales </vt:lpstr>
      <vt:lpstr>Mapa estratégico</vt:lpstr>
      <vt:lpstr>2024 Recomendación de media mix</vt:lpstr>
      <vt:lpstr>PowerPoint Presentation</vt:lpstr>
      <vt:lpstr>PowerPoint Presentation</vt:lpstr>
      <vt:lpstr>PowerPoint Presentation</vt:lpstr>
      <vt:lpstr>2024 Addressability Recommendation</vt:lpstr>
      <vt:lpstr>Funnel – Activación táctica</vt:lpstr>
      <vt:lpstr>PowerPoint Presentation</vt:lpstr>
      <vt:lpstr>Precision marketing: 3 ingredients for success – Bayer 2023 </vt:lpstr>
      <vt:lpstr>Evolving Precision Marketing to Full Funnel</vt:lpstr>
      <vt:lpstr>Precision Marketing | Formats &amp; KPIs</vt:lpstr>
      <vt:lpstr>SEARCH| Brand Onion &amp; Priorities</vt:lpstr>
      <vt:lpstr>SEARCH| KPIs &amp; Sufficiency</vt:lpstr>
      <vt:lpstr>PowerPoint Presentation</vt:lpstr>
      <vt:lpstr>What signals can we associate to our HVA?</vt:lpstr>
      <vt:lpstr>PowerPoint Presentation</vt:lpstr>
      <vt:lpstr>MEDIA MIX</vt:lpstr>
      <vt:lpstr>MEDIA MIX</vt:lpstr>
      <vt:lpstr>PowerPoint Presentation</vt:lpstr>
      <vt:lpstr>PowerPoint Presentation</vt:lpstr>
      <vt:lpstr>PowerPoint Presentation</vt:lpstr>
      <vt:lpstr>Curvas de alcance TV, P18a45</vt:lpstr>
      <vt:lpstr>Exteriores Valla 9x12</vt:lpstr>
      <vt:lpstr>Radio Segmento/patrocini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ayer Integrated KPI Framework </vt:lpstr>
      <vt:lpstr>KPIs for Precision Marketing</vt:lpstr>
      <vt:lpstr>2024 Test &amp; Learn Opportunities</vt:lpstr>
      <vt:lpstr>PowerPoint Presentation</vt:lpstr>
      <vt:lpstr>Ic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ourdes Hernandez</dc:creator>
  <cp:lastModifiedBy>Jonathan Flores</cp:lastModifiedBy>
  <cp:revision>2</cp:revision>
  <dcterms:created xsi:type="dcterms:W3CDTF">2023-05-24T18:22:33Z</dcterms:created>
  <dcterms:modified xsi:type="dcterms:W3CDTF">2024-09-20T20:25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B94F34BE25844A86FA9DAE1C52FEF1</vt:lpwstr>
  </property>
  <property fmtid="{D5CDD505-2E9C-101B-9397-08002B2CF9AE}" pid="3" name="MediaServiceImageTags">
    <vt:lpwstr/>
  </property>
</Properties>
</file>